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3.xml" ContentType="application/vnd.openxmlformats-officedocument.presentationml.tags+xml"/>
  <Override PartName="/ppt/theme/themeOverride2.xml" ContentType="application/vnd.openxmlformats-officedocument.themeOverr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Override3.xml" ContentType="application/vnd.openxmlformats-officedocument.themeOverr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Override4.xml" ContentType="application/vnd.openxmlformats-officedocument.themeOverr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heme/themeOverride5.xml" ContentType="application/vnd.openxmlformats-officedocument.themeOverr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51"/>
  </p:notesMasterIdLst>
  <p:handoutMasterIdLst>
    <p:handoutMasterId r:id="rId52"/>
  </p:handoutMasterIdLst>
  <p:sldIdLst>
    <p:sldId id="256" r:id="rId2"/>
    <p:sldId id="269" r:id="rId3"/>
    <p:sldId id="258" r:id="rId4"/>
    <p:sldId id="287" r:id="rId5"/>
    <p:sldId id="292" r:id="rId6"/>
    <p:sldId id="293" r:id="rId7"/>
    <p:sldId id="288" r:id="rId8"/>
    <p:sldId id="283" r:id="rId9"/>
    <p:sldId id="295" r:id="rId10"/>
    <p:sldId id="294" r:id="rId11"/>
    <p:sldId id="296" r:id="rId12"/>
    <p:sldId id="297" r:id="rId13"/>
    <p:sldId id="278" r:id="rId14"/>
    <p:sldId id="286" r:id="rId15"/>
    <p:sldId id="298" r:id="rId16"/>
    <p:sldId id="299" r:id="rId17"/>
    <p:sldId id="300" r:id="rId18"/>
    <p:sldId id="301" r:id="rId19"/>
    <p:sldId id="302" r:id="rId20"/>
    <p:sldId id="303" r:id="rId21"/>
    <p:sldId id="291" r:id="rId22"/>
    <p:sldId id="290" r:id="rId23"/>
    <p:sldId id="304" r:id="rId24"/>
    <p:sldId id="305" r:id="rId25"/>
    <p:sldId id="306" r:id="rId26"/>
    <p:sldId id="307" r:id="rId27"/>
    <p:sldId id="308" r:id="rId28"/>
    <p:sldId id="309" r:id="rId29"/>
    <p:sldId id="310" r:id="rId30"/>
    <p:sldId id="311" r:id="rId31"/>
    <p:sldId id="312" r:id="rId32"/>
    <p:sldId id="313" r:id="rId33"/>
    <p:sldId id="314" r:id="rId34"/>
    <p:sldId id="315" r:id="rId35"/>
    <p:sldId id="316" r:id="rId36"/>
    <p:sldId id="317" r:id="rId37"/>
    <p:sldId id="318" r:id="rId38"/>
    <p:sldId id="319" r:id="rId39"/>
    <p:sldId id="320" r:id="rId40"/>
    <p:sldId id="321" r:id="rId41"/>
    <p:sldId id="322" r:id="rId42"/>
    <p:sldId id="261" r:id="rId43"/>
    <p:sldId id="271" r:id="rId44"/>
    <p:sldId id="272" r:id="rId45"/>
    <p:sldId id="273" r:id="rId46"/>
    <p:sldId id="274" r:id="rId47"/>
    <p:sldId id="275" r:id="rId48"/>
    <p:sldId id="276" r:id="rId49"/>
    <p:sldId id="277" r:id="rId50"/>
  </p:sldIdLst>
  <p:sldSz cx="12192000" cy="6858000"/>
  <p:notesSz cx="6858000" cy="9144000"/>
  <p:custDataLst>
    <p:tags r:id="rId53"/>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ext>
    <p:ext uri="{2D200454-40CA-4A62-9FC3-DE9A4176ACB9}">
      <p15:notes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7450B"/>
    <a:srgbClr val="263183"/>
    <a:srgbClr val="4A41DA"/>
    <a:srgbClr val="4A42DA"/>
    <a:srgbClr val="6973EE"/>
    <a:srgbClr val="505BE8"/>
    <a:srgbClr val="A20000"/>
    <a:srgbClr val="A40000"/>
    <a:srgbClr val="9E0000"/>
    <a:srgbClr val="E24E0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182" autoAdjust="0"/>
  </p:normalViewPr>
  <p:slideViewPr>
    <p:cSldViewPr snapToGrid="0">
      <p:cViewPr>
        <p:scale>
          <a:sx n="90" d="100"/>
          <a:sy n="90" d="100"/>
        </p:scale>
        <p:origin x="-486" y="-1542"/>
      </p:cViewPr>
      <p:guideLst>
        <p:guide orient="horz" pos="2160"/>
        <p:guide pos="3840"/>
      </p:guideLst>
    </p:cSldViewPr>
  </p:slideViewPr>
  <p:notesTextViewPr>
    <p:cViewPr>
      <p:scale>
        <a:sx n="3" d="2"/>
        <a:sy n="3" d="2"/>
      </p:scale>
      <p:origin x="0" y="0"/>
    </p:cViewPr>
  </p:notesTextViewPr>
  <p:sorterViewPr>
    <p:cViewPr>
      <p:scale>
        <a:sx n="75" d="100"/>
        <a:sy n="75" d="100"/>
      </p:scale>
      <p:origin x="0" y="0"/>
    </p:cViewPr>
  </p:sorterViewPr>
  <p:notesViewPr>
    <p:cSldViewPr snapToGrid="0" showGuides="1">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ags" Target="tags/tag1.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tableStyles" Target="tableStyle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 xmlns:a16="http://schemas.microsoft.com/office/drawing/2014/main" id="{B9A56829-66AA-42AA-918E-5C6DB1AE50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 xmlns:a16="http://schemas.microsoft.com/office/drawing/2014/main" id="{241084A9-BC5C-4420-B17C-51E328D4557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0/12/1</a:t>
            </a:fld>
            <a:endParaRPr lang="zh-CN" altLang="en-US"/>
          </a:p>
        </p:txBody>
      </p:sp>
      <p:sp>
        <p:nvSpPr>
          <p:cNvPr id="4" name="页脚占位符 3">
            <a:extLst>
              <a:ext uri="{FF2B5EF4-FFF2-40B4-BE49-F238E27FC236}">
                <a16:creationId xmlns="" xmlns:a16="http://schemas.microsoft.com/office/drawing/2014/main" id="{0D6F2124-7B35-4E59-B9E8-DB09EE1408A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 xmlns:a16="http://schemas.microsoft.com/office/drawing/2014/main" id="{F2BF8FFE-D997-4E34-9A01-CD2014B9524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081553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0/12/1</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sp>
        <p:nvSpPr>
          <p:cNvPr id="196" name="iŝḻiḍe">
            <a:extLst>
              <a:ext uri="{FF2B5EF4-FFF2-40B4-BE49-F238E27FC236}">
                <a16:creationId xmlns="" xmlns:p14="http://schemas.microsoft.com/office/powerpoint/2010/main" xmlns:a16="http://schemas.microsoft.com/office/drawing/2014/main" id="{965C6E71-3A35-4320-AF63-894A3928550F}"/>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9" name="iśḷîḋè">
            <a:extLst>
              <a:ext uri="{FF2B5EF4-FFF2-40B4-BE49-F238E27FC236}">
                <a16:creationId xmlns="" xmlns:p14="http://schemas.microsoft.com/office/powerpoint/2010/main" xmlns:a16="http://schemas.microsoft.com/office/drawing/2014/main" id="{3F7C98E3-BA98-4529-894E-F8EDFED84691}"/>
              </a:ext>
            </a:extLst>
          </p:cNvPr>
          <p:cNvSpPr/>
          <p:nvPr userDrawn="1"/>
        </p:nvSpPr>
        <p:spPr>
          <a:xfrm>
            <a:off x="8159523" y="0"/>
            <a:ext cx="3789277" cy="6858000"/>
          </a:xfrm>
          <a:custGeom>
            <a:avLst/>
            <a:gdLst>
              <a:gd name="connsiteX0" fmla="*/ 2480808 w 2804986"/>
              <a:gd name="connsiteY0" fmla="*/ 0 h 6858000"/>
              <a:gd name="connsiteX1" fmla="*/ 2804986 w 2804986"/>
              <a:gd name="connsiteY1" fmla="*/ 0 h 6858000"/>
              <a:gd name="connsiteX2" fmla="*/ 324177 w 2804986"/>
              <a:gd name="connsiteY2" fmla="*/ 6858000 h 6858000"/>
              <a:gd name="connsiteX3" fmla="*/ 0 w 280498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804986" h="6858000">
                <a:moveTo>
                  <a:pt x="2480808" y="0"/>
                </a:moveTo>
                <a:lnTo>
                  <a:pt x="2804986" y="0"/>
                </a:lnTo>
                <a:lnTo>
                  <a:pt x="324177" y="6858000"/>
                </a:lnTo>
                <a:lnTo>
                  <a:pt x="0" y="6858000"/>
                </a:lnTo>
                <a:close/>
              </a:path>
            </a:pathLst>
          </a:cu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190" name="îṧlîďê">
            <a:extLst>
              <a:ext uri="{FF2B5EF4-FFF2-40B4-BE49-F238E27FC236}">
                <a16:creationId xmlns="" xmlns:p14="http://schemas.microsoft.com/office/powerpoint/2010/main" xmlns:a16="http://schemas.microsoft.com/office/drawing/2014/main" id="{03A8097C-38EA-43F6-969A-0BA0766FA310}"/>
              </a:ext>
            </a:extLst>
          </p:cNvPr>
          <p:cNvSpPr/>
          <p:nvPr userDrawn="1"/>
        </p:nvSpPr>
        <p:spPr>
          <a:xfrm>
            <a:off x="7125467" y="0"/>
            <a:ext cx="3789277" cy="6858000"/>
          </a:xfrm>
          <a:custGeom>
            <a:avLst/>
            <a:gdLst>
              <a:gd name="connsiteX0" fmla="*/ 2480808 w 2804986"/>
              <a:gd name="connsiteY0" fmla="*/ 0 h 6858000"/>
              <a:gd name="connsiteX1" fmla="*/ 2804986 w 2804986"/>
              <a:gd name="connsiteY1" fmla="*/ 0 h 6858000"/>
              <a:gd name="connsiteX2" fmla="*/ 324177 w 2804986"/>
              <a:gd name="connsiteY2" fmla="*/ 6858000 h 6858000"/>
              <a:gd name="connsiteX3" fmla="*/ 0 w 280498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804986" h="6858000">
                <a:moveTo>
                  <a:pt x="2480808" y="0"/>
                </a:moveTo>
                <a:lnTo>
                  <a:pt x="2804986" y="0"/>
                </a:lnTo>
                <a:lnTo>
                  <a:pt x="324177" y="6858000"/>
                </a:lnTo>
                <a:lnTo>
                  <a:pt x="0" y="6858000"/>
                </a:lnTo>
                <a:close/>
              </a:path>
            </a:pathLst>
          </a:cu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191" name="ïṧḻïḋè">
            <a:extLst>
              <a:ext uri="{FF2B5EF4-FFF2-40B4-BE49-F238E27FC236}">
                <a16:creationId xmlns="" xmlns:p14="http://schemas.microsoft.com/office/powerpoint/2010/main" xmlns:a16="http://schemas.microsoft.com/office/drawing/2014/main" id="{0D96A5A3-7363-439E-A8C3-1BCB6C97CFC0}"/>
              </a:ext>
            </a:extLst>
          </p:cNvPr>
          <p:cNvSpPr/>
          <p:nvPr userDrawn="1"/>
        </p:nvSpPr>
        <p:spPr>
          <a:xfrm>
            <a:off x="6091411" y="0"/>
            <a:ext cx="3789277" cy="6858000"/>
          </a:xfrm>
          <a:custGeom>
            <a:avLst/>
            <a:gdLst>
              <a:gd name="connsiteX0" fmla="*/ 2480808 w 2804986"/>
              <a:gd name="connsiteY0" fmla="*/ 0 h 6858000"/>
              <a:gd name="connsiteX1" fmla="*/ 2804986 w 2804986"/>
              <a:gd name="connsiteY1" fmla="*/ 0 h 6858000"/>
              <a:gd name="connsiteX2" fmla="*/ 324177 w 2804986"/>
              <a:gd name="connsiteY2" fmla="*/ 6858000 h 6858000"/>
              <a:gd name="connsiteX3" fmla="*/ 0 w 280498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804986" h="6858000">
                <a:moveTo>
                  <a:pt x="2480808" y="0"/>
                </a:moveTo>
                <a:lnTo>
                  <a:pt x="2804986" y="0"/>
                </a:lnTo>
                <a:lnTo>
                  <a:pt x="324177" y="6858000"/>
                </a:lnTo>
                <a:lnTo>
                  <a:pt x="0" y="6858000"/>
                </a:lnTo>
                <a:close/>
              </a:path>
            </a:pathLst>
          </a:cu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192" name="ïŝḻîḑè">
            <a:extLst>
              <a:ext uri="{FF2B5EF4-FFF2-40B4-BE49-F238E27FC236}">
                <a16:creationId xmlns="" xmlns:p14="http://schemas.microsoft.com/office/powerpoint/2010/main" xmlns:a16="http://schemas.microsoft.com/office/drawing/2014/main" id="{F2F929E6-6FA7-407C-81C1-21D4F5B26789}"/>
              </a:ext>
            </a:extLst>
          </p:cNvPr>
          <p:cNvSpPr/>
          <p:nvPr userDrawn="1"/>
        </p:nvSpPr>
        <p:spPr>
          <a:xfrm>
            <a:off x="10451074" y="1944914"/>
            <a:ext cx="927337" cy="1001486"/>
          </a:xfrm>
          <a:custGeom>
            <a:avLst/>
            <a:gdLst>
              <a:gd name="connsiteX0" fmla="*/ 362277 w 686455"/>
              <a:gd name="connsiteY0" fmla="*/ 0 h 1001486"/>
              <a:gd name="connsiteX1" fmla="*/ 686455 w 686455"/>
              <a:gd name="connsiteY1" fmla="*/ 0 h 1001486"/>
              <a:gd name="connsiteX2" fmla="*/ 324178 w 686455"/>
              <a:gd name="connsiteY2" fmla="*/ 1001486 h 1001486"/>
              <a:gd name="connsiteX3" fmla="*/ 0 w 686455"/>
              <a:gd name="connsiteY3" fmla="*/ 1001486 h 1001486"/>
            </a:gdLst>
            <a:ahLst/>
            <a:cxnLst>
              <a:cxn ang="0">
                <a:pos x="connsiteX0" y="connsiteY0"/>
              </a:cxn>
              <a:cxn ang="0">
                <a:pos x="connsiteX1" y="connsiteY1"/>
              </a:cxn>
              <a:cxn ang="0">
                <a:pos x="connsiteX2" y="connsiteY2"/>
              </a:cxn>
              <a:cxn ang="0">
                <a:pos x="connsiteX3" y="connsiteY3"/>
              </a:cxn>
            </a:cxnLst>
            <a:rect l="l" t="t" r="r" b="b"/>
            <a:pathLst>
              <a:path w="686455" h="1001486">
                <a:moveTo>
                  <a:pt x="362277" y="0"/>
                </a:moveTo>
                <a:lnTo>
                  <a:pt x="686455" y="0"/>
                </a:lnTo>
                <a:lnTo>
                  <a:pt x="324178" y="1001486"/>
                </a:lnTo>
                <a:lnTo>
                  <a:pt x="0" y="1001486"/>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3" name="iṧļídè">
            <a:extLst>
              <a:ext uri="{FF2B5EF4-FFF2-40B4-BE49-F238E27FC236}">
                <a16:creationId xmlns="" xmlns:p14="http://schemas.microsoft.com/office/powerpoint/2010/main" xmlns:a16="http://schemas.microsoft.com/office/drawing/2014/main" id="{4DFB245C-0055-49ED-8E03-5BF27F554A1E}"/>
              </a:ext>
            </a:extLst>
          </p:cNvPr>
          <p:cNvSpPr/>
          <p:nvPr userDrawn="1"/>
        </p:nvSpPr>
        <p:spPr>
          <a:xfrm>
            <a:off x="957943" y="538843"/>
            <a:ext cx="10276114" cy="5780314"/>
          </a:xfrm>
          <a:prstGeom prst="roundRect">
            <a:avLst>
              <a:gd name="adj" fmla="val 6587"/>
            </a:avLst>
          </a:prstGeom>
          <a:solidFill>
            <a:schemeClr val="bg1">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4" name="ïŝlídé">
            <a:extLst>
              <a:ext uri="{FF2B5EF4-FFF2-40B4-BE49-F238E27FC236}">
                <a16:creationId xmlns="" xmlns:p14="http://schemas.microsoft.com/office/powerpoint/2010/main" xmlns:a16="http://schemas.microsoft.com/office/drawing/2014/main" id="{57BBF5D5-2B3C-4E73-A9E3-6B726B2C8EFA}"/>
              </a:ext>
            </a:extLst>
          </p:cNvPr>
          <p:cNvSpPr/>
          <p:nvPr userDrawn="1"/>
        </p:nvSpPr>
        <p:spPr>
          <a:xfrm>
            <a:off x="0" y="1"/>
            <a:ext cx="1952875" cy="3996253"/>
          </a:xfrm>
          <a:custGeom>
            <a:avLst/>
            <a:gdLst>
              <a:gd name="connsiteX0" fmla="*/ 1514941 w 1952875"/>
              <a:gd name="connsiteY0" fmla="*/ 0 h 3996253"/>
              <a:gd name="connsiteX1" fmla="*/ 1952875 w 1952875"/>
              <a:gd name="connsiteY1" fmla="*/ 0 h 3996253"/>
              <a:gd name="connsiteX2" fmla="*/ 0 w 1952875"/>
              <a:gd name="connsiteY2" fmla="*/ 3996253 h 3996253"/>
              <a:gd name="connsiteX3" fmla="*/ 0 w 1952875"/>
              <a:gd name="connsiteY3" fmla="*/ 3100090 h 3996253"/>
            </a:gdLst>
            <a:ahLst/>
            <a:cxnLst>
              <a:cxn ang="0">
                <a:pos x="connsiteX0" y="connsiteY0"/>
              </a:cxn>
              <a:cxn ang="0">
                <a:pos x="connsiteX1" y="connsiteY1"/>
              </a:cxn>
              <a:cxn ang="0">
                <a:pos x="connsiteX2" y="connsiteY2"/>
              </a:cxn>
              <a:cxn ang="0">
                <a:pos x="connsiteX3" y="connsiteY3"/>
              </a:cxn>
            </a:cxnLst>
            <a:rect l="l" t="t" r="r" b="b"/>
            <a:pathLst>
              <a:path w="1952875" h="3996253">
                <a:moveTo>
                  <a:pt x="1514941" y="0"/>
                </a:moveTo>
                <a:lnTo>
                  <a:pt x="1952875" y="0"/>
                </a:lnTo>
                <a:lnTo>
                  <a:pt x="0" y="3996253"/>
                </a:lnTo>
                <a:lnTo>
                  <a:pt x="0" y="3100090"/>
                </a:lnTo>
                <a:close/>
              </a:path>
            </a:pathLst>
          </a:cu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195" name="îŝlíḋé">
            <a:extLst>
              <a:ext uri="{FF2B5EF4-FFF2-40B4-BE49-F238E27FC236}">
                <a16:creationId xmlns="" xmlns:p14="http://schemas.microsoft.com/office/powerpoint/2010/main" xmlns:a16="http://schemas.microsoft.com/office/drawing/2014/main" id="{CA0D931B-F81E-4F23-9A55-C983EF0723B8}"/>
              </a:ext>
            </a:extLst>
          </p:cNvPr>
          <p:cNvSpPr/>
          <p:nvPr userDrawn="1"/>
        </p:nvSpPr>
        <p:spPr>
          <a:xfrm>
            <a:off x="475188" y="409888"/>
            <a:ext cx="927337" cy="1001486"/>
          </a:xfrm>
          <a:custGeom>
            <a:avLst/>
            <a:gdLst>
              <a:gd name="connsiteX0" fmla="*/ 362277 w 686455"/>
              <a:gd name="connsiteY0" fmla="*/ 0 h 1001486"/>
              <a:gd name="connsiteX1" fmla="*/ 686455 w 686455"/>
              <a:gd name="connsiteY1" fmla="*/ 0 h 1001486"/>
              <a:gd name="connsiteX2" fmla="*/ 324178 w 686455"/>
              <a:gd name="connsiteY2" fmla="*/ 1001486 h 1001486"/>
              <a:gd name="connsiteX3" fmla="*/ 0 w 686455"/>
              <a:gd name="connsiteY3" fmla="*/ 1001486 h 1001486"/>
            </a:gdLst>
            <a:ahLst/>
            <a:cxnLst>
              <a:cxn ang="0">
                <a:pos x="connsiteX0" y="connsiteY0"/>
              </a:cxn>
              <a:cxn ang="0">
                <a:pos x="connsiteX1" y="connsiteY1"/>
              </a:cxn>
              <a:cxn ang="0">
                <a:pos x="connsiteX2" y="connsiteY2"/>
              </a:cxn>
              <a:cxn ang="0">
                <a:pos x="connsiteX3" y="connsiteY3"/>
              </a:cxn>
            </a:cxnLst>
            <a:rect l="l" t="t" r="r" b="b"/>
            <a:pathLst>
              <a:path w="686455" h="1001486">
                <a:moveTo>
                  <a:pt x="362277" y="0"/>
                </a:moveTo>
                <a:lnTo>
                  <a:pt x="686455" y="0"/>
                </a:lnTo>
                <a:lnTo>
                  <a:pt x="324178" y="1001486"/>
                </a:lnTo>
                <a:lnTo>
                  <a:pt x="0" y="1001486"/>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1" name="副标题 9800"/>
          <p:cNvSpPr>
            <a:spLocks noGrp="1"/>
          </p:cNvSpPr>
          <p:nvPr userDrawn="1">
            <p:ph type="subTitle" idx="1" hasCustomPrompt="1"/>
          </p:nvPr>
        </p:nvSpPr>
        <p:spPr>
          <a:xfrm>
            <a:off x="2361909" y="1998127"/>
            <a:ext cx="7539502" cy="558799"/>
          </a:xfrm>
        </p:spPr>
        <p:txBody>
          <a:bodyPr vert="horz" lIns="91440" tIns="45720" rIns="91440" bIns="45720" rtlCol="0" anchor="t">
            <a:normAutofit/>
          </a:bodyPr>
          <a:lstStyle>
            <a:lvl1pPr marL="0" indent="0">
              <a:buFont typeface="Arial" panose="020B0604020202020204" pitchFamily="34" charset="0"/>
              <a:buNone/>
              <a:defRPr kumimoji="0" lang="en-US" sz="1600" b="1" i="0" u="none" strike="noStrike" cap="none" spc="3000" normalizeH="0" baseline="0" dirty="0">
                <a:ln>
                  <a:noFill/>
                </a:ln>
                <a:solidFill>
                  <a:schemeClr val="accent3"/>
                </a:solidFill>
                <a:effectLst/>
                <a:uLnTx/>
                <a:uFillTx/>
                <a:latin typeface="Arial"/>
                <a:ea typeface="微软雅黑"/>
              </a:defRPr>
            </a:lvl1pPr>
          </a:lstStyle>
          <a:p>
            <a:pPr marL="342900" marR="0" lvl="0" indent="-342900" algn="ctr" fontAlgn="auto">
              <a:spcAft>
                <a:spcPts val="0"/>
              </a:spcAft>
              <a:buClrTx/>
              <a:buSzTx/>
              <a:tabLst/>
            </a:pPr>
            <a:r>
              <a:rPr lang="en-US" dirty="0"/>
              <a:t>CLICK TO EDIT MASTER SUBTITLE STYLE</a:t>
            </a:r>
          </a:p>
        </p:txBody>
      </p:sp>
      <p:sp>
        <p:nvSpPr>
          <p:cNvPr id="9802" name="标题 9801"/>
          <p:cNvSpPr>
            <a:spLocks noGrp="1"/>
          </p:cNvSpPr>
          <p:nvPr userDrawn="1">
            <p:ph type="ctrTitle" hasCustomPrompt="1"/>
          </p:nvPr>
        </p:nvSpPr>
        <p:spPr>
          <a:xfrm>
            <a:off x="991647" y="2720158"/>
            <a:ext cx="10276114" cy="1405050"/>
          </a:xfrm>
        </p:spPr>
        <p:txBody>
          <a:bodyPr vert="horz" lIns="91440" tIns="45720" rIns="91440" bIns="45720" rtlCol="0" anchor="b" anchorCtr="0">
            <a:normAutofit/>
          </a:bodyPr>
          <a:lstStyle>
            <a:lvl1pPr algn="ctr">
              <a:defRPr kumimoji="0" lang="zh-CN" altLang="en-US" sz="4800" b="0" i="0" u="none" strike="noStrike" cap="none" spc="0" normalizeH="0" baseline="0" dirty="0">
                <a:ln>
                  <a:noFill/>
                </a:ln>
                <a:solidFill>
                  <a:schemeClr val="accent1"/>
                </a:solidFill>
                <a:effectLst/>
                <a:uLnTx/>
                <a:uFillTx/>
                <a:latin typeface="Arial Black" panose="020B0A04020102020204" pitchFamily="34" charset="0"/>
                <a:ea typeface="微软雅黑"/>
              </a:defRPr>
            </a:lvl1pPr>
          </a:lstStyle>
          <a:p>
            <a:pPr marL="0" marR="0" lvl="0" indent="0" algn="ctr" fontAlgn="auto">
              <a:spcAft>
                <a:spcPts val="0"/>
              </a:spcAft>
              <a:buClrTx/>
              <a:buSzTx/>
              <a:buFontTx/>
              <a:tabLst/>
            </a:pPr>
            <a:r>
              <a:rPr lang="en-US" dirty="0"/>
              <a:t>Click to edit Master title style</a:t>
            </a:r>
            <a:endParaRPr lang="zh-CN" altLang="en-US" dirty="0"/>
          </a:p>
        </p:txBody>
      </p:sp>
      <p:sp>
        <p:nvSpPr>
          <p:cNvPr id="12" name="文本占位符 11"/>
          <p:cNvSpPr>
            <a:spLocks noGrp="1"/>
          </p:cNvSpPr>
          <p:nvPr userDrawn="1">
            <p:ph type="body" sz="quarter" idx="10" hasCustomPrompt="1"/>
          </p:nvPr>
        </p:nvSpPr>
        <p:spPr>
          <a:xfrm>
            <a:off x="3159196" y="5104179"/>
            <a:ext cx="5873609" cy="296271"/>
          </a:xfrm>
        </p:spPr>
        <p:txBody>
          <a:bodyPr vert="horz" lIns="91440" tIns="45720" rIns="91440" bIns="45720" rtlCol="0" anchor="ctr">
            <a:noAutofit/>
          </a:bodyPr>
          <a:lstStyle>
            <a:lvl1pPr marL="0" indent="0" algn="ctr">
              <a:buNone/>
              <a:defRPr kumimoji="0" lang="en-US" altLang="zh-CN" sz="1400" b="0" i="0" u="none" strike="noStrike" cap="none" spc="0" normalizeH="0" baseline="0" dirty="0">
                <a:ln>
                  <a:noFill/>
                </a:ln>
                <a:solidFill>
                  <a:schemeClr val="accent5">
                    <a:lumMod val="60000"/>
                    <a:lumOff val="40000"/>
                  </a:schemeClr>
                </a:solidFill>
                <a:effectLst/>
                <a:uLnTx/>
                <a:uFillTx/>
                <a:latin typeface="Arial"/>
                <a:ea typeface="微软雅黑"/>
              </a:defRPr>
            </a:lvl1pPr>
          </a:lstStyle>
          <a:p>
            <a:pPr marL="228589" marR="0" lvl="0" indent="-228589" algn="ctr" fontAlgn="auto">
              <a:spcAft>
                <a:spcPts val="0"/>
              </a:spcAft>
              <a:buClrTx/>
              <a:buSzTx/>
              <a:tabLst/>
            </a:pPr>
            <a:r>
              <a:rPr lang="en-US" altLang="zh-CN" dirty="0"/>
              <a:t>Signature</a:t>
            </a:r>
          </a:p>
        </p:txBody>
      </p:sp>
      <p:sp>
        <p:nvSpPr>
          <p:cNvPr id="13" name="文本占位符 12"/>
          <p:cNvSpPr>
            <a:spLocks noGrp="1"/>
          </p:cNvSpPr>
          <p:nvPr userDrawn="1">
            <p:ph type="body" sz="quarter" idx="11" hasCustomPrompt="1"/>
          </p:nvPr>
        </p:nvSpPr>
        <p:spPr>
          <a:xfrm>
            <a:off x="3159196" y="5400450"/>
            <a:ext cx="5873609" cy="296271"/>
          </a:xfrm>
        </p:spPr>
        <p:txBody>
          <a:bodyPr vert="horz" lIns="91440" tIns="45720" rIns="91440" bIns="45720" rtlCol="0" anchor="ctr">
            <a:noAutofit/>
          </a:bodyPr>
          <a:lstStyle>
            <a:lvl1pPr marL="0" indent="0" algn="ctr">
              <a:buNone/>
              <a:defRPr kumimoji="0" lang="zh-CN" altLang="en-US" sz="1400" b="0" i="0" u="none" strike="noStrike" cap="none" spc="0" normalizeH="0" baseline="0" dirty="0">
                <a:ln>
                  <a:noFill/>
                </a:ln>
                <a:solidFill>
                  <a:schemeClr val="accent5">
                    <a:lumMod val="60000"/>
                    <a:lumOff val="40000"/>
                  </a:schemeClr>
                </a:solidFill>
                <a:effectLst/>
                <a:uLnTx/>
                <a:uFillTx/>
                <a:latin typeface="Arial"/>
                <a:ea typeface="微软雅黑"/>
              </a:defRPr>
            </a:lvl1pPr>
          </a:lstStyle>
          <a:p>
            <a:pPr marL="228589" marR="0" lvl="0" indent="-228589" algn="ctr" fontAlgn="auto">
              <a:spcAft>
                <a:spcPts val="0"/>
              </a:spcAft>
              <a:buClrTx/>
              <a:buSzTx/>
              <a:tabLst/>
            </a:pPr>
            <a:r>
              <a:rPr lang="en-US" altLang="zh-CN" dirty="0"/>
              <a:t>Date</a:t>
            </a:r>
            <a:endParaRPr lang="zh-CN" altLang="en-US" dirty="0"/>
          </a:p>
        </p:txBody>
      </p:sp>
      <p:grpSp>
        <p:nvGrpSpPr>
          <p:cNvPr id="197" name="组合 196">
            <a:extLst>
              <a:ext uri="{FF2B5EF4-FFF2-40B4-BE49-F238E27FC236}">
                <a16:creationId xmlns="" xmlns:p14="http://schemas.microsoft.com/office/powerpoint/2010/main" xmlns:a16="http://schemas.microsoft.com/office/drawing/2014/main" id="{15ACF8F9-44FD-4091-989D-A806F18DB88F}"/>
              </a:ext>
            </a:extLst>
          </p:cNvPr>
          <p:cNvGrpSpPr/>
          <p:nvPr userDrawn="1"/>
        </p:nvGrpSpPr>
        <p:grpSpPr>
          <a:xfrm>
            <a:off x="2281411" y="2423886"/>
            <a:ext cx="7620000" cy="1959429"/>
            <a:chOff x="2281411" y="2423886"/>
            <a:chExt cx="7620000" cy="1959429"/>
          </a:xfrm>
        </p:grpSpPr>
        <p:cxnSp>
          <p:nvCxnSpPr>
            <p:cNvPr id="198" name="直接连接符 197">
              <a:extLst>
                <a:ext uri="{FF2B5EF4-FFF2-40B4-BE49-F238E27FC236}">
                  <a16:creationId xmlns="" xmlns:p14="http://schemas.microsoft.com/office/powerpoint/2010/main" xmlns:a16="http://schemas.microsoft.com/office/drawing/2014/main" id="{45697219-2E90-4D98-9529-A9E0964AF136}"/>
                </a:ext>
              </a:extLst>
            </p:cNvPr>
            <p:cNvCxnSpPr/>
            <p:nvPr/>
          </p:nvCxnSpPr>
          <p:spPr>
            <a:xfrm>
              <a:off x="2281411" y="2423886"/>
              <a:ext cx="762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99" name="直接连接符 198">
              <a:extLst>
                <a:ext uri="{FF2B5EF4-FFF2-40B4-BE49-F238E27FC236}">
                  <a16:creationId xmlns="" xmlns:p14="http://schemas.microsoft.com/office/powerpoint/2010/main" xmlns:a16="http://schemas.microsoft.com/office/drawing/2014/main" id="{B27D7DF9-20DE-491F-992C-042F021B180A}"/>
                </a:ext>
              </a:extLst>
            </p:cNvPr>
            <p:cNvCxnSpPr/>
            <p:nvPr/>
          </p:nvCxnSpPr>
          <p:spPr>
            <a:xfrm>
              <a:off x="2281411" y="4383315"/>
              <a:ext cx="7620000" cy="0"/>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10" name="iṡḷïďê">
            <a:extLst>
              <a:ext uri="{FF2B5EF4-FFF2-40B4-BE49-F238E27FC236}">
                <a16:creationId xmlns="" xmlns:p14="http://schemas.microsoft.com/office/powerpoint/2010/main" xmlns:a16="http://schemas.microsoft.com/office/drawing/2014/main" id="{DE504534-601C-4C9C-85E8-3B8EF28EB02E}"/>
              </a:ext>
            </a:extLst>
          </p:cNvPr>
          <p:cNvSpPr/>
          <p:nvPr userDrawn="1"/>
        </p:nvSpPr>
        <p:spPr>
          <a:xfrm>
            <a:off x="0" y="0"/>
            <a:ext cx="12192000"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1" name="dde2c2de-4721-42d5-ad7a-0e7cc1010371"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 xmlns:p14="http://schemas.microsoft.com/office/powerpoint/2010/main" xmlns:a16="http://schemas.microsoft.com/office/drawing/2014/main" id="{2A622CF3-8870-477C-9EED-A9A795AD2B38}"/>
              </a:ext>
            </a:extLst>
          </p:cNvPr>
          <p:cNvGrpSpPr>
            <a:grpSpLocks noChangeAspect="1"/>
          </p:cNvGrpSpPr>
          <p:nvPr userDrawn="1">
            <p:custDataLst>
              <p:tags r:id="rId1"/>
            </p:custDataLst>
          </p:nvPr>
        </p:nvGrpSpPr>
        <p:grpSpPr>
          <a:xfrm>
            <a:off x="987743" y="1092233"/>
            <a:ext cx="10223944" cy="4922092"/>
            <a:chOff x="1071716" y="1247323"/>
            <a:chExt cx="10048568" cy="4837661"/>
          </a:xfrm>
          <a:solidFill>
            <a:schemeClr val="bg1">
              <a:alpha val="64000"/>
            </a:schemeClr>
          </a:solidFill>
        </p:grpSpPr>
        <p:sp>
          <p:nvSpPr>
            <p:cNvPr id="12" name="iṧlïḋè">
              <a:extLst>
                <a:ext uri="{FF2B5EF4-FFF2-40B4-BE49-F238E27FC236}">
                  <a16:creationId xmlns="" xmlns:p14="http://schemas.microsoft.com/office/powerpoint/2010/main" xmlns:a16="http://schemas.microsoft.com/office/drawing/2014/main" id="{391F8B10-83B9-4276-BAEE-19BA958ED50F}"/>
                </a:ext>
              </a:extLst>
            </p:cNvPr>
            <p:cNvSpPr/>
            <p:nvPr/>
          </p:nvSpPr>
          <p:spPr>
            <a:xfrm>
              <a:off x="1071716" y="1560254"/>
              <a:ext cx="2892665" cy="2241492"/>
            </a:xfrm>
            <a:custGeom>
              <a:avLst/>
              <a:gdLst/>
              <a:ahLst/>
              <a:cxnLst>
                <a:cxn ang="0">
                  <a:pos x="wd2" y="hd2"/>
                </a:cxn>
                <a:cxn ang="5400000">
                  <a:pos x="wd2" y="hd2"/>
                </a:cxn>
                <a:cxn ang="10800000">
                  <a:pos x="wd2" y="hd2"/>
                </a:cxn>
                <a:cxn ang="16200000">
                  <a:pos x="wd2" y="hd2"/>
                </a:cxn>
              </a:cxnLst>
              <a:rect l="0" t="0" r="r" b="b"/>
              <a:pathLst>
                <a:path w="21600" h="21600" extrusionOk="0">
                  <a:moveTo>
                    <a:pt x="3471" y="862"/>
                  </a:moveTo>
                  <a:lnTo>
                    <a:pt x="3355" y="857"/>
                  </a:lnTo>
                  <a:lnTo>
                    <a:pt x="3271" y="882"/>
                  </a:lnTo>
                  <a:lnTo>
                    <a:pt x="3183" y="953"/>
                  </a:lnTo>
                  <a:lnTo>
                    <a:pt x="3184" y="1042"/>
                  </a:lnTo>
                  <a:lnTo>
                    <a:pt x="3333" y="1224"/>
                  </a:lnTo>
                  <a:lnTo>
                    <a:pt x="3405" y="1341"/>
                  </a:lnTo>
                  <a:lnTo>
                    <a:pt x="3390" y="1464"/>
                  </a:lnTo>
                  <a:lnTo>
                    <a:pt x="3242" y="1537"/>
                  </a:lnTo>
                  <a:lnTo>
                    <a:pt x="3142" y="1593"/>
                  </a:lnTo>
                  <a:lnTo>
                    <a:pt x="3051" y="1629"/>
                  </a:lnTo>
                  <a:lnTo>
                    <a:pt x="2932" y="1629"/>
                  </a:lnTo>
                  <a:lnTo>
                    <a:pt x="2859" y="1585"/>
                  </a:lnTo>
                  <a:lnTo>
                    <a:pt x="2789" y="1563"/>
                  </a:lnTo>
                  <a:lnTo>
                    <a:pt x="2709" y="1563"/>
                  </a:lnTo>
                  <a:lnTo>
                    <a:pt x="2538" y="1534"/>
                  </a:lnTo>
                  <a:lnTo>
                    <a:pt x="2466" y="1563"/>
                  </a:lnTo>
                  <a:lnTo>
                    <a:pt x="2365" y="1607"/>
                  </a:lnTo>
                  <a:lnTo>
                    <a:pt x="2298" y="1641"/>
                  </a:lnTo>
                  <a:lnTo>
                    <a:pt x="2170" y="1699"/>
                  </a:lnTo>
                  <a:lnTo>
                    <a:pt x="2067" y="1750"/>
                  </a:lnTo>
                  <a:lnTo>
                    <a:pt x="1990" y="1821"/>
                  </a:lnTo>
                  <a:lnTo>
                    <a:pt x="1951" y="1874"/>
                  </a:lnTo>
                  <a:lnTo>
                    <a:pt x="1983" y="1939"/>
                  </a:lnTo>
                  <a:lnTo>
                    <a:pt x="2111" y="2002"/>
                  </a:lnTo>
                  <a:lnTo>
                    <a:pt x="2233" y="2014"/>
                  </a:lnTo>
                  <a:lnTo>
                    <a:pt x="2276" y="2084"/>
                  </a:lnTo>
                  <a:lnTo>
                    <a:pt x="2346" y="2091"/>
                  </a:lnTo>
                  <a:lnTo>
                    <a:pt x="2437" y="2062"/>
                  </a:lnTo>
                  <a:lnTo>
                    <a:pt x="2540" y="1999"/>
                  </a:lnTo>
                  <a:lnTo>
                    <a:pt x="2612" y="1957"/>
                  </a:lnTo>
                  <a:lnTo>
                    <a:pt x="2743" y="1921"/>
                  </a:lnTo>
                  <a:lnTo>
                    <a:pt x="2857" y="1964"/>
                  </a:lnTo>
                  <a:lnTo>
                    <a:pt x="2857" y="2077"/>
                  </a:lnTo>
                  <a:lnTo>
                    <a:pt x="2787" y="2146"/>
                  </a:lnTo>
                  <a:lnTo>
                    <a:pt x="2684" y="2233"/>
                  </a:lnTo>
                  <a:lnTo>
                    <a:pt x="2588" y="2379"/>
                  </a:lnTo>
                  <a:lnTo>
                    <a:pt x="2406" y="2517"/>
                  </a:lnTo>
                  <a:lnTo>
                    <a:pt x="2207" y="2539"/>
                  </a:lnTo>
                  <a:lnTo>
                    <a:pt x="1909" y="2568"/>
                  </a:lnTo>
                  <a:lnTo>
                    <a:pt x="1651" y="2627"/>
                  </a:lnTo>
                  <a:lnTo>
                    <a:pt x="1469" y="2721"/>
                  </a:lnTo>
                  <a:lnTo>
                    <a:pt x="1322" y="2843"/>
                  </a:lnTo>
                  <a:lnTo>
                    <a:pt x="1251" y="2882"/>
                  </a:lnTo>
                  <a:lnTo>
                    <a:pt x="1186" y="3000"/>
                  </a:lnTo>
                  <a:lnTo>
                    <a:pt x="1231" y="3090"/>
                  </a:lnTo>
                  <a:lnTo>
                    <a:pt x="1253" y="3243"/>
                  </a:lnTo>
                  <a:lnTo>
                    <a:pt x="1206" y="3386"/>
                  </a:lnTo>
                  <a:lnTo>
                    <a:pt x="1138" y="3503"/>
                  </a:lnTo>
                  <a:lnTo>
                    <a:pt x="1047" y="3568"/>
                  </a:lnTo>
                  <a:lnTo>
                    <a:pt x="990" y="3598"/>
                  </a:lnTo>
                  <a:lnTo>
                    <a:pt x="895" y="3671"/>
                  </a:lnTo>
                  <a:lnTo>
                    <a:pt x="846" y="3748"/>
                  </a:lnTo>
                  <a:lnTo>
                    <a:pt x="900" y="3817"/>
                  </a:lnTo>
                  <a:lnTo>
                    <a:pt x="1049" y="3874"/>
                  </a:lnTo>
                  <a:lnTo>
                    <a:pt x="1159" y="3952"/>
                  </a:lnTo>
                  <a:lnTo>
                    <a:pt x="1272" y="3905"/>
                  </a:lnTo>
                  <a:lnTo>
                    <a:pt x="1375" y="3811"/>
                  </a:lnTo>
                  <a:lnTo>
                    <a:pt x="1500" y="3789"/>
                  </a:lnTo>
                  <a:lnTo>
                    <a:pt x="1562" y="3898"/>
                  </a:lnTo>
                  <a:lnTo>
                    <a:pt x="1479" y="4034"/>
                  </a:lnTo>
                  <a:lnTo>
                    <a:pt x="1276" y="4180"/>
                  </a:lnTo>
                  <a:lnTo>
                    <a:pt x="967" y="4357"/>
                  </a:lnTo>
                  <a:lnTo>
                    <a:pt x="603" y="4579"/>
                  </a:lnTo>
                  <a:lnTo>
                    <a:pt x="227" y="4739"/>
                  </a:lnTo>
                  <a:lnTo>
                    <a:pt x="77" y="4776"/>
                  </a:lnTo>
                  <a:lnTo>
                    <a:pt x="0" y="4852"/>
                  </a:lnTo>
                  <a:lnTo>
                    <a:pt x="90" y="4896"/>
                  </a:lnTo>
                  <a:lnTo>
                    <a:pt x="253" y="4896"/>
                  </a:lnTo>
                  <a:lnTo>
                    <a:pt x="574" y="4762"/>
                  </a:lnTo>
                  <a:lnTo>
                    <a:pt x="1090" y="4512"/>
                  </a:lnTo>
                  <a:lnTo>
                    <a:pt x="1721" y="4146"/>
                  </a:lnTo>
                  <a:lnTo>
                    <a:pt x="1947" y="4061"/>
                  </a:lnTo>
                  <a:lnTo>
                    <a:pt x="2151" y="4010"/>
                  </a:lnTo>
                  <a:lnTo>
                    <a:pt x="2424" y="3876"/>
                  </a:lnTo>
                  <a:lnTo>
                    <a:pt x="2669" y="3694"/>
                  </a:lnTo>
                  <a:lnTo>
                    <a:pt x="2845" y="3589"/>
                  </a:lnTo>
                  <a:lnTo>
                    <a:pt x="3007" y="3485"/>
                  </a:lnTo>
                  <a:lnTo>
                    <a:pt x="3144" y="3448"/>
                  </a:lnTo>
                  <a:lnTo>
                    <a:pt x="3223" y="3477"/>
                  </a:lnTo>
                  <a:lnTo>
                    <a:pt x="3316" y="3526"/>
                  </a:lnTo>
                  <a:lnTo>
                    <a:pt x="3468" y="3467"/>
                  </a:lnTo>
                  <a:lnTo>
                    <a:pt x="3802" y="3365"/>
                  </a:lnTo>
                  <a:lnTo>
                    <a:pt x="3944" y="3233"/>
                  </a:lnTo>
                  <a:lnTo>
                    <a:pt x="4086" y="3138"/>
                  </a:lnTo>
                  <a:lnTo>
                    <a:pt x="4204" y="3181"/>
                  </a:lnTo>
                  <a:lnTo>
                    <a:pt x="4397" y="3244"/>
                  </a:lnTo>
                  <a:lnTo>
                    <a:pt x="4521" y="3281"/>
                  </a:lnTo>
                  <a:lnTo>
                    <a:pt x="4639" y="3339"/>
                  </a:lnTo>
                  <a:lnTo>
                    <a:pt x="4775" y="3368"/>
                  </a:lnTo>
                  <a:lnTo>
                    <a:pt x="4854" y="3425"/>
                  </a:lnTo>
                  <a:lnTo>
                    <a:pt x="5019" y="3462"/>
                  </a:lnTo>
                  <a:lnTo>
                    <a:pt x="5175" y="3517"/>
                  </a:lnTo>
                  <a:lnTo>
                    <a:pt x="5355" y="3539"/>
                  </a:lnTo>
                  <a:lnTo>
                    <a:pt x="5417" y="3626"/>
                  </a:lnTo>
                  <a:lnTo>
                    <a:pt x="5565" y="3719"/>
                  </a:lnTo>
                  <a:lnTo>
                    <a:pt x="5597" y="3852"/>
                  </a:lnTo>
                  <a:lnTo>
                    <a:pt x="5745" y="3981"/>
                  </a:lnTo>
                  <a:lnTo>
                    <a:pt x="5908" y="3981"/>
                  </a:lnTo>
                  <a:lnTo>
                    <a:pt x="6085" y="4147"/>
                  </a:lnTo>
                  <a:lnTo>
                    <a:pt x="6174" y="4375"/>
                  </a:lnTo>
                  <a:lnTo>
                    <a:pt x="6176" y="4532"/>
                  </a:lnTo>
                  <a:lnTo>
                    <a:pt x="6104" y="4646"/>
                  </a:lnTo>
                  <a:lnTo>
                    <a:pt x="6105" y="4760"/>
                  </a:lnTo>
                  <a:lnTo>
                    <a:pt x="6133" y="4859"/>
                  </a:lnTo>
                  <a:lnTo>
                    <a:pt x="6182" y="4992"/>
                  </a:lnTo>
                  <a:lnTo>
                    <a:pt x="6142" y="5132"/>
                  </a:lnTo>
                  <a:lnTo>
                    <a:pt x="6087" y="5256"/>
                  </a:lnTo>
                  <a:lnTo>
                    <a:pt x="6047" y="5423"/>
                  </a:lnTo>
                  <a:lnTo>
                    <a:pt x="5980" y="5547"/>
                  </a:lnTo>
                  <a:lnTo>
                    <a:pt x="5974" y="5648"/>
                  </a:lnTo>
                  <a:lnTo>
                    <a:pt x="5991" y="5729"/>
                  </a:lnTo>
                  <a:lnTo>
                    <a:pt x="6063" y="5807"/>
                  </a:lnTo>
                  <a:lnTo>
                    <a:pt x="6052" y="5953"/>
                  </a:lnTo>
                  <a:lnTo>
                    <a:pt x="5940" y="6067"/>
                  </a:lnTo>
                  <a:lnTo>
                    <a:pt x="5904" y="6154"/>
                  </a:lnTo>
                  <a:lnTo>
                    <a:pt x="5939" y="6241"/>
                  </a:lnTo>
                  <a:lnTo>
                    <a:pt x="6058" y="6365"/>
                  </a:lnTo>
                  <a:lnTo>
                    <a:pt x="6223" y="6556"/>
                  </a:lnTo>
                  <a:lnTo>
                    <a:pt x="6343" y="6699"/>
                  </a:lnTo>
                  <a:lnTo>
                    <a:pt x="6434" y="6845"/>
                  </a:lnTo>
                  <a:lnTo>
                    <a:pt x="6500" y="7107"/>
                  </a:lnTo>
                  <a:lnTo>
                    <a:pt x="6489" y="7297"/>
                  </a:lnTo>
                  <a:lnTo>
                    <a:pt x="6460" y="7435"/>
                  </a:lnTo>
                  <a:lnTo>
                    <a:pt x="6404" y="7536"/>
                  </a:lnTo>
                  <a:lnTo>
                    <a:pt x="6347" y="7646"/>
                  </a:lnTo>
                  <a:lnTo>
                    <a:pt x="6233" y="7774"/>
                  </a:lnTo>
                  <a:lnTo>
                    <a:pt x="6155" y="7825"/>
                  </a:lnTo>
                  <a:lnTo>
                    <a:pt x="6116" y="7774"/>
                  </a:lnTo>
                  <a:lnTo>
                    <a:pt x="6099" y="7686"/>
                  </a:lnTo>
                  <a:lnTo>
                    <a:pt x="6184" y="7556"/>
                  </a:lnTo>
                  <a:lnTo>
                    <a:pt x="6118" y="7534"/>
                  </a:lnTo>
                  <a:lnTo>
                    <a:pt x="5937" y="7519"/>
                  </a:lnTo>
                  <a:lnTo>
                    <a:pt x="5869" y="7534"/>
                  </a:lnTo>
                  <a:lnTo>
                    <a:pt x="5847" y="7626"/>
                  </a:lnTo>
                  <a:lnTo>
                    <a:pt x="5773" y="7891"/>
                  </a:lnTo>
                  <a:lnTo>
                    <a:pt x="5640" y="8226"/>
                  </a:lnTo>
                  <a:lnTo>
                    <a:pt x="5551" y="8409"/>
                  </a:lnTo>
                  <a:lnTo>
                    <a:pt x="5477" y="8496"/>
                  </a:lnTo>
                  <a:lnTo>
                    <a:pt x="5437" y="8605"/>
                  </a:lnTo>
                  <a:lnTo>
                    <a:pt x="5358" y="8684"/>
                  </a:lnTo>
                  <a:lnTo>
                    <a:pt x="5286" y="8789"/>
                  </a:lnTo>
                  <a:lnTo>
                    <a:pt x="5207" y="8896"/>
                  </a:lnTo>
                  <a:lnTo>
                    <a:pt x="5129" y="8983"/>
                  </a:lnTo>
                  <a:lnTo>
                    <a:pt x="5067" y="9121"/>
                  </a:lnTo>
                  <a:lnTo>
                    <a:pt x="4998" y="9301"/>
                  </a:lnTo>
                  <a:lnTo>
                    <a:pt x="4938" y="9544"/>
                  </a:lnTo>
                  <a:lnTo>
                    <a:pt x="4887" y="9705"/>
                  </a:lnTo>
                  <a:lnTo>
                    <a:pt x="4728" y="9947"/>
                  </a:lnTo>
                  <a:lnTo>
                    <a:pt x="4614" y="10032"/>
                  </a:lnTo>
                  <a:lnTo>
                    <a:pt x="4588" y="10124"/>
                  </a:lnTo>
                  <a:lnTo>
                    <a:pt x="4607" y="10221"/>
                  </a:lnTo>
                  <a:lnTo>
                    <a:pt x="4667" y="10298"/>
                  </a:lnTo>
                  <a:lnTo>
                    <a:pt x="4646" y="10400"/>
                  </a:lnTo>
                  <a:lnTo>
                    <a:pt x="4578" y="10466"/>
                  </a:lnTo>
                  <a:lnTo>
                    <a:pt x="4533" y="10596"/>
                  </a:lnTo>
                  <a:lnTo>
                    <a:pt x="4533" y="10730"/>
                  </a:lnTo>
                  <a:lnTo>
                    <a:pt x="4564" y="10866"/>
                  </a:lnTo>
                  <a:lnTo>
                    <a:pt x="4615" y="10975"/>
                  </a:lnTo>
                  <a:lnTo>
                    <a:pt x="4687" y="11050"/>
                  </a:lnTo>
                  <a:lnTo>
                    <a:pt x="4672" y="11124"/>
                  </a:lnTo>
                  <a:lnTo>
                    <a:pt x="4602" y="11167"/>
                  </a:lnTo>
                  <a:lnTo>
                    <a:pt x="4575" y="11232"/>
                  </a:lnTo>
                  <a:lnTo>
                    <a:pt x="4638" y="11310"/>
                  </a:lnTo>
                  <a:lnTo>
                    <a:pt x="4658" y="11489"/>
                  </a:lnTo>
                  <a:lnTo>
                    <a:pt x="4708" y="11732"/>
                  </a:lnTo>
                  <a:lnTo>
                    <a:pt x="4757" y="12031"/>
                  </a:lnTo>
                  <a:lnTo>
                    <a:pt x="4809" y="12198"/>
                  </a:lnTo>
                  <a:lnTo>
                    <a:pt x="4889" y="12242"/>
                  </a:lnTo>
                  <a:lnTo>
                    <a:pt x="4983" y="12307"/>
                  </a:lnTo>
                  <a:lnTo>
                    <a:pt x="5074" y="12365"/>
                  </a:lnTo>
                  <a:lnTo>
                    <a:pt x="5182" y="12551"/>
                  </a:lnTo>
                  <a:lnTo>
                    <a:pt x="5257" y="12784"/>
                  </a:lnTo>
                  <a:lnTo>
                    <a:pt x="5291" y="13051"/>
                  </a:lnTo>
                  <a:lnTo>
                    <a:pt x="5251" y="13252"/>
                  </a:lnTo>
                  <a:lnTo>
                    <a:pt x="5228" y="13427"/>
                  </a:lnTo>
                  <a:lnTo>
                    <a:pt x="5243" y="13556"/>
                  </a:lnTo>
                  <a:lnTo>
                    <a:pt x="5361" y="13731"/>
                  </a:lnTo>
                  <a:lnTo>
                    <a:pt x="5475" y="14018"/>
                  </a:lnTo>
                  <a:lnTo>
                    <a:pt x="5549" y="14237"/>
                  </a:lnTo>
                  <a:lnTo>
                    <a:pt x="5534" y="14380"/>
                  </a:lnTo>
                  <a:lnTo>
                    <a:pt x="5455" y="14489"/>
                  </a:lnTo>
                  <a:lnTo>
                    <a:pt x="5444" y="14620"/>
                  </a:lnTo>
                  <a:lnTo>
                    <a:pt x="5538" y="14705"/>
                  </a:lnTo>
                  <a:lnTo>
                    <a:pt x="5553" y="14790"/>
                  </a:lnTo>
                  <a:lnTo>
                    <a:pt x="5597" y="14873"/>
                  </a:lnTo>
                  <a:lnTo>
                    <a:pt x="5705" y="14957"/>
                  </a:lnTo>
                  <a:lnTo>
                    <a:pt x="5832" y="15137"/>
                  </a:lnTo>
                  <a:lnTo>
                    <a:pt x="5849" y="15280"/>
                  </a:lnTo>
                  <a:lnTo>
                    <a:pt x="5806" y="15409"/>
                  </a:lnTo>
                  <a:lnTo>
                    <a:pt x="5785" y="15479"/>
                  </a:lnTo>
                  <a:lnTo>
                    <a:pt x="5785" y="15568"/>
                  </a:lnTo>
                  <a:lnTo>
                    <a:pt x="5876" y="15690"/>
                  </a:lnTo>
                  <a:lnTo>
                    <a:pt x="5983" y="15842"/>
                  </a:lnTo>
                  <a:lnTo>
                    <a:pt x="6074" y="15973"/>
                  </a:lnTo>
                  <a:lnTo>
                    <a:pt x="6165" y="16095"/>
                  </a:lnTo>
                  <a:lnTo>
                    <a:pt x="6241" y="16141"/>
                  </a:lnTo>
                  <a:lnTo>
                    <a:pt x="6223" y="16045"/>
                  </a:lnTo>
                  <a:lnTo>
                    <a:pt x="6167" y="15916"/>
                  </a:lnTo>
                  <a:lnTo>
                    <a:pt x="6083" y="15746"/>
                  </a:lnTo>
                  <a:lnTo>
                    <a:pt x="6049" y="15645"/>
                  </a:lnTo>
                  <a:lnTo>
                    <a:pt x="6033" y="15535"/>
                  </a:lnTo>
                  <a:lnTo>
                    <a:pt x="6033" y="15389"/>
                  </a:lnTo>
                  <a:lnTo>
                    <a:pt x="6006" y="15260"/>
                  </a:lnTo>
                  <a:lnTo>
                    <a:pt x="5944" y="15173"/>
                  </a:lnTo>
                  <a:lnTo>
                    <a:pt x="5928" y="15052"/>
                  </a:lnTo>
                  <a:lnTo>
                    <a:pt x="5923" y="14877"/>
                  </a:lnTo>
                  <a:lnTo>
                    <a:pt x="5917" y="14782"/>
                  </a:lnTo>
                  <a:lnTo>
                    <a:pt x="5826" y="14534"/>
                  </a:lnTo>
                  <a:lnTo>
                    <a:pt x="5720" y="14254"/>
                  </a:lnTo>
                  <a:lnTo>
                    <a:pt x="5646" y="13909"/>
                  </a:lnTo>
                  <a:lnTo>
                    <a:pt x="5549" y="13654"/>
                  </a:lnTo>
                  <a:lnTo>
                    <a:pt x="5538" y="13489"/>
                  </a:lnTo>
                  <a:lnTo>
                    <a:pt x="5583" y="13314"/>
                  </a:lnTo>
                  <a:lnTo>
                    <a:pt x="5657" y="13214"/>
                  </a:lnTo>
                  <a:lnTo>
                    <a:pt x="5739" y="13178"/>
                  </a:lnTo>
                  <a:lnTo>
                    <a:pt x="5837" y="13204"/>
                  </a:lnTo>
                  <a:lnTo>
                    <a:pt x="6002" y="13298"/>
                  </a:lnTo>
                  <a:lnTo>
                    <a:pt x="6041" y="13466"/>
                  </a:lnTo>
                  <a:lnTo>
                    <a:pt x="6021" y="13669"/>
                  </a:lnTo>
                  <a:lnTo>
                    <a:pt x="6083" y="13842"/>
                  </a:lnTo>
                  <a:lnTo>
                    <a:pt x="6123" y="14044"/>
                  </a:lnTo>
                  <a:lnTo>
                    <a:pt x="6214" y="14248"/>
                  </a:lnTo>
                  <a:lnTo>
                    <a:pt x="6284" y="14430"/>
                  </a:lnTo>
                  <a:lnTo>
                    <a:pt x="6364" y="14595"/>
                  </a:lnTo>
                  <a:lnTo>
                    <a:pt x="6436" y="14724"/>
                  </a:lnTo>
                  <a:lnTo>
                    <a:pt x="6560" y="14862"/>
                  </a:lnTo>
                  <a:lnTo>
                    <a:pt x="6578" y="15043"/>
                  </a:lnTo>
                  <a:lnTo>
                    <a:pt x="6534" y="15102"/>
                  </a:lnTo>
                  <a:lnTo>
                    <a:pt x="6506" y="15225"/>
                  </a:lnTo>
                  <a:lnTo>
                    <a:pt x="6626" y="15313"/>
                  </a:lnTo>
                  <a:lnTo>
                    <a:pt x="6758" y="15490"/>
                  </a:lnTo>
                  <a:lnTo>
                    <a:pt x="6832" y="15660"/>
                  </a:lnTo>
                  <a:lnTo>
                    <a:pt x="6946" y="15755"/>
                  </a:lnTo>
                  <a:lnTo>
                    <a:pt x="7001" y="15932"/>
                  </a:lnTo>
                  <a:lnTo>
                    <a:pt x="7069" y="16078"/>
                  </a:lnTo>
                  <a:lnTo>
                    <a:pt x="7141" y="16216"/>
                  </a:lnTo>
                  <a:lnTo>
                    <a:pt x="7193" y="16447"/>
                  </a:lnTo>
                  <a:lnTo>
                    <a:pt x="7230" y="16668"/>
                  </a:lnTo>
                  <a:lnTo>
                    <a:pt x="7224" y="16870"/>
                  </a:lnTo>
                  <a:lnTo>
                    <a:pt x="7174" y="17029"/>
                  </a:lnTo>
                  <a:lnTo>
                    <a:pt x="7125" y="17173"/>
                  </a:lnTo>
                  <a:lnTo>
                    <a:pt x="7142" y="17291"/>
                  </a:lnTo>
                  <a:lnTo>
                    <a:pt x="7204" y="17363"/>
                  </a:lnTo>
                  <a:lnTo>
                    <a:pt x="7292" y="17443"/>
                  </a:lnTo>
                  <a:lnTo>
                    <a:pt x="7417" y="17611"/>
                  </a:lnTo>
                  <a:lnTo>
                    <a:pt x="7500" y="17756"/>
                  </a:lnTo>
                  <a:lnTo>
                    <a:pt x="7591" y="17820"/>
                  </a:lnTo>
                  <a:lnTo>
                    <a:pt x="7800" y="17893"/>
                  </a:lnTo>
                  <a:lnTo>
                    <a:pt x="7925" y="18009"/>
                  </a:lnTo>
                  <a:lnTo>
                    <a:pt x="8090" y="18111"/>
                  </a:lnTo>
                  <a:lnTo>
                    <a:pt x="8241" y="18220"/>
                  </a:lnTo>
                  <a:lnTo>
                    <a:pt x="8372" y="18315"/>
                  </a:lnTo>
                  <a:lnTo>
                    <a:pt x="8507" y="18400"/>
                  </a:lnTo>
                  <a:lnTo>
                    <a:pt x="8706" y="18516"/>
                  </a:lnTo>
                  <a:lnTo>
                    <a:pt x="8842" y="18596"/>
                  </a:lnTo>
                  <a:lnTo>
                    <a:pt x="8943" y="18660"/>
                  </a:lnTo>
                  <a:lnTo>
                    <a:pt x="9047" y="18713"/>
                  </a:lnTo>
                  <a:lnTo>
                    <a:pt x="9142" y="18769"/>
                  </a:lnTo>
                  <a:lnTo>
                    <a:pt x="9212" y="18725"/>
                  </a:lnTo>
                  <a:lnTo>
                    <a:pt x="9284" y="18698"/>
                  </a:lnTo>
                  <a:lnTo>
                    <a:pt x="9443" y="18618"/>
                  </a:lnTo>
                  <a:lnTo>
                    <a:pt x="9551" y="18567"/>
                  </a:lnTo>
                  <a:lnTo>
                    <a:pt x="9694" y="18567"/>
                  </a:lnTo>
                  <a:lnTo>
                    <a:pt x="9830" y="18670"/>
                  </a:lnTo>
                  <a:lnTo>
                    <a:pt x="10001" y="18799"/>
                  </a:lnTo>
                  <a:lnTo>
                    <a:pt x="10103" y="18897"/>
                  </a:lnTo>
                  <a:lnTo>
                    <a:pt x="10183" y="19065"/>
                  </a:lnTo>
                  <a:lnTo>
                    <a:pt x="10280" y="19194"/>
                  </a:lnTo>
                  <a:lnTo>
                    <a:pt x="10399" y="19279"/>
                  </a:lnTo>
                  <a:lnTo>
                    <a:pt x="10524" y="19345"/>
                  </a:lnTo>
                  <a:lnTo>
                    <a:pt x="10621" y="19420"/>
                  </a:lnTo>
                  <a:lnTo>
                    <a:pt x="10755" y="19493"/>
                  </a:lnTo>
                  <a:lnTo>
                    <a:pt x="10877" y="19578"/>
                  </a:lnTo>
                  <a:lnTo>
                    <a:pt x="11002" y="19607"/>
                  </a:lnTo>
                  <a:lnTo>
                    <a:pt x="11156" y="19612"/>
                  </a:lnTo>
                  <a:lnTo>
                    <a:pt x="11241" y="19532"/>
                  </a:lnTo>
                  <a:lnTo>
                    <a:pt x="11335" y="19547"/>
                  </a:lnTo>
                  <a:lnTo>
                    <a:pt x="11364" y="19707"/>
                  </a:lnTo>
                  <a:lnTo>
                    <a:pt x="11392" y="19855"/>
                  </a:lnTo>
                  <a:lnTo>
                    <a:pt x="11426" y="19991"/>
                  </a:lnTo>
                  <a:lnTo>
                    <a:pt x="11500" y="20114"/>
                  </a:lnTo>
                  <a:lnTo>
                    <a:pt x="11589" y="20243"/>
                  </a:lnTo>
                  <a:lnTo>
                    <a:pt x="11653" y="20382"/>
                  </a:lnTo>
                  <a:lnTo>
                    <a:pt x="11664" y="20506"/>
                  </a:lnTo>
                  <a:lnTo>
                    <a:pt x="11682" y="20676"/>
                  </a:lnTo>
                  <a:lnTo>
                    <a:pt x="11772" y="20819"/>
                  </a:lnTo>
                  <a:lnTo>
                    <a:pt x="11902" y="20848"/>
                  </a:lnTo>
                  <a:lnTo>
                    <a:pt x="12025" y="20953"/>
                  </a:lnTo>
                  <a:lnTo>
                    <a:pt x="12094" y="21084"/>
                  </a:lnTo>
                  <a:lnTo>
                    <a:pt x="12179" y="21177"/>
                  </a:lnTo>
                  <a:lnTo>
                    <a:pt x="12295" y="21296"/>
                  </a:lnTo>
                  <a:lnTo>
                    <a:pt x="12435" y="21310"/>
                  </a:lnTo>
                  <a:lnTo>
                    <a:pt x="12549" y="21391"/>
                  </a:lnTo>
                  <a:lnTo>
                    <a:pt x="12667" y="21461"/>
                  </a:lnTo>
                  <a:lnTo>
                    <a:pt x="12729" y="21510"/>
                  </a:lnTo>
                  <a:lnTo>
                    <a:pt x="12864" y="21571"/>
                  </a:lnTo>
                  <a:lnTo>
                    <a:pt x="12989" y="21600"/>
                  </a:lnTo>
                  <a:lnTo>
                    <a:pt x="13033" y="21529"/>
                  </a:lnTo>
                  <a:lnTo>
                    <a:pt x="12995" y="21406"/>
                  </a:lnTo>
                  <a:lnTo>
                    <a:pt x="13103" y="21304"/>
                  </a:lnTo>
                  <a:lnTo>
                    <a:pt x="13183" y="21223"/>
                  </a:lnTo>
                  <a:lnTo>
                    <a:pt x="13268" y="21158"/>
                  </a:lnTo>
                  <a:lnTo>
                    <a:pt x="13213" y="21056"/>
                  </a:lnTo>
                  <a:lnTo>
                    <a:pt x="13081" y="21093"/>
                  </a:lnTo>
                  <a:lnTo>
                    <a:pt x="12971" y="21149"/>
                  </a:lnTo>
                  <a:lnTo>
                    <a:pt x="12887" y="21241"/>
                  </a:lnTo>
                  <a:lnTo>
                    <a:pt x="12803" y="21285"/>
                  </a:lnTo>
                  <a:lnTo>
                    <a:pt x="12762" y="21202"/>
                  </a:lnTo>
                  <a:lnTo>
                    <a:pt x="12656" y="21154"/>
                  </a:lnTo>
                  <a:lnTo>
                    <a:pt x="12537" y="21095"/>
                  </a:lnTo>
                  <a:lnTo>
                    <a:pt x="12412" y="20986"/>
                  </a:lnTo>
                  <a:lnTo>
                    <a:pt x="12350" y="20797"/>
                  </a:lnTo>
                  <a:lnTo>
                    <a:pt x="12262" y="20656"/>
                  </a:lnTo>
                  <a:lnTo>
                    <a:pt x="12209" y="20570"/>
                  </a:lnTo>
                  <a:lnTo>
                    <a:pt x="12187" y="20410"/>
                  </a:lnTo>
                  <a:lnTo>
                    <a:pt x="12198" y="20249"/>
                  </a:lnTo>
                  <a:lnTo>
                    <a:pt x="12225" y="20028"/>
                  </a:lnTo>
                  <a:lnTo>
                    <a:pt x="12236" y="19853"/>
                  </a:lnTo>
                  <a:lnTo>
                    <a:pt x="12264" y="19692"/>
                  </a:lnTo>
                  <a:lnTo>
                    <a:pt x="12287" y="19534"/>
                  </a:lnTo>
                  <a:lnTo>
                    <a:pt x="12302" y="19376"/>
                  </a:lnTo>
                  <a:lnTo>
                    <a:pt x="12330" y="19230"/>
                  </a:lnTo>
                  <a:lnTo>
                    <a:pt x="12364" y="19073"/>
                  </a:lnTo>
                  <a:lnTo>
                    <a:pt x="12324" y="18924"/>
                  </a:lnTo>
                  <a:lnTo>
                    <a:pt x="12279" y="18783"/>
                  </a:lnTo>
                  <a:lnTo>
                    <a:pt x="12107" y="18728"/>
                  </a:lnTo>
                  <a:lnTo>
                    <a:pt x="11924" y="18714"/>
                  </a:lnTo>
                  <a:lnTo>
                    <a:pt x="11751" y="18714"/>
                  </a:lnTo>
                  <a:lnTo>
                    <a:pt x="11628" y="18765"/>
                  </a:lnTo>
                  <a:lnTo>
                    <a:pt x="11406" y="18816"/>
                  </a:lnTo>
                  <a:lnTo>
                    <a:pt x="11165" y="18816"/>
                  </a:lnTo>
                  <a:lnTo>
                    <a:pt x="11133" y="18658"/>
                  </a:lnTo>
                  <a:lnTo>
                    <a:pt x="11154" y="18467"/>
                  </a:lnTo>
                  <a:lnTo>
                    <a:pt x="11237" y="18145"/>
                  </a:lnTo>
                  <a:lnTo>
                    <a:pt x="11347" y="17912"/>
                  </a:lnTo>
                  <a:lnTo>
                    <a:pt x="11460" y="17663"/>
                  </a:lnTo>
                  <a:lnTo>
                    <a:pt x="11505" y="17483"/>
                  </a:lnTo>
                  <a:lnTo>
                    <a:pt x="11604" y="17196"/>
                  </a:lnTo>
                  <a:lnTo>
                    <a:pt x="11683" y="17024"/>
                  </a:lnTo>
                  <a:lnTo>
                    <a:pt x="11689" y="16887"/>
                  </a:lnTo>
                  <a:lnTo>
                    <a:pt x="11632" y="16817"/>
                  </a:lnTo>
                  <a:lnTo>
                    <a:pt x="11551" y="16802"/>
                  </a:lnTo>
                  <a:lnTo>
                    <a:pt x="11477" y="16780"/>
                  </a:lnTo>
                  <a:lnTo>
                    <a:pt x="11365" y="16780"/>
                  </a:lnTo>
                  <a:lnTo>
                    <a:pt x="11234" y="16802"/>
                  </a:lnTo>
                  <a:lnTo>
                    <a:pt x="11104" y="16839"/>
                  </a:lnTo>
                  <a:lnTo>
                    <a:pt x="11028" y="16887"/>
                  </a:lnTo>
                  <a:lnTo>
                    <a:pt x="10924" y="16956"/>
                  </a:lnTo>
                  <a:lnTo>
                    <a:pt x="10890" y="17029"/>
                  </a:lnTo>
                  <a:lnTo>
                    <a:pt x="10884" y="17157"/>
                  </a:lnTo>
                  <a:lnTo>
                    <a:pt x="10833" y="17347"/>
                  </a:lnTo>
                  <a:lnTo>
                    <a:pt x="10751" y="17509"/>
                  </a:lnTo>
                  <a:lnTo>
                    <a:pt x="10649" y="17596"/>
                  </a:lnTo>
                  <a:lnTo>
                    <a:pt x="10454" y="17759"/>
                  </a:lnTo>
                  <a:lnTo>
                    <a:pt x="10312" y="17818"/>
                  </a:lnTo>
                  <a:lnTo>
                    <a:pt x="10135" y="17898"/>
                  </a:lnTo>
                  <a:lnTo>
                    <a:pt x="9999" y="17898"/>
                  </a:lnTo>
                  <a:lnTo>
                    <a:pt x="9792" y="17879"/>
                  </a:lnTo>
                  <a:lnTo>
                    <a:pt x="9606" y="17831"/>
                  </a:lnTo>
                  <a:lnTo>
                    <a:pt x="9447" y="17654"/>
                  </a:lnTo>
                  <a:lnTo>
                    <a:pt x="9334" y="17487"/>
                  </a:lnTo>
                  <a:lnTo>
                    <a:pt x="9279" y="17285"/>
                  </a:lnTo>
                  <a:lnTo>
                    <a:pt x="9196" y="16914"/>
                  </a:lnTo>
                  <a:lnTo>
                    <a:pt x="9146" y="16624"/>
                  </a:lnTo>
                  <a:lnTo>
                    <a:pt x="9129" y="16345"/>
                  </a:lnTo>
                  <a:lnTo>
                    <a:pt x="9167" y="16032"/>
                  </a:lnTo>
                  <a:lnTo>
                    <a:pt x="9286" y="15655"/>
                  </a:lnTo>
                  <a:lnTo>
                    <a:pt x="9383" y="15401"/>
                  </a:lnTo>
                  <a:lnTo>
                    <a:pt x="9400" y="15183"/>
                  </a:lnTo>
                  <a:lnTo>
                    <a:pt x="9406" y="14977"/>
                  </a:lnTo>
                  <a:lnTo>
                    <a:pt x="9444" y="14790"/>
                  </a:lnTo>
                  <a:lnTo>
                    <a:pt x="9506" y="14595"/>
                  </a:lnTo>
                  <a:lnTo>
                    <a:pt x="9635" y="14457"/>
                  </a:lnTo>
                  <a:lnTo>
                    <a:pt x="9806" y="14284"/>
                  </a:lnTo>
                  <a:lnTo>
                    <a:pt x="10189" y="14050"/>
                  </a:lnTo>
                  <a:lnTo>
                    <a:pt x="10354" y="13911"/>
                  </a:lnTo>
                  <a:lnTo>
                    <a:pt x="10480" y="13836"/>
                  </a:lnTo>
                  <a:lnTo>
                    <a:pt x="10603" y="13720"/>
                  </a:lnTo>
                  <a:lnTo>
                    <a:pt x="10739" y="13684"/>
                  </a:lnTo>
                  <a:lnTo>
                    <a:pt x="10870" y="13684"/>
                  </a:lnTo>
                  <a:lnTo>
                    <a:pt x="10993" y="13742"/>
                  </a:lnTo>
                  <a:lnTo>
                    <a:pt x="11150" y="13886"/>
                  </a:lnTo>
                  <a:lnTo>
                    <a:pt x="11296" y="13993"/>
                  </a:lnTo>
                  <a:lnTo>
                    <a:pt x="11413" y="14043"/>
                  </a:lnTo>
                  <a:lnTo>
                    <a:pt x="11504" y="14043"/>
                  </a:lnTo>
                  <a:lnTo>
                    <a:pt x="11606" y="13970"/>
                  </a:lnTo>
                  <a:lnTo>
                    <a:pt x="11711" y="13735"/>
                  </a:lnTo>
                  <a:lnTo>
                    <a:pt x="11875" y="13611"/>
                  </a:lnTo>
                  <a:lnTo>
                    <a:pt x="12014" y="13548"/>
                  </a:lnTo>
                  <a:lnTo>
                    <a:pt x="12178" y="13504"/>
                  </a:lnTo>
                  <a:lnTo>
                    <a:pt x="12297" y="13548"/>
                  </a:lnTo>
                  <a:lnTo>
                    <a:pt x="12373" y="13646"/>
                  </a:lnTo>
                  <a:lnTo>
                    <a:pt x="12497" y="13704"/>
                  </a:lnTo>
                  <a:lnTo>
                    <a:pt x="12604" y="13781"/>
                  </a:lnTo>
                  <a:lnTo>
                    <a:pt x="12701" y="13812"/>
                  </a:lnTo>
                  <a:lnTo>
                    <a:pt x="12778" y="13740"/>
                  </a:lnTo>
                  <a:lnTo>
                    <a:pt x="12875" y="13710"/>
                  </a:lnTo>
                  <a:lnTo>
                    <a:pt x="12998" y="13746"/>
                  </a:lnTo>
                  <a:lnTo>
                    <a:pt x="13081" y="13890"/>
                  </a:lnTo>
                  <a:lnTo>
                    <a:pt x="13168" y="13996"/>
                  </a:lnTo>
                  <a:lnTo>
                    <a:pt x="13228" y="14124"/>
                  </a:lnTo>
                  <a:lnTo>
                    <a:pt x="13245" y="14260"/>
                  </a:lnTo>
                  <a:lnTo>
                    <a:pt x="13188" y="14382"/>
                  </a:lnTo>
                  <a:lnTo>
                    <a:pt x="13150" y="14515"/>
                  </a:lnTo>
                  <a:lnTo>
                    <a:pt x="13150" y="14661"/>
                  </a:lnTo>
                  <a:lnTo>
                    <a:pt x="13213" y="14744"/>
                  </a:lnTo>
                  <a:lnTo>
                    <a:pt x="13265" y="14853"/>
                  </a:lnTo>
                  <a:lnTo>
                    <a:pt x="13283" y="15108"/>
                  </a:lnTo>
                  <a:lnTo>
                    <a:pt x="13334" y="15290"/>
                  </a:lnTo>
                  <a:lnTo>
                    <a:pt x="13452" y="15424"/>
                  </a:lnTo>
                  <a:lnTo>
                    <a:pt x="13548" y="15365"/>
                  </a:lnTo>
                  <a:lnTo>
                    <a:pt x="13603" y="15222"/>
                  </a:lnTo>
                  <a:lnTo>
                    <a:pt x="13654" y="15037"/>
                  </a:lnTo>
                  <a:lnTo>
                    <a:pt x="13654" y="14814"/>
                  </a:lnTo>
                  <a:lnTo>
                    <a:pt x="13681" y="14602"/>
                  </a:lnTo>
                  <a:lnTo>
                    <a:pt x="13650" y="14293"/>
                  </a:lnTo>
                  <a:lnTo>
                    <a:pt x="13616" y="14170"/>
                  </a:lnTo>
                  <a:lnTo>
                    <a:pt x="13599" y="13973"/>
                  </a:lnTo>
                  <a:lnTo>
                    <a:pt x="13582" y="13688"/>
                  </a:lnTo>
                  <a:lnTo>
                    <a:pt x="13593" y="13506"/>
                  </a:lnTo>
                  <a:lnTo>
                    <a:pt x="13658" y="13353"/>
                  </a:lnTo>
                  <a:lnTo>
                    <a:pt x="13728" y="13200"/>
                  </a:lnTo>
                  <a:lnTo>
                    <a:pt x="13825" y="13091"/>
                  </a:lnTo>
                  <a:lnTo>
                    <a:pt x="13927" y="12967"/>
                  </a:lnTo>
                  <a:lnTo>
                    <a:pt x="14218" y="12701"/>
                  </a:lnTo>
                  <a:lnTo>
                    <a:pt x="14326" y="12563"/>
                  </a:lnTo>
                  <a:lnTo>
                    <a:pt x="14453" y="12468"/>
                  </a:lnTo>
                  <a:lnTo>
                    <a:pt x="14577" y="12404"/>
                  </a:lnTo>
                  <a:lnTo>
                    <a:pt x="14723" y="12341"/>
                  </a:lnTo>
                  <a:lnTo>
                    <a:pt x="14852" y="12246"/>
                  </a:lnTo>
                  <a:lnTo>
                    <a:pt x="14935" y="12127"/>
                  </a:lnTo>
                  <a:lnTo>
                    <a:pt x="15055" y="12032"/>
                  </a:lnTo>
                  <a:lnTo>
                    <a:pt x="15152" y="11945"/>
                  </a:lnTo>
                  <a:lnTo>
                    <a:pt x="15263" y="11753"/>
                  </a:lnTo>
                  <a:lnTo>
                    <a:pt x="15280" y="11595"/>
                  </a:lnTo>
                  <a:lnTo>
                    <a:pt x="15303" y="11434"/>
                  </a:lnTo>
                  <a:lnTo>
                    <a:pt x="15281" y="11276"/>
                  </a:lnTo>
                  <a:lnTo>
                    <a:pt x="15281" y="11116"/>
                  </a:lnTo>
                  <a:lnTo>
                    <a:pt x="15303" y="10934"/>
                  </a:lnTo>
                  <a:lnTo>
                    <a:pt x="15389" y="10761"/>
                  </a:lnTo>
                  <a:lnTo>
                    <a:pt x="15482" y="10761"/>
                  </a:lnTo>
                  <a:lnTo>
                    <a:pt x="15499" y="10880"/>
                  </a:lnTo>
                  <a:lnTo>
                    <a:pt x="15546" y="11021"/>
                  </a:lnTo>
                  <a:lnTo>
                    <a:pt x="15614" y="10967"/>
                  </a:lnTo>
                  <a:lnTo>
                    <a:pt x="15535" y="10727"/>
                  </a:lnTo>
                  <a:lnTo>
                    <a:pt x="15650" y="10569"/>
                  </a:lnTo>
                  <a:lnTo>
                    <a:pt x="15762" y="10432"/>
                  </a:lnTo>
                  <a:lnTo>
                    <a:pt x="16024" y="10381"/>
                  </a:lnTo>
                  <a:lnTo>
                    <a:pt x="16117" y="10289"/>
                  </a:lnTo>
                  <a:lnTo>
                    <a:pt x="16183" y="10120"/>
                  </a:lnTo>
                  <a:lnTo>
                    <a:pt x="16253" y="10035"/>
                  </a:lnTo>
                  <a:lnTo>
                    <a:pt x="16440" y="9841"/>
                  </a:lnTo>
                  <a:lnTo>
                    <a:pt x="16600" y="9797"/>
                  </a:lnTo>
                  <a:lnTo>
                    <a:pt x="16827" y="9761"/>
                  </a:lnTo>
                  <a:lnTo>
                    <a:pt x="16975" y="9680"/>
                  </a:lnTo>
                  <a:lnTo>
                    <a:pt x="17100" y="9613"/>
                  </a:lnTo>
                  <a:lnTo>
                    <a:pt x="17191" y="9547"/>
                  </a:lnTo>
                  <a:lnTo>
                    <a:pt x="17242" y="9250"/>
                  </a:lnTo>
                  <a:lnTo>
                    <a:pt x="17356" y="9134"/>
                  </a:lnTo>
                  <a:lnTo>
                    <a:pt x="17482" y="9045"/>
                  </a:lnTo>
                  <a:lnTo>
                    <a:pt x="17579" y="8965"/>
                  </a:lnTo>
                  <a:lnTo>
                    <a:pt x="17788" y="8827"/>
                  </a:lnTo>
                  <a:lnTo>
                    <a:pt x="17966" y="8684"/>
                  </a:lnTo>
                  <a:lnTo>
                    <a:pt x="18192" y="8613"/>
                  </a:lnTo>
                  <a:lnTo>
                    <a:pt x="18339" y="8516"/>
                  </a:lnTo>
                  <a:lnTo>
                    <a:pt x="18489" y="8428"/>
                  </a:lnTo>
                  <a:lnTo>
                    <a:pt x="18633" y="8365"/>
                  </a:lnTo>
                  <a:lnTo>
                    <a:pt x="18762" y="8309"/>
                  </a:lnTo>
                  <a:lnTo>
                    <a:pt x="18913" y="8309"/>
                  </a:lnTo>
                  <a:lnTo>
                    <a:pt x="19010" y="8350"/>
                  </a:lnTo>
                  <a:lnTo>
                    <a:pt x="19016" y="8472"/>
                  </a:lnTo>
                  <a:lnTo>
                    <a:pt x="18873" y="8513"/>
                  </a:lnTo>
                  <a:lnTo>
                    <a:pt x="18706" y="8635"/>
                  </a:lnTo>
                  <a:lnTo>
                    <a:pt x="18595" y="8691"/>
                  </a:lnTo>
                  <a:lnTo>
                    <a:pt x="18495" y="8751"/>
                  </a:lnTo>
                  <a:lnTo>
                    <a:pt x="18450" y="8839"/>
                  </a:lnTo>
                  <a:lnTo>
                    <a:pt x="18511" y="8931"/>
                  </a:lnTo>
                  <a:lnTo>
                    <a:pt x="18611" y="8931"/>
                  </a:lnTo>
                  <a:lnTo>
                    <a:pt x="18791" y="8827"/>
                  </a:lnTo>
                  <a:lnTo>
                    <a:pt x="18930" y="8727"/>
                  </a:lnTo>
                  <a:lnTo>
                    <a:pt x="19074" y="8650"/>
                  </a:lnTo>
                  <a:lnTo>
                    <a:pt x="19244" y="8635"/>
                  </a:lnTo>
                  <a:cubicBezTo>
                    <a:pt x="19290" y="8619"/>
                    <a:pt x="19335" y="8600"/>
                    <a:pt x="19379" y="8579"/>
                  </a:cubicBezTo>
                  <a:cubicBezTo>
                    <a:pt x="19434" y="8553"/>
                    <a:pt x="19488" y="8523"/>
                    <a:pt x="19541" y="8489"/>
                  </a:cubicBezTo>
                  <a:lnTo>
                    <a:pt x="19653" y="8409"/>
                  </a:lnTo>
                  <a:lnTo>
                    <a:pt x="19869" y="8294"/>
                  </a:lnTo>
                  <a:lnTo>
                    <a:pt x="19833" y="8195"/>
                  </a:lnTo>
                  <a:lnTo>
                    <a:pt x="19698" y="8202"/>
                  </a:lnTo>
                  <a:lnTo>
                    <a:pt x="19554" y="8292"/>
                  </a:lnTo>
                  <a:lnTo>
                    <a:pt x="19488" y="8314"/>
                  </a:lnTo>
                  <a:lnTo>
                    <a:pt x="19341" y="8314"/>
                  </a:lnTo>
                  <a:lnTo>
                    <a:pt x="19174" y="8207"/>
                  </a:lnTo>
                  <a:lnTo>
                    <a:pt x="18993" y="8112"/>
                  </a:lnTo>
                  <a:lnTo>
                    <a:pt x="18933" y="7978"/>
                  </a:lnTo>
                  <a:lnTo>
                    <a:pt x="18938" y="7840"/>
                  </a:lnTo>
                  <a:lnTo>
                    <a:pt x="18944" y="7690"/>
                  </a:lnTo>
                  <a:lnTo>
                    <a:pt x="19006" y="7610"/>
                  </a:lnTo>
                  <a:lnTo>
                    <a:pt x="19140" y="7428"/>
                  </a:lnTo>
                  <a:lnTo>
                    <a:pt x="19187" y="7345"/>
                  </a:lnTo>
                  <a:lnTo>
                    <a:pt x="19237" y="7180"/>
                  </a:lnTo>
                  <a:lnTo>
                    <a:pt x="19106" y="7144"/>
                  </a:lnTo>
                  <a:lnTo>
                    <a:pt x="18892" y="7163"/>
                  </a:lnTo>
                  <a:lnTo>
                    <a:pt x="18659" y="7228"/>
                  </a:lnTo>
                  <a:lnTo>
                    <a:pt x="18407" y="7344"/>
                  </a:lnTo>
                  <a:lnTo>
                    <a:pt x="18286" y="7459"/>
                  </a:lnTo>
                  <a:lnTo>
                    <a:pt x="18115" y="7495"/>
                  </a:lnTo>
                  <a:lnTo>
                    <a:pt x="18053" y="7522"/>
                  </a:lnTo>
                  <a:lnTo>
                    <a:pt x="17997" y="7406"/>
                  </a:lnTo>
                  <a:lnTo>
                    <a:pt x="18048" y="7304"/>
                  </a:lnTo>
                  <a:lnTo>
                    <a:pt x="18150" y="7238"/>
                  </a:lnTo>
                  <a:lnTo>
                    <a:pt x="18577" y="7007"/>
                  </a:lnTo>
                  <a:lnTo>
                    <a:pt x="18765" y="6862"/>
                  </a:lnTo>
                  <a:cubicBezTo>
                    <a:pt x="18809" y="6831"/>
                    <a:pt x="18854" y="6805"/>
                    <a:pt x="18901" y="6781"/>
                  </a:cubicBezTo>
                  <a:cubicBezTo>
                    <a:pt x="18965" y="6749"/>
                    <a:pt x="19031" y="6724"/>
                    <a:pt x="19098" y="6706"/>
                  </a:cubicBezTo>
                  <a:lnTo>
                    <a:pt x="19233" y="6665"/>
                  </a:lnTo>
                  <a:lnTo>
                    <a:pt x="19413" y="6636"/>
                  </a:lnTo>
                  <a:lnTo>
                    <a:pt x="19652" y="6658"/>
                  </a:lnTo>
                  <a:lnTo>
                    <a:pt x="19921" y="6687"/>
                  </a:lnTo>
                  <a:lnTo>
                    <a:pt x="20075" y="6660"/>
                  </a:lnTo>
                  <a:lnTo>
                    <a:pt x="20242" y="6618"/>
                  </a:lnTo>
                  <a:lnTo>
                    <a:pt x="20490" y="6615"/>
                  </a:lnTo>
                  <a:lnTo>
                    <a:pt x="20803" y="6477"/>
                  </a:lnTo>
                  <a:lnTo>
                    <a:pt x="20930" y="6409"/>
                  </a:lnTo>
                  <a:cubicBezTo>
                    <a:pt x="20988" y="6390"/>
                    <a:pt x="21045" y="6366"/>
                    <a:pt x="21099" y="6336"/>
                  </a:cubicBezTo>
                  <a:cubicBezTo>
                    <a:pt x="21140" y="6313"/>
                    <a:pt x="21179" y="6288"/>
                    <a:pt x="21217" y="6260"/>
                  </a:cubicBezTo>
                  <a:lnTo>
                    <a:pt x="21276" y="6209"/>
                  </a:lnTo>
                  <a:lnTo>
                    <a:pt x="21373" y="6131"/>
                  </a:lnTo>
                  <a:cubicBezTo>
                    <a:pt x="21397" y="6115"/>
                    <a:pt x="21420" y="6096"/>
                    <a:pt x="21441" y="6073"/>
                  </a:cubicBezTo>
                  <a:cubicBezTo>
                    <a:pt x="21471" y="6042"/>
                    <a:pt x="21497" y="6005"/>
                    <a:pt x="21518" y="5964"/>
                  </a:cubicBezTo>
                  <a:lnTo>
                    <a:pt x="21583" y="5842"/>
                  </a:lnTo>
                  <a:lnTo>
                    <a:pt x="21600" y="5716"/>
                  </a:lnTo>
                  <a:lnTo>
                    <a:pt x="21594" y="5645"/>
                  </a:lnTo>
                  <a:lnTo>
                    <a:pt x="21471" y="5526"/>
                  </a:lnTo>
                  <a:lnTo>
                    <a:pt x="21403" y="5467"/>
                  </a:lnTo>
                  <a:lnTo>
                    <a:pt x="21327" y="5446"/>
                  </a:lnTo>
                  <a:lnTo>
                    <a:pt x="21196" y="5446"/>
                  </a:lnTo>
                  <a:lnTo>
                    <a:pt x="21091" y="5453"/>
                  </a:lnTo>
                  <a:lnTo>
                    <a:pt x="20995" y="5547"/>
                  </a:lnTo>
                  <a:lnTo>
                    <a:pt x="20900" y="5567"/>
                  </a:lnTo>
                  <a:lnTo>
                    <a:pt x="20828" y="5523"/>
                  </a:lnTo>
                  <a:lnTo>
                    <a:pt x="20828" y="5416"/>
                  </a:lnTo>
                  <a:cubicBezTo>
                    <a:pt x="20860" y="5376"/>
                    <a:pt x="20896" y="5339"/>
                    <a:pt x="20934" y="5307"/>
                  </a:cubicBezTo>
                  <a:cubicBezTo>
                    <a:pt x="20959" y="5286"/>
                    <a:pt x="20985" y="5266"/>
                    <a:pt x="21011" y="5249"/>
                  </a:cubicBezTo>
                  <a:lnTo>
                    <a:pt x="20920" y="5120"/>
                  </a:lnTo>
                  <a:lnTo>
                    <a:pt x="20871" y="4942"/>
                  </a:lnTo>
                  <a:lnTo>
                    <a:pt x="20814" y="4814"/>
                  </a:lnTo>
                  <a:lnTo>
                    <a:pt x="20734" y="4712"/>
                  </a:lnTo>
                  <a:lnTo>
                    <a:pt x="20746" y="4563"/>
                  </a:lnTo>
                  <a:lnTo>
                    <a:pt x="20846" y="4476"/>
                  </a:lnTo>
                  <a:lnTo>
                    <a:pt x="20856" y="4345"/>
                  </a:lnTo>
                  <a:lnTo>
                    <a:pt x="20833" y="4183"/>
                  </a:lnTo>
                  <a:lnTo>
                    <a:pt x="20762" y="4113"/>
                  </a:lnTo>
                  <a:lnTo>
                    <a:pt x="20722" y="4001"/>
                  </a:lnTo>
                  <a:cubicBezTo>
                    <a:pt x="20752" y="3980"/>
                    <a:pt x="20776" y="3947"/>
                    <a:pt x="20790" y="3907"/>
                  </a:cubicBezTo>
                  <a:cubicBezTo>
                    <a:pt x="20808" y="3857"/>
                    <a:pt x="20810" y="3800"/>
                    <a:pt x="20796" y="3749"/>
                  </a:cubicBezTo>
                  <a:lnTo>
                    <a:pt x="20745" y="3647"/>
                  </a:lnTo>
                  <a:lnTo>
                    <a:pt x="20720" y="3537"/>
                  </a:lnTo>
                  <a:lnTo>
                    <a:pt x="20625" y="3493"/>
                  </a:lnTo>
                  <a:lnTo>
                    <a:pt x="20528" y="3632"/>
                  </a:lnTo>
                  <a:lnTo>
                    <a:pt x="20392" y="3756"/>
                  </a:lnTo>
                  <a:lnTo>
                    <a:pt x="20250" y="3892"/>
                  </a:lnTo>
                  <a:lnTo>
                    <a:pt x="20115" y="4018"/>
                  </a:lnTo>
                  <a:lnTo>
                    <a:pt x="19946" y="4098"/>
                  </a:lnTo>
                  <a:lnTo>
                    <a:pt x="19822" y="4091"/>
                  </a:lnTo>
                  <a:lnTo>
                    <a:pt x="19744" y="4074"/>
                  </a:lnTo>
                  <a:lnTo>
                    <a:pt x="19649" y="3952"/>
                  </a:lnTo>
                  <a:lnTo>
                    <a:pt x="19564" y="3858"/>
                  </a:lnTo>
                  <a:lnTo>
                    <a:pt x="19617" y="3705"/>
                  </a:lnTo>
                  <a:lnTo>
                    <a:pt x="19691" y="3562"/>
                  </a:lnTo>
                  <a:lnTo>
                    <a:pt x="19670" y="3362"/>
                  </a:lnTo>
                  <a:lnTo>
                    <a:pt x="19615" y="3265"/>
                  </a:lnTo>
                  <a:lnTo>
                    <a:pt x="19484" y="3118"/>
                  </a:lnTo>
                  <a:lnTo>
                    <a:pt x="19382" y="3053"/>
                  </a:lnTo>
                  <a:lnTo>
                    <a:pt x="19268" y="2958"/>
                  </a:lnTo>
                  <a:lnTo>
                    <a:pt x="19145" y="2912"/>
                  </a:lnTo>
                  <a:lnTo>
                    <a:pt x="19014" y="2919"/>
                  </a:lnTo>
                  <a:lnTo>
                    <a:pt x="18924" y="2834"/>
                  </a:lnTo>
                  <a:lnTo>
                    <a:pt x="18793" y="2819"/>
                  </a:lnTo>
                  <a:lnTo>
                    <a:pt x="18658" y="2819"/>
                  </a:lnTo>
                  <a:lnTo>
                    <a:pt x="18524" y="2863"/>
                  </a:lnTo>
                  <a:lnTo>
                    <a:pt x="18416" y="2934"/>
                  </a:lnTo>
                  <a:lnTo>
                    <a:pt x="18334" y="2997"/>
                  </a:lnTo>
                  <a:lnTo>
                    <a:pt x="18277" y="3133"/>
                  </a:lnTo>
                  <a:lnTo>
                    <a:pt x="18228" y="3344"/>
                  </a:lnTo>
                  <a:lnTo>
                    <a:pt x="18114" y="3556"/>
                  </a:lnTo>
                  <a:lnTo>
                    <a:pt x="18057" y="3665"/>
                  </a:lnTo>
                  <a:lnTo>
                    <a:pt x="17966" y="3765"/>
                  </a:lnTo>
                  <a:lnTo>
                    <a:pt x="17864" y="3806"/>
                  </a:lnTo>
                  <a:lnTo>
                    <a:pt x="17813" y="3908"/>
                  </a:lnTo>
                  <a:lnTo>
                    <a:pt x="17790" y="3988"/>
                  </a:lnTo>
                  <a:lnTo>
                    <a:pt x="17790" y="4105"/>
                  </a:lnTo>
                  <a:lnTo>
                    <a:pt x="17807" y="4220"/>
                  </a:lnTo>
                  <a:lnTo>
                    <a:pt x="17813" y="4330"/>
                  </a:lnTo>
                  <a:lnTo>
                    <a:pt x="17807" y="4419"/>
                  </a:lnTo>
                  <a:lnTo>
                    <a:pt x="17727" y="4570"/>
                  </a:lnTo>
                  <a:lnTo>
                    <a:pt x="17608" y="4723"/>
                  </a:lnTo>
                  <a:lnTo>
                    <a:pt x="17570" y="4807"/>
                  </a:lnTo>
                  <a:lnTo>
                    <a:pt x="17479" y="4941"/>
                  </a:lnTo>
                  <a:lnTo>
                    <a:pt x="17394" y="5028"/>
                  </a:lnTo>
                  <a:lnTo>
                    <a:pt x="17345" y="5072"/>
                  </a:lnTo>
                  <a:lnTo>
                    <a:pt x="17172" y="5175"/>
                  </a:lnTo>
                  <a:lnTo>
                    <a:pt x="17093" y="5197"/>
                  </a:lnTo>
                  <a:lnTo>
                    <a:pt x="16951" y="5269"/>
                  </a:lnTo>
                  <a:lnTo>
                    <a:pt x="16873" y="5378"/>
                  </a:lnTo>
                  <a:lnTo>
                    <a:pt x="16811" y="5487"/>
                  </a:lnTo>
                  <a:lnTo>
                    <a:pt x="16771" y="5592"/>
                  </a:lnTo>
                  <a:lnTo>
                    <a:pt x="16743" y="5750"/>
                  </a:lnTo>
                  <a:lnTo>
                    <a:pt x="16726" y="5871"/>
                  </a:lnTo>
                  <a:lnTo>
                    <a:pt x="16709" y="5944"/>
                  </a:lnTo>
                  <a:lnTo>
                    <a:pt x="16652" y="6076"/>
                  </a:lnTo>
                  <a:lnTo>
                    <a:pt x="16601" y="6191"/>
                  </a:lnTo>
                  <a:lnTo>
                    <a:pt x="16482" y="6279"/>
                  </a:lnTo>
                  <a:lnTo>
                    <a:pt x="16345" y="6351"/>
                  </a:lnTo>
                  <a:lnTo>
                    <a:pt x="16220" y="6410"/>
                  </a:lnTo>
                  <a:lnTo>
                    <a:pt x="16108" y="6417"/>
                  </a:lnTo>
                  <a:lnTo>
                    <a:pt x="16026" y="6249"/>
                  </a:lnTo>
                  <a:lnTo>
                    <a:pt x="15965" y="6129"/>
                  </a:lnTo>
                  <a:lnTo>
                    <a:pt x="15948" y="6014"/>
                  </a:lnTo>
                  <a:lnTo>
                    <a:pt x="15982" y="5833"/>
                  </a:lnTo>
                  <a:lnTo>
                    <a:pt x="16056" y="5667"/>
                  </a:lnTo>
                  <a:lnTo>
                    <a:pt x="16079" y="5551"/>
                  </a:lnTo>
                  <a:lnTo>
                    <a:pt x="16130" y="5398"/>
                  </a:lnTo>
                  <a:lnTo>
                    <a:pt x="16168" y="5299"/>
                  </a:lnTo>
                  <a:lnTo>
                    <a:pt x="16158" y="5212"/>
                  </a:lnTo>
                  <a:lnTo>
                    <a:pt x="16120" y="5149"/>
                  </a:lnTo>
                  <a:lnTo>
                    <a:pt x="16044" y="5134"/>
                  </a:lnTo>
                  <a:lnTo>
                    <a:pt x="15842" y="5066"/>
                  </a:lnTo>
                  <a:lnTo>
                    <a:pt x="15649" y="5016"/>
                  </a:lnTo>
                  <a:lnTo>
                    <a:pt x="15519" y="4899"/>
                  </a:lnTo>
                  <a:lnTo>
                    <a:pt x="15428" y="4807"/>
                  </a:lnTo>
                  <a:lnTo>
                    <a:pt x="15295" y="4703"/>
                  </a:lnTo>
                  <a:lnTo>
                    <a:pt x="15101" y="4615"/>
                  </a:lnTo>
                  <a:lnTo>
                    <a:pt x="15030" y="4608"/>
                  </a:lnTo>
                  <a:lnTo>
                    <a:pt x="14853" y="4596"/>
                  </a:lnTo>
                  <a:lnTo>
                    <a:pt x="14711" y="4533"/>
                  </a:lnTo>
                  <a:lnTo>
                    <a:pt x="14656" y="4441"/>
                  </a:lnTo>
                  <a:lnTo>
                    <a:pt x="14613" y="4335"/>
                  </a:lnTo>
                  <a:lnTo>
                    <a:pt x="14581" y="4174"/>
                  </a:lnTo>
                  <a:lnTo>
                    <a:pt x="14534" y="4070"/>
                  </a:lnTo>
                  <a:lnTo>
                    <a:pt x="14451" y="4048"/>
                  </a:lnTo>
                  <a:lnTo>
                    <a:pt x="14384" y="3982"/>
                  </a:lnTo>
                  <a:lnTo>
                    <a:pt x="14380" y="3875"/>
                  </a:lnTo>
                  <a:lnTo>
                    <a:pt x="14437" y="3743"/>
                  </a:lnTo>
                  <a:lnTo>
                    <a:pt x="14496" y="3639"/>
                  </a:lnTo>
                  <a:lnTo>
                    <a:pt x="14589" y="3529"/>
                  </a:lnTo>
                  <a:lnTo>
                    <a:pt x="14644" y="3420"/>
                  </a:lnTo>
                  <a:lnTo>
                    <a:pt x="14712" y="3355"/>
                  </a:lnTo>
                  <a:lnTo>
                    <a:pt x="14846" y="3290"/>
                  </a:lnTo>
                  <a:lnTo>
                    <a:pt x="14960" y="3224"/>
                  </a:lnTo>
                  <a:lnTo>
                    <a:pt x="15117" y="3068"/>
                  </a:lnTo>
                  <a:lnTo>
                    <a:pt x="15265" y="2971"/>
                  </a:lnTo>
                  <a:lnTo>
                    <a:pt x="15367" y="2891"/>
                  </a:lnTo>
                  <a:lnTo>
                    <a:pt x="15479" y="2833"/>
                  </a:lnTo>
                  <a:lnTo>
                    <a:pt x="15627" y="2760"/>
                  </a:lnTo>
                  <a:lnTo>
                    <a:pt x="15801" y="2672"/>
                  </a:lnTo>
                  <a:lnTo>
                    <a:pt x="15902" y="2616"/>
                  </a:lnTo>
                  <a:lnTo>
                    <a:pt x="15953" y="2544"/>
                  </a:lnTo>
                  <a:lnTo>
                    <a:pt x="15902" y="2480"/>
                  </a:lnTo>
                  <a:lnTo>
                    <a:pt x="15942" y="2320"/>
                  </a:lnTo>
                  <a:lnTo>
                    <a:pt x="16029" y="2276"/>
                  </a:lnTo>
                  <a:lnTo>
                    <a:pt x="16111" y="2336"/>
                  </a:lnTo>
                  <a:lnTo>
                    <a:pt x="16338" y="2329"/>
                  </a:lnTo>
                  <a:lnTo>
                    <a:pt x="16515" y="2242"/>
                  </a:lnTo>
                  <a:lnTo>
                    <a:pt x="16662" y="2213"/>
                  </a:lnTo>
                  <a:lnTo>
                    <a:pt x="16803" y="2154"/>
                  </a:lnTo>
                  <a:lnTo>
                    <a:pt x="16958" y="2088"/>
                  </a:lnTo>
                  <a:lnTo>
                    <a:pt x="16928" y="1994"/>
                  </a:lnTo>
                  <a:lnTo>
                    <a:pt x="16828" y="1852"/>
                  </a:lnTo>
                  <a:lnTo>
                    <a:pt x="16746" y="1775"/>
                  </a:lnTo>
                  <a:lnTo>
                    <a:pt x="16786" y="1685"/>
                  </a:lnTo>
                  <a:lnTo>
                    <a:pt x="16894" y="1649"/>
                  </a:lnTo>
                  <a:lnTo>
                    <a:pt x="17022" y="1728"/>
                  </a:lnTo>
                  <a:cubicBezTo>
                    <a:pt x="17065" y="1745"/>
                    <a:pt x="17109" y="1754"/>
                    <a:pt x="17154" y="1754"/>
                  </a:cubicBezTo>
                  <a:cubicBezTo>
                    <a:pt x="17193" y="1754"/>
                    <a:pt x="17232" y="1748"/>
                    <a:pt x="17270" y="1735"/>
                  </a:cubicBezTo>
                  <a:lnTo>
                    <a:pt x="17369" y="1675"/>
                  </a:lnTo>
                  <a:lnTo>
                    <a:pt x="17463" y="1580"/>
                  </a:lnTo>
                  <a:lnTo>
                    <a:pt x="17617" y="1551"/>
                  </a:lnTo>
                  <a:lnTo>
                    <a:pt x="17797" y="1546"/>
                  </a:lnTo>
                  <a:lnTo>
                    <a:pt x="17945" y="1517"/>
                  </a:lnTo>
                  <a:cubicBezTo>
                    <a:pt x="18025" y="1530"/>
                    <a:pt x="18106" y="1530"/>
                    <a:pt x="18186" y="1517"/>
                  </a:cubicBezTo>
                  <a:cubicBezTo>
                    <a:pt x="18230" y="1510"/>
                    <a:pt x="18274" y="1499"/>
                    <a:pt x="18316" y="1480"/>
                  </a:cubicBezTo>
                  <a:cubicBezTo>
                    <a:pt x="18379" y="1453"/>
                    <a:pt x="18437" y="1411"/>
                    <a:pt x="18487" y="1357"/>
                  </a:cubicBezTo>
                  <a:lnTo>
                    <a:pt x="18576" y="1269"/>
                  </a:lnTo>
                  <a:lnTo>
                    <a:pt x="18679" y="1133"/>
                  </a:lnTo>
                  <a:lnTo>
                    <a:pt x="18740" y="1033"/>
                  </a:lnTo>
                  <a:lnTo>
                    <a:pt x="18827" y="887"/>
                  </a:lnTo>
                  <a:lnTo>
                    <a:pt x="18865" y="773"/>
                  </a:lnTo>
                  <a:lnTo>
                    <a:pt x="18842" y="683"/>
                  </a:lnTo>
                  <a:lnTo>
                    <a:pt x="18706" y="662"/>
                  </a:lnTo>
                  <a:lnTo>
                    <a:pt x="18611" y="642"/>
                  </a:lnTo>
                  <a:lnTo>
                    <a:pt x="18371" y="642"/>
                  </a:lnTo>
                  <a:lnTo>
                    <a:pt x="18303" y="678"/>
                  </a:lnTo>
                  <a:lnTo>
                    <a:pt x="18196" y="812"/>
                  </a:lnTo>
                  <a:lnTo>
                    <a:pt x="18035" y="1029"/>
                  </a:lnTo>
                  <a:lnTo>
                    <a:pt x="17939" y="1072"/>
                  </a:lnTo>
                  <a:lnTo>
                    <a:pt x="17774" y="1203"/>
                  </a:lnTo>
                  <a:lnTo>
                    <a:pt x="17708" y="1283"/>
                  </a:lnTo>
                  <a:lnTo>
                    <a:pt x="17630" y="1324"/>
                  </a:lnTo>
                  <a:lnTo>
                    <a:pt x="17575" y="1297"/>
                  </a:lnTo>
                  <a:lnTo>
                    <a:pt x="17456" y="1210"/>
                  </a:lnTo>
                  <a:lnTo>
                    <a:pt x="17478" y="1123"/>
                  </a:lnTo>
                  <a:lnTo>
                    <a:pt x="17579" y="987"/>
                  </a:lnTo>
                  <a:lnTo>
                    <a:pt x="17620" y="848"/>
                  </a:lnTo>
                  <a:lnTo>
                    <a:pt x="17580" y="746"/>
                  </a:lnTo>
                  <a:lnTo>
                    <a:pt x="17480" y="713"/>
                  </a:lnTo>
                  <a:lnTo>
                    <a:pt x="17389" y="669"/>
                  </a:lnTo>
                  <a:lnTo>
                    <a:pt x="17377" y="770"/>
                  </a:lnTo>
                  <a:lnTo>
                    <a:pt x="17275" y="843"/>
                  </a:lnTo>
                  <a:lnTo>
                    <a:pt x="17223" y="719"/>
                  </a:lnTo>
                  <a:lnTo>
                    <a:pt x="17188" y="550"/>
                  </a:lnTo>
                  <a:lnTo>
                    <a:pt x="17158" y="474"/>
                  </a:lnTo>
                  <a:lnTo>
                    <a:pt x="17158" y="393"/>
                  </a:lnTo>
                  <a:lnTo>
                    <a:pt x="17262" y="250"/>
                  </a:lnTo>
                  <a:lnTo>
                    <a:pt x="17279" y="137"/>
                  </a:lnTo>
                  <a:lnTo>
                    <a:pt x="17211" y="42"/>
                  </a:lnTo>
                  <a:lnTo>
                    <a:pt x="17121" y="0"/>
                  </a:lnTo>
                  <a:lnTo>
                    <a:pt x="16997" y="69"/>
                  </a:lnTo>
                  <a:lnTo>
                    <a:pt x="16878" y="193"/>
                  </a:lnTo>
                  <a:lnTo>
                    <a:pt x="16739" y="264"/>
                  </a:lnTo>
                  <a:lnTo>
                    <a:pt x="16601" y="308"/>
                  </a:lnTo>
                  <a:lnTo>
                    <a:pt x="16495" y="385"/>
                  </a:lnTo>
                  <a:lnTo>
                    <a:pt x="16478" y="478"/>
                  </a:lnTo>
                  <a:lnTo>
                    <a:pt x="16580" y="499"/>
                  </a:lnTo>
                  <a:lnTo>
                    <a:pt x="16696" y="652"/>
                  </a:lnTo>
                  <a:lnTo>
                    <a:pt x="16774" y="698"/>
                  </a:lnTo>
                  <a:lnTo>
                    <a:pt x="16711" y="834"/>
                  </a:lnTo>
                  <a:lnTo>
                    <a:pt x="16611" y="914"/>
                  </a:lnTo>
                  <a:lnTo>
                    <a:pt x="16484" y="970"/>
                  </a:lnTo>
                  <a:lnTo>
                    <a:pt x="16336" y="992"/>
                  </a:lnTo>
                  <a:lnTo>
                    <a:pt x="16211" y="1072"/>
                  </a:lnTo>
                  <a:lnTo>
                    <a:pt x="16065" y="1208"/>
                  </a:lnTo>
                  <a:lnTo>
                    <a:pt x="15938" y="1300"/>
                  </a:lnTo>
                  <a:lnTo>
                    <a:pt x="15900" y="1403"/>
                  </a:lnTo>
                  <a:lnTo>
                    <a:pt x="15840" y="1405"/>
                  </a:lnTo>
                  <a:lnTo>
                    <a:pt x="15806" y="1296"/>
                  </a:lnTo>
                  <a:lnTo>
                    <a:pt x="15726" y="1252"/>
                  </a:lnTo>
                  <a:lnTo>
                    <a:pt x="15631" y="1267"/>
                  </a:lnTo>
                  <a:lnTo>
                    <a:pt x="15605" y="1192"/>
                  </a:lnTo>
                  <a:cubicBezTo>
                    <a:pt x="15584" y="1165"/>
                    <a:pt x="15559" y="1144"/>
                    <a:pt x="15531" y="1131"/>
                  </a:cubicBezTo>
                  <a:cubicBezTo>
                    <a:pt x="15512" y="1122"/>
                    <a:pt x="15491" y="1117"/>
                    <a:pt x="15471" y="1117"/>
                  </a:cubicBezTo>
                  <a:lnTo>
                    <a:pt x="15344" y="1117"/>
                  </a:lnTo>
                  <a:lnTo>
                    <a:pt x="15199" y="1177"/>
                  </a:lnTo>
                  <a:lnTo>
                    <a:pt x="15108" y="1170"/>
                  </a:lnTo>
                  <a:lnTo>
                    <a:pt x="14956" y="1162"/>
                  </a:lnTo>
                  <a:lnTo>
                    <a:pt x="14865" y="1119"/>
                  </a:lnTo>
                  <a:cubicBezTo>
                    <a:pt x="14833" y="1105"/>
                    <a:pt x="14801" y="1091"/>
                    <a:pt x="14769" y="1075"/>
                  </a:cubicBezTo>
                  <a:cubicBezTo>
                    <a:pt x="14722" y="1053"/>
                    <a:pt x="14676" y="1028"/>
                    <a:pt x="14628" y="1010"/>
                  </a:cubicBezTo>
                  <a:cubicBezTo>
                    <a:pt x="14586" y="993"/>
                    <a:pt x="14542" y="981"/>
                    <a:pt x="14498" y="973"/>
                  </a:cubicBezTo>
                  <a:lnTo>
                    <a:pt x="14362" y="995"/>
                  </a:lnTo>
                  <a:lnTo>
                    <a:pt x="14227" y="1051"/>
                  </a:lnTo>
                  <a:lnTo>
                    <a:pt x="14126" y="1073"/>
                  </a:lnTo>
                  <a:lnTo>
                    <a:pt x="14007" y="1095"/>
                  </a:lnTo>
                  <a:lnTo>
                    <a:pt x="13915" y="1160"/>
                  </a:lnTo>
                  <a:lnTo>
                    <a:pt x="13864" y="1223"/>
                  </a:lnTo>
                  <a:lnTo>
                    <a:pt x="13791" y="1318"/>
                  </a:lnTo>
                  <a:cubicBezTo>
                    <a:pt x="13779" y="1341"/>
                    <a:pt x="13766" y="1364"/>
                    <a:pt x="13753" y="1386"/>
                  </a:cubicBezTo>
                  <a:cubicBezTo>
                    <a:pt x="13728" y="1427"/>
                    <a:pt x="13701" y="1467"/>
                    <a:pt x="13670" y="1500"/>
                  </a:cubicBezTo>
                  <a:cubicBezTo>
                    <a:pt x="13638" y="1533"/>
                    <a:pt x="13603" y="1560"/>
                    <a:pt x="13565" y="1580"/>
                  </a:cubicBezTo>
                  <a:lnTo>
                    <a:pt x="13469" y="1480"/>
                  </a:lnTo>
                  <a:lnTo>
                    <a:pt x="13459" y="1310"/>
                  </a:lnTo>
                  <a:lnTo>
                    <a:pt x="13425" y="1176"/>
                  </a:lnTo>
                  <a:lnTo>
                    <a:pt x="13378" y="1120"/>
                  </a:lnTo>
                  <a:lnTo>
                    <a:pt x="13268" y="1101"/>
                  </a:lnTo>
                  <a:lnTo>
                    <a:pt x="13148" y="1115"/>
                  </a:lnTo>
                  <a:lnTo>
                    <a:pt x="13089" y="1183"/>
                  </a:lnTo>
                  <a:lnTo>
                    <a:pt x="13018" y="1183"/>
                  </a:lnTo>
                  <a:lnTo>
                    <a:pt x="12818" y="1192"/>
                  </a:lnTo>
                  <a:lnTo>
                    <a:pt x="12642" y="1192"/>
                  </a:lnTo>
                  <a:lnTo>
                    <a:pt x="12500" y="1104"/>
                  </a:lnTo>
                  <a:lnTo>
                    <a:pt x="12494" y="1027"/>
                  </a:lnTo>
                  <a:lnTo>
                    <a:pt x="12560" y="956"/>
                  </a:lnTo>
                  <a:lnTo>
                    <a:pt x="12650" y="915"/>
                  </a:lnTo>
                  <a:lnTo>
                    <a:pt x="12674" y="840"/>
                  </a:lnTo>
                  <a:lnTo>
                    <a:pt x="12555" y="840"/>
                  </a:lnTo>
                  <a:lnTo>
                    <a:pt x="12364" y="876"/>
                  </a:lnTo>
                  <a:lnTo>
                    <a:pt x="12266" y="825"/>
                  </a:lnTo>
                  <a:lnTo>
                    <a:pt x="12129" y="723"/>
                  </a:lnTo>
                  <a:lnTo>
                    <a:pt x="11999" y="650"/>
                  </a:lnTo>
                  <a:lnTo>
                    <a:pt x="11913" y="614"/>
                  </a:lnTo>
                  <a:lnTo>
                    <a:pt x="11760" y="572"/>
                  </a:lnTo>
                  <a:lnTo>
                    <a:pt x="11642" y="550"/>
                  </a:lnTo>
                  <a:lnTo>
                    <a:pt x="11514" y="550"/>
                  </a:lnTo>
                  <a:lnTo>
                    <a:pt x="11415" y="558"/>
                  </a:lnTo>
                  <a:lnTo>
                    <a:pt x="11319" y="601"/>
                  </a:lnTo>
                  <a:lnTo>
                    <a:pt x="11143" y="637"/>
                  </a:lnTo>
                  <a:lnTo>
                    <a:pt x="11018" y="616"/>
                  </a:lnTo>
                  <a:lnTo>
                    <a:pt x="10847" y="514"/>
                  </a:lnTo>
                  <a:lnTo>
                    <a:pt x="10762" y="449"/>
                  </a:lnTo>
                  <a:lnTo>
                    <a:pt x="10681" y="458"/>
                  </a:lnTo>
                  <a:lnTo>
                    <a:pt x="10573" y="509"/>
                  </a:lnTo>
                  <a:lnTo>
                    <a:pt x="10499" y="546"/>
                  </a:lnTo>
                  <a:lnTo>
                    <a:pt x="10376" y="524"/>
                  </a:lnTo>
                  <a:lnTo>
                    <a:pt x="10291" y="502"/>
                  </a:lnTo>
                  <a:lnTo>
                    <a:pt x="10121" y="517"/>
                  </a:lnTo>
                  <a:lnTo>
                    <a:pt x="9918" y="575"/>
                  </a:lnTo>
                  <a:lnTo>
                    <a:pt x="9714" y="655"/>
                  </a:lnTo>
                  <a:lnTo>
                    <a:pt x="9448" y="747"/>
                  </a:lnTo>
                  <a:lnTo>
                    <a:pt x="9329" y="769"/>
                  </a:lnTo>
                  <a:lnTo>
                    <a:pt x="8951" y="819"/>
                  </a:lnTo>
                  <a:lnTo>
                    <a:pt x="8616" y="776"/>
                  </a:lnTo>
                  <a:lnTo>
                    <a:pt x="8127" y="613"/>
                  </a:lnTo>
                  <a:lnTo>
                    <a:pt x="7941" y="509"/>
                  </a:lnTo>
                  <a:lnTo>
                    <a:pt x="7648" y="483"/>
                  </a:lnTo>
                  <a:lnTo>
                    <a:pt x="7075" y="407"/>
                  </a:lnTo>
                  <a:lnTo>
                    <a:pt x="6936" y="356"/>
                  </a:lnTo>
                  <a:lnTo>
                    <a:pt x="6817" y="290"/>
                  </a:lnTo>
                  <a:lnTo>
                    <a:pt x="6682" y="254"/>
                  </a:lnTo>
                  <a:lnTo>
                    <a:pt x="6466" y="217"/>
                  </a:lnTo>
                  <a:lnTo>
                    <a:pt x="6284" y="195"/>
                  </a:lnTo>
                  <a:lnTo>
                    <a:pt x="6126" y="188"/>
                  </a:lnTo>
                  <a:lnTo>
                    <a:pt x="5969" y="188"/>
                  </a:lnTo>
                  <a:lnTo>
                    <a:pt x="5690" y="225"/>
                  </a:lnTo>
                  <a:lnTo>
                    <a:pt x="5320" y="268"/>
                  </a:lnTo>
                  <a:lnTo>
                    <a:pt x="5074" y="361"/>
                  </a:lnTo>
                  <a:lnTo>
                    <a:pt x="4688" y="433"/>
                  </a:lnTo>
                  <a:lnTo>
                    <a:pt x="4586" y="477"/>
                  </a:lnTo>
                  <a:lnTo>
                    <a:pt x="4348" y="572"/>
                  </a:lnTo>
                  <a:lnTo>
                    <a:pt x="4054" y="701"/>
                  </a:lnTo>
                  <a:lnTo>
                    <a:pt x="3823" y="793"/>
                  </a:lnTo>
                  <a:lnTo>
                    <a:pt x="3588" y="866"/>
                  </a:lnTo>
                  <a:lnTo>
                    <a:pt x="3471" y="862"/>
                  </a:lnTo>
                  <a:close/>
                </a:path>
              </a:pathLst>
            </a:custGeom>
            <a:grpFill/>
            <a:ln w="25400" cap="flat">
              <a:noFill/>
              <a:prstDash val="solid"/>
              <a:miter lim="400000"/>
            </a:ln>
            <a:effectLst/>
          </p:spPr>
          <p:txBody>
            <a:bodyPr anchor="ctr"/>
            <a:lstStyle/>
            <a:p>
              <a:pPr algn="ctr"/>
              <a:endParaRPr/>
            </a:p>
          </p:txBody>
        </p:sp>
        <p:sp>
          <p:nvSpPr>
            <p:cNvPr id="13" name="iSḻïḋè">
              <a:extLst>
                <a:ext uri="{FF2B5EF4-FFF2-40B4-BE49-F238E27FC236}">
                  <a16:creationId xmlns="" xmlns:p14="http://schemas.microsoft.com/office/powerpoint/2010/main" xmlns:a16="http://schemas.microsoft.com/office/drawing/2014/main" id="{45A86B82-39D0-482D-BA79-C6693ECB201F}"/>
                </a:ext>
              </a:extLst>
            </p:cNvPr>
            <p:cNvSpPr/>
            <p:nvPr/>
          </p:nvSpPr>
          <p:spPr>
            <a:xfrm>
              <a:off x="2659645" y="1473576"/>
              <a:ext cx="486286" cy="175323"/>
            </a:xfrm>
            <a:custGeom>
              <a:avLst/>
              <a:gdLst/>
              <a:ahLst/>
              <a:cxnLst>
                <a:cxn ang="0">
                  <a:pos x="wd2" y="hd2"/>
                </a:cxn>
                <a:cxn ang="5400000">
                  <a:pos x="wd2" y="hd2"/>
                </a:cxn>
                <a:cxn ang="10800000">
                  <a:pos x="wd2" y="hd2"/>
                </a:cxn>
                <a:cxn ang="16200000">
                  <a:pos x="wd2" y="hd2"/>
                </a:cxn>
              </a:cxnLst>
              <a:rect l="0" t="0" r="r" b="b"/>
              <a:pathLst>
                <a:path w="21600" h="21600" extrusionOk="0">
                  <a:moveTo>
                    <a:pt x="5634" y="1167"/>
                  </a:moveTo>
                  <a:lnTo>
                    <a:pt x="4811" y="2252"/>
                  </a:lnTo>
                  <a:lnTo>
                    <a:pt x="2967" y="4498"/>
                  </a:lnTo>
                  <a:lnTo>
                    <a:pt x="1963" y="5618"/>
                  </a:lnTo>
                  <a:lnTo>
                    <a:pt x="576" y="7014"/>
                  </a:lnTo>
                  <a:lnTo>
                    <a:pt x="80" y="8227"/>
                  </a:lnTo>
                  <a:lnTo>
                    <a:pt x="0" y="9312"/>
                  </a:lnTo>
                  <a:lnTo>
                    <a:pt x="451" y="10588"/>
                  </a:lnTo>
                  <a:lnTo>
                    <a:pt x="1016" y="11735"/>
                  </a:lnTo>
                  <a:cubicBezTo>
                    <a:pt x="1189" y="11851"/>
                    <a:pt x="1367" y="11914"/>
                    <a:pt x="1545" y="11921"/>
                  </a:cubicBezTo>
                  <a:cubicBezTo>
                    <a:pt x="2101" y="11944"/>
                    <a:pt x="2642" y="11441"/>
                    <a:pt x="3079" y="10495"/>
                  </a:cubicBezTo>
                  <a:lnTo>
                    <a:pt x="3970" y="9406"/>
                  </a:lnTo>
                  <a:lnTo>
                    <a:pt x="5427" y="8286"/>
                  </a:lnTo>
                  <a:lnTo>
                    <a:pt x="6330" y="8286"/>
                  </a:lnTo>
                  <a:lnTo>
                    <a:pt x="7392" y="10183"/>
                  </a:lnTo>
                  <a:lnTo>
                    <a:pt x="7965" y="10836"/>
                  </a:lnTo>
                  <a:lnTo>
                    <a:pt x="7774" y="11797"/>
                  </a:lnTo>
                  <a:lnTo>
                    <a:pt x="7111" y="12073"/>
                  </a:lnTo>
                  <a:cubicBezTo>
                    <a:pt x="6813" y="12042"/>
                    <a:pt x="6516" y="12011"/>
                    <a:pt x="6219" y="11980"/>
                  </a:cubicBezTo>
                  <a:cubicBezTo>
                    <a:pt x="5914" y="11948"/>
                    <a:pt x="5609" y="11917"/>
                    <a:pt x="5304" y="11886"/>
                  </a:cubicBezTo>
                  <a:lnTo>
                    <a:pt x="5201" y="13473"/>
                  </a:lnTo>
                  <a:lnTo>
                    <a:pt x="6409" y="14126"/>
                  </a:lnTo>
                  <a:cubicBezTo>
                    <a:pt x="6963" y="14051"/>
                    <a:pt x="7516" y="13958"/>
                    <a:pt x="8069" y="13846"/>
                  </a:cubicBezTo>
                  <a:cubicBezTo>
                    <a:pt x="8714" y="13716"/>
                    <a:pt x="9358" y="13560"/>
                    <a:pt x="10001" y="13380"/>
                  </a:cubicBezTo>
                  <a:lnTo>
                    <a:pt x="10642" y="15239"/>
                  </a:lnTo>
                  <a:lnTo>
                    <a:pt x="9896" y="15981"/>
                  </a:lnTo>
                  <a:cubicBezTo>
                    <a:pt x="9546" y="16191"/>
                    <a:pt x="9192" y="16347"/>
                    <a:pt x="8836" y="16448"/>
                  </a:cubicBezTo>
                  <a:cubicBezTo>
                    <a:pt x="7951" y="16697"/>
                    <a:pt x="7059" y="16604"/>
                    <a:pt x="6183" y="16172"/>
                  </a:cubicBezTo>
                  <a:lnTo>
                    <a:pt x="4831" y="16172"/>
                  </a:lnTo>
                  <a:lnTo>
                    <a:pt x="4764" y="17467"/>
                  </a:lnTo>
                  <a:lnTo>
                    <a:pt x="5860" y="18555"/>
                  </a:lnTo>
                  <a:lnTo>
                    <a:pt x="7450" y="19951"/>
                  </a:lnTo>
                  <a:lnTo>
                    <a:pt x="9207" y="21320"/>
                  </a:lnTo>
                  <a:lnTo>
                    <a:pt x="10369" y="21600"/>
                  </a:lnTo>
                  <a:lnTo>
                    <a:pt x="11950" y="21507"/>
                  </a:lnTo>
                  <a:lnTo>
                    <a:pt x="13656" y="20231"/>
                  </a:lnTo>
                  <a:cubicBezTo>
                    <a:pt x="13887" y="19682"/>
                    <a:pt x="14168" y="19316"/>
                    <a:pt x="14469" y="19174"/>
                  </a:cubicBezTo>
                  <a:cubicBezTo>
                    <a:pt x="14818" y="19009"/>
                    <a:pt x="15172" y="19150"/>
                    <a:pt x="15519" y="19329"/>
                  </a:cubicBezTo>
                  <a:cubicBezTo>
                    <a:pt x="15975" y="19564"/>
                    <a:pt x="16427" y="19863"/>
                    <a:pt x="16872" y="20224"/>
                  </a:cubicBezTo>
                  <a:lnTo>
                    <a:pt x="18689" y="19850"/>
                  </a:lnTo>
                  <a:lnTo>
                    <a:pt x="20146" y="18544"/>
                  </a:lnTo>
                  <a:lnTo>
                    <a:pt x="21195" y="17237"/>
                  </a:lnTo>
                  <a:lnTo>
                    <a:pt x="21600" y="15873"/>
                  </a:lnTo>
                  <a:lnTo>
                    <a:pt x="21374" y="15130"/>
                  </a:lnTo>
                  <a:cubicBezTo>
                    <a:pt x="21049" y="15131"/>
                    <a:pt x="20734" y="14814"/>
                    <a:pt x="20486" y="14235"/>
                  </a:cubicBezTo>
                  <a:cubicBezTo>
                    <a:pt x="20325" y="13859"/>
                    <a:pt x="20198" y="13383"/>
                    <a:pt x="20115" y="12847"/>
                  </a:cubicBezTo>
                  <a:cubicBezTo>
                    <a:pt x="20094" y="12509"/>
                    <a:pt x="20094" y="12163"/>
                    <a:pt x="20115" y="11824"/>
                  </a:cubicBezTo>
                  <a:cubicBezTo>
                    <a:pt x="20168" y="10953"/>
                    <a:pt x="20353" y="10185"/>
                    <a:pt x="20623" y="9709"/>
                  </a:cubicBezTo>
                  <a:lnTo>
                    <a:pt x="21199" y="6443"/>
                  </a:lnTo>
                  <a:lnTo>
                    <a:pt x="21301" y="5513"/>
                  </a:lnTo>
                  <a:cubicBezTo>
                    <a:pt x="21336" y="5080"/>
                    <a:pt x="21268" y="4633"/>
                    <a:pt x="21131" y="4397"/>
                  </a:cubicBezTo>
                  <a:cubicBezTo>
                    <a:pt x="20903" y="4004"/>
                    <a:pt x="20627" y="4349"/>
                    <a:pt x="20376" y="4646"/>
                  </a:cubicBezTo>
                  <a:cubicBezTo>
                    <a:pt x="20058" y="5024"/>
                    <a:pt x="19716" y="5284"/>
                    <a:pt x="19439" y="5860"/>
                  </a:cubicBezTo>
                  <a:cubicBezTo>
                    <a:pt x="19169" y="6418"/>
                    <a:pt x="18986" y="7219"/>
                    <a:pt x="18761" y="7909"/>
                  </a:cubicBezTo>
                  <a:cubicBezTo>
                    <a:pt x="18530" y="8617"/>
                    <a:pt x="18255" y="9207"/>
                    <a:pt x="17949" y="9651"/>
                  </a:cubicBezTo>
                  <a:lnTo>
                    <a:pt x="17192" y="8997"/>
                  </a:lnTo>
                  <a:cubicBezTo>
                    <a:pt x="17245" y="8451"/>
                    <a:pt x="17264" y="7885"/>
                    <a:pt x="17249" y="7321"/>
                  </a:cubicBezTo>
                  <a:cubicBezTo>
                    <a:pt x="17234" y="6788"/>
                    <a:pt x="17188" y="6264"/>
                    <a:pt x="17113" y="5770"/>
                  </a:cubicBezTo>
                  <a:lnTo>
                    <a:pt x="16235" y="5863"/>
                  </a:lnTo>
                  <a:lnTo>
                    <a:pt x="15637" y="7539"/>
                  </a:lnTo>
                  <a:lnTo>
                    <a:pt x="14936" y="7349"/>
                  </a:lnTo>
                  <a:lnTo>
                    <a:pt x="14394" y="6820"/>
                  </a:lnTo>
                  <a:lnTo>
                    <a:pt x="13160" y="5925"/>
                  </a:lnTo>
                  <a:lnTo>
                    <a:pt x="12891" y="4996"/>
                  </a:lnTo>
                  <a:lnTo>
                    <a:pt x="12371" y="3658"/>
                  </a:lnTo>
                  <a:lnTo>
                    <a:pt x="11460" y="2356"/>
                  </a:lnTo>
                  <a:lnTo>
                    <a:pt x="10150" y="1298"/>
                  </a:lnTo>
                  <a:lnTo>
                    <a:pt x="9103" y="649"/>
                  </a:lnTo>
                  <a:lnTo>
                    <a:pt x="8371" y="2"/>
                  </a:lnTo>
                  <a:lnTo>
                    <a:pt x="7461" y="0"/>
                  </a:lnTo>
                  <a:lnTo>
                    <a:pt x="6933" y="376"/>
                  </a:lnTo>
                  <a:lnTo>
                    <a:pt x="5634" y="1167"/>
                  </a:lnTo>
                  <a:close/>
                </a:path>
              </a:pathLst>
            </a:custGeom>
            <a:grpFill/>
            <a:ln w="25400" cap="flat">
              <a:noFill/>
              <a:prstDash val="solid"/>
              <a:miter lim="400000"/>
            </a:ln>
            <a:effectLst/>
          </p:spPr>
          <p:txBody>
            <a:bodyPr anchor="ctr"/>
            <a:lstStyle/>
            <a:p>
              <a:pPr algn="ctr"/>
              <a:endParaRPr/>
            </a:p>
          </p:txBody>
        </p:sp>
        <p:sp>
          <p:nvSpPr>
            <p:cNvPr id="14" name="ïśļiḑé">
              <a:extLst>
                <a:ext uri="{FF2B5EF4-FFF2-40B4-BE49-F238E27FC236}">
                  <a16:creationId xmlns="" xmlns:p14="http://schemas.microsoft.com/office/powerpoint/2010/main" xmlns:a16="http://schemas.microsoft.com/office/drawing/2014/main" id="{A3EAA3C0-8C00-4B7E-922E-9E80BF1FF84C}"/>
                </a:ext>
              </a:extLst>
            </p:cNvPr>
            <p:cNvSpPr/>
            <p:nvPr/>
          </p:nvSpPr>
          <p:spPr>
            <a:xfrm>
              <a:off x="3184375" y="1615331"/>
              <a:ext cx="84303" cy="41888"/>
            </a:xfrm>
            <a:custGeom>
              <a:avLst/>
              <a:gdLst/>
              <a:ahLst/>
              <a:cxnLst>
                <a:cxn ang="0">
                  <a:pos x="wd2" y="hd2"/>
                </a:cxn>
                <a:cxn ang="5400000">
                  <a:pos x="wd2" y="hd2"/>
                </a:cxn>
                <a:cxn ang="10800000">
                  <a:pos x="wd2" y="hd2"/>
                </a:cxn>
                <a:cxn ang="16200000">
                  <a:pos x="wd2" y="hd2"/>
                </a:cxn>
              </a:cxnLst>
              <a:rect l="0" t="0" r="r" b="b"/>
              <a:pathLst>
                <a:path w="21600" h="21600" extrusionOk="0">
                  <a:moveTo>
                    <a:pt x="10670" y="2473"/>
                  </a:moveTo>
                  <a:lnTo>
                    <a:pt x="5361" y="4164"/>
                  </a:lnTo>
                  <a:lnTo>
                    <a:pt x="2017" y="7047"/>
                  </a:lnTo>
                  <a:lnTo>
                    <a:pt x="0" y="10954"/>
                  </a:lnTo>
                  <a:lnTo>
                    <a:pt x="2552" y="17693"/>
                  </a:lnTo>
                  <a:lnTo>
                    <a:pt x="5850" y="21600"/>
                  </a:lnTo>
                  <a:cubicBezTo>
                    <a:pt x="7389" y="21202"/>
                    <a:pt x="8897" y="20415"/>
                    <a:pt x="10337" y="19256"/>
                  </a:cubicBezTo>
                  <a:cubicBezTo>
                    <a:pt x="12339" y="17645"/>
                    <a:pt x="14178" y="15341"/>
                    <a:pt x="16135" y="13527"/>
                  </a:cubicBezTo>
                  <a:cubicBezTo>
                    <a:pt x="17883" y="11907"/>
                    <a:pt x="19716" y="10684"/>
                    <a:pt x="21600" y="9880"/>
                  </a:cubicBezTo>
                  <a:lnTo>
                    <a:pt x="21014" y="4151"/>
                  </a:lnTo>
                  <a:lnTo>
                    <a:pt x="17112" y="2719"/>
                  </a:lnTo>
                  <a:lnTo>
                    <a:pt x="14661" y="0"/>
                  </a:lnTo>
                  <a:lnTo>
                    <a:pt x="10670" y="2473"/>
                  </a:lnTo>
                  <a:close/>
                </a:path>
              </a:pathLst>
            </a:custGeom>
            <a:grpFill/>
            <a:ln w="25400" cap="flat">
              <a:noFill/>
              <a:prstDash val="solid"/>
              <a:miter lim="400000"/>
            </a:ln>
            <a:effectLst/>
          </p:spPr>
          <p:txBody>
            <a:bodyPr anchor="ctr"/>
            <a:lstStyle/>
            <a:p>
              <a:pPr algn="ctr"/>
              <a:endParaRPr/>
            </a:p>
          </p:txBody>
        </p:sp>
        <p:sp>
          <p:nvSpPr>
            <p:cNvPr id="15" name="ïšļidé">
              <a:extLst>
                <a:ext uri="{FF2B5EF4-FFF2-40B4-BE49-F238E27FC236}">
                  <a16:creationId xmlns="" xmlns:p14="http://schemas.microsoft.com/office/powerpoint/2010/main" xmlns:a16="http://schemas.microsoft.com/office/drawing/2014/main" id="{DCE4679D-6981-4B0D-949F-C77D47727060}"/>
                </a:ext>
              </a:extLst>
            </p:cNvPr>
            <p:cNvSpPr/>
            <p:nvPr/>
          </p:nvSpPr>
          <p:spPr>
            <a:xfrm>
              <a:off x="3215588" y="1484505"/>
              <a:ext cx="150776" cy="76940"/>
            </a:xfrm>
            <a:custGeom>
              <a:avLst/>
              <a:gdLst/>
              <a:ahLst/>
              <a:cxnLst>
                <a:cxn ang="0">
                  <a:pos x="wd2" y="hd2"/>
                </a:cxn>
                <a:cxn ang="5400000">
                  <a:pos x="wd2" y="hd2"/>
                </a:cxn>
                <a:cxn ang="10800000">
                  <a:pos x="wd2" y="hd2"/>
                </a:cxn>
                <a:cxn ang="16200000">
                  <a:pos x="wd2" y="hd2"/>
                </a:cxn>
              </a:cxnLst>
              <a:rect l="0" t="0" r="r" b="b"/>
              <a:pathLst>
                <a:path w="21600" h="21600" extrusionOk="0">
                  <a:moveTo>
                    <a:pt x="9855" y="8070"/>
                  </a:moveTo>
                  <a:lnTo>
                    <a:pt x="7801" y="11552"/>
                  </a:lnTo>
                  <a:lnTo>
                    <a:pt x="5516" y="10656"/>
                  </a:lnTo>
                  <a:lnTo>
                    <a:pt x="2915" y="8883"/>
                  </a:lnTo>
                  <a:lnTo>
                    <a:pt x="484" y="9938"/>
                  </a:lnTo>
                  <a:lnTo>
                    <a:pt x="0" y="12339"/>
                  </a:lnTo>
                  <a:lnTo>
                    <a:pt x="2322" y="13819"/>
                  </a:lnTo>
                  <a:lnTo>
                    <a:pt x="4989" y="16372"/>
                  </a:lnTo>
                  <a:lnTo>
                    <a:pt x="6259" y="21600"/>
                  </a:lnTo>
                  <a:lnTo>
                    <a:pt x="8764" y="21166"/>
                  </a:lnTo>
                  <a:lnTo>
                    <a:pt x="11419" y="18835"/>
                  </a:lnTo>
                  <a:lnTo>
                    <a:pt x="13595" y="17559"/>
                  </a:lnTo>
                  <a:lnTo>
                    <a:pt x="16209" y="16717"/>
                  </a:lnTo>
                  <a:lnTo>
                    <a:pt x="18103" y="12039"/>
                  </a:lnTo>
                  <a:lnTo>
                    <a:pt x="18868" y="8289"/>
                  </a:lnTo>
                  <a:lnTo>
                    <a:pt x="21600" y="2573"/>
                  </a:lnTo>
                  <a:lnTo>
                    <a:pt x="21345" y="797"/>
                  </a:lnTo>
                  <a:lnTo>
                    <a:pt x="19965" y="0"/>
                  </a:lnTo>
                  <a:lnTo>
                    <a:pt x="18121" y="1761"/>
                  </a:lnTo>
                  <a:lnTo>
                    <a:pt x="15430" y="3083"/>
                  </a:lnTo>
                  <a:cubicBezTo>
                    <a:pt x="14909" y="2790"/>
                    <a:pt x="14357" y="2790"/>
                    <a:pt x="13836" y="3083"/>
                  </a:cubicBezTo>
                  <a:cubicBezTo>
                    <a:pt x="13246" y="3416"/>
                    <a:pt x="12725" y="4109"/>
                    <a:pt x="12352" y="5060"/>
                  </a:cubicBezTo>
                  <a:lnTo>
                    <a:pt x="9855" y="8070"/>
                  </a:lnTo>
                  <a:close/>
                </a:path>
              </a:pathLst>
            </a:custGeom>
            <a:grpFill/>
            <a:ln w="25400" cap="flat">
              <a:noFill/>
              <a:prstDash val="solid"/>
              <a:miter lim="400000"/>
            </a:ln>
            <a:effectLst/>
          </p:spPr>
          <p:txBody>
            <a:bodyPr anchor="ctr"/>
            <a:lstStyle/>
            <a:p>
              <a:pPr algn="ctr"/>
              <a:endParaRPr/>
            </a:p>
          </p:txBody>
        </p:sp>
        <p:sp>
          <p:nvSpPr>
            <p:cNvPr id="16" name="îśḻïḍé">
              <a:extLst>
                <a:ext uri="{FF2B5EF4-FFF2-40B4-BE49-F238E27FC236}">
                  <a16:creationId xmlns="" xmlns:p14="http://schemas.microsoft.com/office/powerpoint/2010/main" xmlns:a16="http://schemas.microsoft.com/office/drawing/2014/main" id="{5C134FC0-0F44-4046-A253-542B215BD910}"/>
                </a:ext>
              </a:extLst>
            </p:cNvPr>
            <p:cNvSpPr/>
            <p:nvPr/>
          </p:nvSpPr>
          <p:spPr>
            <a:xfrm>
              <a:off x="3377772" y="1484037"/>
              <a:ext cx="117289" cy="51262"/>
            </a:xfrm>
            <a:custGeom>
              <a:avLst/>
              <a:gdLst/>
              <a:ahLst/>
              <a:cxnLst>
                <a:cxn ang="0">
                  <a:pos x="wd2" y="hd2"/>
                </a:cxn>
                <a:cxn ang="5400000">
                  <a:pos x="wd2" y="hd2"/>
                </a:cxn>
                <a:cxn ang="10800000">
                  <a:pos x="wd2" y="hd2"/>
                </a:cxn>
                <a:cxn ang="16200000">
                  <a:pos x="wd2" y="hd2"/>
                </a:cxn>
              </a:cxnLst>
              <a:rect l="0" t="0" r="r" b="b"/>
              <a:pathLst>
                <a:path w="21600" h="21600" extrusionOk="0">
                  <a:moveTo>
                    <a:pt x="16283" y="0"/>
                  </a:moveTo>
                  <a:lnTo>
                    <a:pt x="11928" y="3126"/>
                  </a:lnTo>
                  <a:lnTo>
                    <a:pt x="8108" y="3244"/>
                  </a:lnTo>
                  <a:lnTo>
                    <a:pt x="5428" y="5147"/>
                  </a:lnTo>
                  <a:lnTo>
                    <a:pt x="1745" y="9615"/>
                  </a:lnTo>
                  <a:lnTo>
                    <a:pt x="0" y="15547"/>
                  </a:lnTo>
                  <a:lnTo>
                    <a:pt x="588" y="20642"/>
                  </a:lnTo>
                  <a:lnTo>
                    <a:pt x="3255" y="21600"/>
                  </a:lnTo>
                  <a:lnTo>
                    <a:pt x="5550" y="17130"/>
                  </a:lnTo>
                  <a:lnTo>
                    <a:pt x="11731" y="15960"/>
                  </a:lnTo>
                  <a:lnTo>
                    <a:pt x="16226" y="17237"/>
                  </a:lnTo>
                  <a:lnTo>
                    <a:pt x="19914" y="14058"/>
                  </a:lnTo>
                  <a:lnTo>
                    <a:pt x="21459" y="10547"/>
                  </a:lnTo>
                  <a:lnTo>
                    <a:pt x="21600" y="3750"/>
                  </a:lnTo>
                  <a:lnTo>
                    <a:pt x="20248" y="1848"/>
                  </a:lnTo>
                  <a:lnTo>
                    <a:pt x="16283" y="0"/>
                  </a:lnTo>
                  <a:close/>
                </a:path>
              </a:pathLst>
            </a:custGeom>
            <a:grpFill/>
            <a:ln w="25400" cap="flat">
              <a:noFill/>
              <a:prstDash val="solid"/>
              <a:miter lim="400000"/>
            </a:ln>
            <a:effectLst/>
          </p:spPr>
          <p:txBody>
            <a:bodyPr anchor="ctr"/>
            <a:lstStyle/>
            <a:p>
              <a:pPr algn="ctr"/>
              <a:endParaRPr/>
            </a:p>
          </p:txBody>
        </p:sp>
        <p:sp>
          <p:nvSpPr>
            <p:cNvPr id="17" name="î$1iḋé">
              <a:extLst>
                <a:ext uri="{FF2B5EF4-FFF2-40B4-BE49-F238E27FC236}">
                  <a16:creationId xmlns="" xmlns:p14="http://schemas.microsoft.com/office/powerpoint/2010/main" xmlns:a16="http://schemas.microsoft.com/office/drawing/2014/main" id="{183E6593-58C7-45CF-A62F-704BF2AB0770}"/>
                </a:ext>
              </a:extLst>
            </p:cNvPr>
            <p:cNvSpPr/>
            <p:nvPr/>
          </p:nvSpPr>
          <p:spPr>
            <a:xfrm>
              <a:off x="3537340" y="1418200"/>
              <a:ext cx="289161" cy="66258"/>
            </a:xfrm>
            <a:custGeom>
              <a:avLst/>
              <a:gdLst/>
              <a:ahLst/>
              <a:cxnLst>
                <a:cxn ang="0">
                  <a:pos x="wd2" y="hd2"/>
                </a:cxn>
                <a:cxn ang="5400000">
                  <a:pos x="wd2" y="hd2"/>
                </a:cxn>
                <a:cxn ang="10800000">
                  <a:pos x="wd2" y="hd2"/>
                </a:cxn>
                <a:cxn ang="16200000">
                  <a:pos x="wd2" y="hd2"/>
                </a:cxn>
              </a:cxnLst>
              <a:rect l="0" t="0" r="r" b="b"/>
              <a:pathLst>
                <a:path w="21600" h="21600" extrusionOk="0">
                  <a:moveTo>
                    <a:pt x="3838" y="93"/>
                  </a:moveTo>
                  <a:lnTo>
                    <a:pt x="2736" y="1503"/>
                  </a:lnTo>
                  <a:lnTo>
                    <a:pt x="1623" y="3591"/>
                  </a:lnTo>
                  <a:lnTo>
                    <a:pt x="622" y="6051"/>
                  </a:lnTo>
                  <a:lnTo>
                    <a:pt x="0" y="11309"/>
                  </a:lnTo>
                  <a:cubicBezTo>
                    <a:pt x="23" y="12625"/>
                    <a:pt x="147" y="13870"/>
                    <a:pt x="350" y="14850"/>
                  </a:cubicBezTo>
                  <a:cubicBezTo>
                    <a:pt x="1005" y="17999"/>
                    <a:pt x="2162" y="17761"/>
                    <a:pt x="2744" y="14356"/>
                  </a:cubicBezTo>
                  <a:lnTo>
                    <a:pt x="5745" y="14109"/>
                  </a:lnTo>
                  <a:lnTo>
                    <a:pt x="6941" y="15344"/>
                  </a:lnTo>
                  <a:lnTo>
                    <a:pt x="7732" y="17545"/>
                  </a:lnTo>
                  <a:lnTo>
                    <a:pt x="11998" y="18080"/>
                  </a:lnTo>
                  <a:lnTo>
                    <a:pt x="14484" y="17092"/>
                  </a:lnTo>
                  <a:lnTo>
                    <a:pt x="15087" y="21600"/>
                  </a:lnTo>
                  <a:lnTo>
                    <a:pt x="16550" y="21600"/>
                  </a:lnTo>
                  <a:lnTo>
                    <a:pt x="17231" y="19140"/>
                  </a:lnTo>
                  <a:lnTo>
                    <a:pt x="18865" y="15518"/>
                  </a:lnTo>
                  <a:lnTo>
                    <a:pt x="20308" y="14036"/>
                  </a:lnTo>
                  <a:lnTo>
                    <a:pt x="21600" y="11412"/>
                  </a:lnTo>
                  <a:cubicBezTo>
                    <a:pt x="21334" y="10787"/>
                    <a:pt x="21058" y="10251"/>
                    <a:pt x="20774" y="9806"/>
                  </a:cubicBezTo>
                  <a:cubicBezTo>
                    <a:pt x="20288" y="9047"/>
                    <a:pt x="19783" y="8563"/>
                    <a:pt x="19275" y="8160"/>
                  </a:cubicBezTo>
                  <a:cubicBezTo>
                    <a:pt x="18598" y="7622"/>
                    <a:pt x="17913" y="7228"/>
                    <a:pt x="17224" y="7172"/>
                  </a:cubicBezTo>
                  <a:cubicBezTo>
                    <a:pt x="16485" y="7113"/>
                    <a:pt x="15746" y="7444"/>
                    <a:pt x="15026" y="8160"/>
                  </a:cubicBezTo>
                  <a:lnTo>
                    <a:pt x="12369" y="8407"/>
                  </a:lnTo>
                  <a:lnTo>
                    <a:pt x="10911" y="9394"/>
                  </a:lnTo>
                  <a:lnTo>
                    <a:pt x="8883" y="10619"/>
                  </a:lnTo>
                  <a:lnTo>
                    <a:pt x="7915" y="8232"/>
                  </a:lnTo>
                  <a:lnTo>
                    <a:pt x="5806" y="3786"/>
                  </a:lnTo>
                  <a:lnTo>
                    <a:pt x="5241" y="0"/>
                  </a:lnTo>
                  <a:lnTo>
                    <a:pt x="3838" y="93"/>
                  </a:lnTo>
                  <a:close/>
                </a:path>
              </a:pathLst>
            </a:custGeom>
            <a:grpFill/>
            <a:ln w="25400" cap="flat">
              <a:noFill/>
              <a:prstDash val="solid"/>
              <a:miter lim="400000"/>
            </a:ln>
            <a:effectLst/>
          </p:spPr>
          <p:txBody>
            <a:bodyPr anchor="ctr"/>
            <a:lstStyle/>
            <a:p>
              <a:pPr algn="ctr"/>
              <a:endParaRPr/>
            </a:p>
          </p:txBody>
        </p:sp>
        <p:sp>
          <p:nvSpPr>
            <p:cNvPr id="18" name="iŝḷïďê">
              <a:extLst>
                <a:ext uri="{FF2B5EF4-FFF2-40B4-BE49-F238E27FC236}">
                  <a16:creationId xmlns="" xmlns:p14="http://schemas.microsoft.com/office/powerpoint/2010/main" xmlns:a16="http://schemas.microsoft.com/office/drawing/2014/main" id="{E33F9753-8D9C-43C2-B23D-3562D8E3FC43}"/>
                </a:ext>
              </a:extLst>
            </p:cNvPr>
            <p:cNvSpPr/>
            <p:nvPr/>
          </p:nvSpPr>
          <p:spPr>
            <a:xfrm>
              <a:off x="3672980" y="1247323"/>
              <a:ext cx="662519" cy="187834"/>
            </a:xfrm>
            <a:custGeom>
              <a:avLst/>
              <a:gdLst/>
              <a:ahLst/>
              <a:cxnLst>
                <a:cxn ang="0">
                  <a:pos x="wd2" y="hd2"/>
                </a:cxn>
                <a:cxn ang="5400000">
                  <a:pos x="wd2" y="hd2"/>
                </a:cxn>
                <a:cxn ang="10800000">
                  <a:pos x="wd2" y="hd2"/>
                </a:cxn>
                <a:cxn ang="16200000">
                  <a:pos x="wd2" y="hd2"/>
                </a:cxn>
              </a:cxnLst>
              <a:rect l="0" t="0" r="r" b="b"/>
              <a:pathLst>
                <a:path w="21600" h="21600" extrusionOk="0">
                  <a:moveTo>
                    <a:pt x="5561" y="13378"/>
                  </a:moveTo>
                  <a:lnTo>
                    <a:pt x="5088" y="13526"/>
                  </a:lnTo>
                  <a:lnTo>
                    <a:pt x="4669" y="12962"/>
                  </a:lnTo>
                  <a:lnTo>
                    <a:pt x="4219" y="12959"/>
                  </a:lnTo>
                  <a:lnTo>
                    <a:pt x="3753" y="12614"/>
                  </a:lnTo>
                  <a:lnTo>
                    <a:pt x="3243" y="12700"/>
                  </a:lnTo>
                  <a:lnTo>
                    <a:pt x="3001" y="13654"/>
                  </a:lnTo>
                  <a:lnTo>
                    <a:pt x="3447" y="14348"/>
                  </a:lnTo>
                  <a:lnTo>
                    <a:pt x="4117" y="13825"/>
                  </a:lnTo>
                  <a:lnTo>
                    <a:pt x="4612" y="14954"/>
                  </a:lnTo>
                  <a:lnTo>
                    <a:pt x="4247" y="16144"/>
                  </a:lnTo>
                  <a:lnTo>
                    <a:pt x="3401" y="16493"/>
                  </a:lnTo>
                  <a:lnTo>
                    <a:pt x="3037" y="17070"/>
                  </a:lnTo>
                  <a:lnTo>
                    <a:pt x="2338" y="17502"/>
                  </a:lnTo>
                  <a:lnTo>
                    <a:pt x="1089" y="17154"/>
                  </a:lnTo>
                  <a:lnTo>
                    <a:pt x="368" y="16144"/>
                  </a:lnTo>
                  <a:lnTo>
                    <a:pt x="0" y="16754"/>
                  </a:lnTo>
                  <a:lnTo>
                    <a:pt x="473" y="17680"/>
                  </a:lnTo>
                  <a:lnTo>
                    <a:pt x="1410" y="19248"/>
                  </a:lnTo>
                  <a:cubicBezTo>
                    <a:pt x="1564" y="19437"/>
                    <a:pt x="1722" y="19583"/>
                    <a:pt x="1882" y="19684"/>
                  </a:cubicBezTo>
                  <a:cubicBezTo>
                    <a:pt x="2315" y="19954"/>
                    <a:pt x="2758" y="19895"/>
                    <a:pt x="3184" y="19509"/>
                  </a:cubicBezTo>
                  <a:lnTo>
                    <a:pt x="4003" y="18899"/>
                  </a:lnTo>
                  <a:lnTo>
                    <a:pt x="4865" y="19684"/>
                  </a:lnTo>
                  <a:lnTo>
                    <a:pt x="5810" y="21600"/>
                  </a:lnTo>
                  <a:lnTo>
                    <a:pt x="6299" y="20087"/>
                  </a:lnTo>
                  <a:cubicBezTo>
                    <a:pt x="6564" y="19546"/>
                    <a:pt x="6838" y="19061"/>
                    <a:pt x="7119" y="18634"/>
                  </a:cubicBezTo>
                  <a:cubicBezTo>
                    <a:pt x="7498" y="18061"/>
                    <a:pt x="7889" y="17595"/>
                    <a:pt x="8288" y="17241"/>
                  </a:cubicBezTo>
                  <a:lnTo>
                    <a:pt x="8943" y="16573"/>
                  </a:lnTo>
                  <a:cubicBezTo>
                    <a:pt x="9325" y="16367"/>
                    <a:pt x="9696" y="15967"/>
                    <a:pt x="10045" y="15386"/>
                  </a:cubicBezTo>
                  <a:cubicBezTo>
                    <a:pt x="10339" y="14896"/>
                    <a:pt x="10614" y="14282"/>
                    <a:pt x="10865" y="13557"/>
                  </a:cubicBezTo>
                  <a:lnTo>
                    <a:pt x="11910" y="11553"/>
                  </a:lnTo>
                  <a:lnTo>
                    <a:pt x="12755" y="10329"/>
                  </a:lnTo>
                  <a:lnTo>
                    <a:pt x="14123" y="9460"/>
                  </a:lnTo>
                  <a:lnTo>
                    <a:pt x="15016" y="8853"/>
                  </a:lnTo>
                  <a:lnTo>
                    <a:pt x="16306" y="7600"/>
                  </a:lnTo>
                  <a:lnTo>
                    <a:pt x="17582" y="6587"/>
                  </a:lnTo>
                  <a:lnTo>
                    <a:pt x="19014" y="5139"/>
                  </a:lnTo>
                  <a:lnTo>
                    <a:pt x="20556" y="3047"/>
                  </a:lnTo>
                  <a:lnTo>
                    <a:pt x="21202" y="1453"/>
                  </a:lnTo>
                  <a:lnTo>
                    <a:pt x="21600" y="174"/>
                  </a:lnTo>
                  <a:lnTo>
                    <a:pt x="21294" y="0"/>
                  </a:lnTo>
                  <a:lnTo>
                    <a:pt x="20633" y="10"/>
                  </a:lnTo>
                  <a:lnTo>
                    <a:pt x="19151" y="1139"/>
                  </a:lnTo>
                  <a:cubicBezTo>
                    <a:pt x="18849" y="1367"/>
                    <a:pt x="18545" y="1570"/>
                    <a:pt x="18239" y="1749"/>
                  </a:cubicBezTo>
                  <a:cubicBezTo>
                    <a:pt x="17545" y="2156"/>
                    <a:pt x="16846" y="2436"/>
                    <a:pt x="16143" y="2588"/>
                  </a:cubicBezTo>
                  <a:lnTo>
                    <a:pt x="14478" y="2326"/>
                  </a:lnTo>
                  <a:lnTo>
                    <a:pt x="13302" y="2239"/>
                  </a:lnTo>
                  <a:lnTo>
                    <a:pt x="12681" y="2239"/>
                  </a:lnTo>
                  <a:lnTo>
                    <a:pt x="11912" y="2497"/>
                  </a:lnTo>
                  <a:lnTo>
                    <a:pt x="10970" y="2932"/>
                  </a:lnTo>
                  <a:cubicBezTo>
                    <a:pt x="10552" y="3620"/>
                    <a:pt x="10097" y="3995"/>
                    <a:pt x="9635" y="4036"/>
                  </a:cubicBezTo>
                  <a:cubicBezTo>
                    <a:pt x="9179" y="4076"/>
                    <a:pt x="8728" y="3788"/>
                    <a:pt x="8276" y="3600"/>
                  </a:cubicBezTo>
                  <a:cubicBezTo>
                    <a:pt x="7888" y="3439"/>
                    <a:pt x="7498" y="3352"/>
                    <a:pt x="7108" y="3339"/>
                  </a:cubicBezTo>
                  <a:lnTo>
                    <a:pt x="6305" y="3339"/>
                  </a:lnTo>
                  <a:lnTo>
                    <a:pt x="5909" y="3945"/>
                  </a:lnTo>
                  <a:lnTo>
                    <a:pt x="6356" y="4864"/>
                  </a:lnTo>
                  <a:lnTo>
                    <a:pt x="6967" y="5096"/>
                  </a:lnTo>
                  <a:cubicBezTo>
                    <a:pt x="7229" y="5258"/>
                    <a:pt x="7491" y="5403"/>
                    <a:pt x="7755" y="5531"/>
                  </a:cubicBezTo>
                  <a:cubicBezTo>
                    <a:pt x="8151" y="5725"/>
                    <a:pt x="8549" y="5880"/>
                    <a:pt x="8948" y="5996"/>
                  </a:cubicBezTo>
                  <a:cubicBezTo>
                    <a:pt x="9130" y="6050"/>
                    <a:pt x="9312" y="6050"/>
                    <a:pt x="9493" y="5996"/>
                  </a:cubicBezTo>
                  <a:cubicBezTo>
                    <a:pt x="9721" y="5928"/>
                    <a:pt x="9946" y="5776"/>
                    <a:pt x="10171" y="5648"/>
                  </a:cubicBezTo>
                  <a:cubicBezTo>
                    <a:pt x="10400" y="5517"/>
                    <a:pt x="10629" y="5411"/>
                    <a:pt x="10859" y="5328"/>
                  </a:cubicBezTo>
                  <a:lnTo>
                    <a:pt x="11646" y="6374"/>
                  </a:lnTo>
                  <a:lnTo>
                    <a:pt x="11398" y="7992"/>
                  </a:lnTo>
                  <a:lnTo>
                    <a:pt x="10289" y="8686"/>
                  </a:lnTo>
                  <a:cubicBezTo>
                    <a:pt x="9973" y="8994"/>
                    <a:pt x="9649" y="9198"/>
                    <a:pt x="9321" y="9296"/>
                  </a:cubicBezTo>
                  <a:cubicBezTo>
                    <a:pt x="8943" y="9409"/>
                    <a:pt x="8562" y="9380"/>
                    <a:pt x="8186" y="9209"/>
                  </a:cubicBezTo>
                  <a:lnTo>
                    <a:pt x="7166" y="9034"/>
                  </a:lnTo>
                  <a:cubicBezTo>
                    <a:pt x="6949" y="8622"/>
                    <a:pt x="6715" y="8329"/>
                    <a:pt x="6473" y="8167"/>
                  </a:cubicBezTo>
                  <a:cubicBezTo>
                    <a:pt x="6175" y="7967"/>
                    <a:pt x="5868" y="7967"/>
                    <a:pt x="5570" y="8167"/>
                  </a:cubicBezTo>
                  <a:lnTo>
                    <a:pt x="4985" y="8744"/>
                  </a:lnTo>
                  <a:lnTo>
                    <a:pt x="5399" y="10189"/>
                  </a:lnTo>
                  <a:lnTo>
                    <a:pt x="5614" y="11056"/>
                  </a:lnTo>
                  <a:lnTo>
                    <a:pt x="5762" y="12595"/>
                  </a:lnTo>
                  <a:lnTo>
                    <a:pt x="5561" y="13378"/>
                  </a:lnTo>
                  <a:close/>
                </a:path>
              </a:pathLst>
            </a:custGeom>
            <a:grpFill/>
            <a:ln w="25400" cap="flat">
              <a:noFill/>
              <a:prstDash val="solid"/>
              <a:miter lim="400000"/>
            </a:ln>
            <a:effectLst/>
          </p:spPr>
          <p:txBody>
            <a:bodyPr anchor="ctr"/>
            <a:lstStyle/>
            <a:p>
              <a:pPr algn="ctr"/>
              <a:endParaRPr/>
            </a:p>
          </p:txBody>
        </p:sp>
        <p:sp>
          <p:nvSpPr>
            <p:cNvPr id="19" name="îSḷïḓê">
              <a:extLst>
                <a:ext uri="{FF2B5EF4-FFF2-40B4-BE49-F238E27FC236}">
                  <a16:creationId xmlns="" xmlns:p14="http://schemas.microsoft.com/office/powerpoint/2010/main" xmlns:a16="http://schemas.microsoft.com/office/drawing/2014/main" id="{0DE78F90-3021-447E-97B0-FFADCD22C365}"/>
                </a:ext>
              </a:extLst>
            </p:cNvPr>
            <p:cNvSpPr/>
            <p:nvPr/>
          </p:nvSpPr>
          <p:spPr>
            <a:xfrm>
              <a:off x="4072085" y="1252852"/>
              <a:ext cx="1290276" cy="661440"/>
            </a:xfrm>
            <a:custGeom>
              <a:avLst/>
              <a:gdLst/>
              <a:ahLst/>
              <a:cxnLst>
                <a:cxn ang="0">
                  <a:pos x="wd2" y="hd2"/>
                </a:cxn>
                <a:cxn ang="5400000">
                  <a:pos x="wd2" y="hd2"/>
                </a:cxn>
                <a:cxn ang="10800000">
                  <a:pos x="wd2" y="hd2"/>
                </a:cxn>
                <a:cxn ang="16200000">
                  <a:pos x="wd2" y="hd2"/>
                </a:cxn>
              </a:cxnLst>
              <a:rect l="0" t="0" r="r" b="b"/>
              <a:pathLst>
                <a:path w="21600" h="21600" extrusionOk="0">
                  <a:moveTo>
                    <a:pt x="4570" y="1596"/>
                  </a:moveTo>
                  <a:lnTo>
                    <a:pt x="3927" y="2113"/>
                  </a:lnTo>
                  <a:lnTo>
                    <a:pt x="2963" y="3015"/>
                  </a:lnTo>
                  <a:lnTo>
                    <a:pt x="2197" y="3378"/>
                  </a:lnTo>
                  <a:cubicBezTo>
                    <a:pt x="1959" y="3423"/>
                    <a:pt x="1720" y="3456"/>
                    <a:pt x="1481" y="3477"/>
                  </a:cubicBezTo>
                  <a:cubicBezTo>
                    <a:pt x="1325" y="3490"/>
                    <a:pt x="1168" y="3498"/>
                    <a:pt x="1012" y="3501"/>
                  </a:cubicBezTo>
                  <a:lnTo>
                    <a:pt x="480" y="3625"/>
                  </a:lnTo>
                  <a:lnTo>
                    <a:pt x="0" y="4046"/>
                  </a:lnTo>
                  <a:lnTo>
                    <a:pt x="205" y="4266"/>
                  </a:lnTo>
                  <a:lnTo>
                    <a:pt x="192" y="4578"/>
                  </a:lnTo>
                  <a:lnTo>
                    <a:pt x="145" y="4873"/>
                  </a:lnTo>
                  <a:lnTo>
                    <a:pt x="366" y="5235"/>
                  </a:lnTo>
                  <a:cubicBezTo>
                    <a:pt x="483" y="5325"/>
                    <a:pt x="606" y="5381"/>
                    <a:pt x="731" y="5399"/>
                  </a:cubicBezTo>
                  <a:cubicBezTo>
                    <a:pt x="871" y="5420"/>
                    <a:pt x="1012" y="5394"/>
                    <a:pt x="1152" y="5399"/>
                  </a:cubicBezTo>
                  <a:cubicBezTo>
                    <a:pt x="1276" y="5404"/>
                    <a:pt x="1400" y="5432"/>
                    <a:pt x="1522" y="5399"/>
                  </a:cubicBezTo>
                  <a:cubicBezTo>
                    <a:pt x="1649" y="5365"/>
                    <a:pt x="1769" y="5267"/>
                    <a:pt x="1892" y="5202"/>
                  </a:cubicBezTo>
                  <a:cubicBezTo>
                    <a:pt x="2058" y="5116"/>
                    <a:pt x="2231" y="5090"/>
                    <a:pt x="2402" y="5128"/>
                  </a:cubicBezTo>
                  <a:lnTo>
                    <a:pt x="2767" y="5276"/>
                  </a:lnTo>
                  <a:cubicBezTo>
                    <a:pt x="2900" y="5352"/>
                    <a:pt x="3033" y="5420"/>
                    <a:pt x="3167" y="5482"/>
                  </a:cubicBezTo>
                  <a:cubicBezTo>
                    <a:pt x="3243" y="5518"/>
                    <a:pt x="3319" y="5551"/>
                    <a:pt x="3395" y="5581"/>
                  </a:cubicBezTo>
                  <a:lnTo>
                    <a:pt x="3650" y="5902"/>
                  </a:lnTo>
                  <a:lnTo>
                    <a:pt x="4020" y="6514"/>
                  </a:lnTo>
                  <a:lnTo>
                    <a:pt x="4415" y="7659"/>
                  </a:lnTo>
                  <a:lnTo>
                    <a:pt x="4440" y="8450"/>
                  </a:lnTo>
                  <a:lnTo>
                    <a:pt x="4352" y="9024"/>
                  </a:lnTo>
                  <a:lnTo>
                    <a:pt x="4531" y="9485"/>
                  </a:lnTo>
                  <a:lnTo>
                    <a:pt x="4876" y="9749"/>
                  </a:lnTo>
                  <a:lnTo>
                    <a:pt x="5054" y="10490"/>
                  </a:lnTo>
                  <a:lnTo>
                    <a:pt x="5054" y="11980"/>
                  </a:lnTo>
                  <a:lnTo>
                    <a:pt x="4876" y="12838"/>
                  </a:lnTo>
                  <a:lnTo>
                    <a:pt x="4638" y="13183"/>
                  </a:lnTo>
                  <a:lnTo>
                    <a:pt x="3903" y="13807"/>
                  </a:lnTo>
                  <a:lnTo>
                    <a:pt x="3525" y="14343"/>
                  </a:lnTo>
                  <a:lnTo>
                    <a:pt x="3368" y="15002"/>
                  </a:lnTo>
                  <a:lnTo>
                    <a:pt x="3321" y="15677"/>
                  </a:lnTo>
                  <a:cubicBezTo>
                    <a:pt x="3404" y="15780"/>
                    <a:pt x="3470" y="15925"/>
                    <a:pt x="3512" y="16096"/>
                  </a:cubicBezTo>
                  <a:cubicBezTo>
                    <a:pt x="3580" y="16367"/>
                    <a:pt x="3585" y="16682"/>
                    <a:pt x="3525" y="16960"/>
                  </a:cubicBezTo>
                  <a:lnTo>
                    <a:pt x="3385" y="17619"/>
                  </a:lnTo>
                  <a:lnTo>
                    <a:pt x="3351" y="18130"/>
                  </a:lnTo>
                  <a:lnTo>
                    <a:pt x="3444" y="18881"/>
                  </a:lnTo>
                  <a:lnTo>
                    <a:pt x="3708" y="19400"/>
                  </a:lnTo>
                  <a:lnTo>
                    <a:pt x="4236" y="20174"/>
                  </a:lnTo>
                  <a:lnTo>
                    <a:pt x="4376" y="20719"/>
                  </a:lnTo>
                  <a:lnTo>
                    <a:pt x="4670" y="21057"/>
                  </a:lnTo>
                  <a:lnTo>
                    <a:pt x="4900" y="21337"/>
                  </a:lnTo>
                  <a:lnTo>
                    <a:pt x="5157" y="21600"/>
                  </a:lnTo>
                  <a:lnTo>
                    <a:pt x="5715" y="21600"/>
                  </a:lnTo>
                  <a:lnTo>
                    <a:pt x="6033" y="21031"/>
                  </a:lnTo>
                  <a:lnTo>
                    <a:pt x="6548" y="20355"/>
                  </a:lnTo>
                  <a:lnTo>
                    <a:pt x="6705" y="19796"/>
                  </a:lnTo>
                  <a:lnTo>
                    <a:pt x="6910" y="19062"/>
                  </a:lnTo>
                  <a:lnTo>
                    <a:pt x="7139" y="18519"/>
                  </a:lnTo>
                  <a:lnTo>
                    <a:pt x="7301" y="17868"/>
                  </a:lnTo>
                  <a:lnTo>
                    <a:pt x="7390" y="17406"/>
                  </a:lnTo>
                  <a:lnTo>
                    <a:pt x="7761" y="16591"/>
                  </a:lnTo>
                  <a:cubicBezTo>
                    <a:pt x="7873" y="16404"/>
                    <a:pt x="7997" y="16246"/>
                    <a:pt x="8131" y="16121"/>
                  </a:cubicBezTo>
                  <a:cubicBezTo>
                    <a:pt x="8328" y="15937"/>
                    <a:pt x="8542" y="15828"/>
                    <a:pt x="8761" y="15801"/>
                  </a:cubicBezTo>
                  <a:lnTo>
                    <a:pt x="9305" y="15727"/>
                  </a:lnTo>
                  <a:cubicBezTo>
                    <a:pt x="9405" y="15710"/>
                    <a:pt x="9504" y="15685"/>
                    <a:pt x="9603" y="15652"/>
                  </a:cubicBezTo>
                  <a:cubicBezTo>
                    <a:pt x="9812" y="15583"/>
                    <a:pt x="10017" y="15478"/>
                    <a:pt x="10216" y="15339"/>
                  </a:cubicBezTo>
                  <a:cubicBezTo>
                    <a:pt x="10289" y="15303"/>
                    <a:pt x="10361" y="15262"/>
                    <a:pt x="10433" y="15215"/>
                  </a:cubicBezTo>
                  <a:cubicBezTo>
                    <a:pt x="10645" y="15077"/>
                    <a:pt x="10849" y="14891"/>
                    <a:pt x="11040" y="14663"/>
                  </a:cubicBezTo>
                  <a:lnTo>
                    <a:pt x="11355" y="14177"/>
                  </a:lnTo>
                  <a:lnTo>
                    <a:pt x="11891" y="13522"/>
                  </a:lnTo>
                  <a:lnTo>
                    <a:pt x="12235" y="13078"/>
                  </a:lnTo>
                  <a:lnTo>
                    <a:pt x="12847" y="13004"/>
                  </a:lnTo>
                  <a:lnTo>
                    <a:pt x="13102" y="13144"/>
                  </a:lnTo>
                  <a:lnTo>
                    <a:pt x="13519" y="13218"/>
                  </a:lnTo>
                  <a:lnTo>
                    <a:pt x="13829" y="13053"/>
                  </a:lnTo>
                  <a:lnTo>
                    <a:pt x="14271" y="12814"/>
                  </a:lnTo>
                  <a:lnTo>
                    <a:pt x="14663" y="12566"/>
                  </a:lnTo>
                  <a:lnTo>
                    <a:pt x="15084" y="12467"/>
                  </a:lnTo>
                  <a:lnTo>
                    <a:pt x="15497" y="12402"/>
                  </a:lnTo>
                  <a:lnTo>
                    <a:pt x="15854" y="12327"/>
                  </a:lnTo>
                  <a:lnTo>
                    <a:pt x="16108" y="12327"/>
                  </a:lnTo>
                  <a:lnTo>
                    <a:pt x="16138" y="11701"/>
                  </a:lnTo>
                  <a:lnTo>
                    <a:pt x="15849" y="11379"/>
                  </a:lnTo>
                  <a:cubicBezTo>
                    <a:pt x="15736" y="11393"/>
                    <a:pt x="15622" y="11407"/>
                    <a:pt x="15509" y="11420"/>
                  </a:cubicBezTo>
                  <a:cubicBezTo>
                    <a:pt x="15303" y="11445"/>
                    <a:pt x="15098" y="11470"/>
                    <a:pt x="14892" y="11494"/>
                  </a:cubicBezTo>
                  <a:lnTo>
                    <a:pt x="14740" y="11123"/>
                  </a:lnTo>
                  <a:cubicBezTo>
                    <a:pt x="14769" y="10919"/>
                    <a:pt x="14851" y="10760"/>
                    <a:pt x="14956" y="10703"/>
                  </a:cubicBezTo>
                  <a:cubicBezTo>
                    <a:pt x="15099" y="10626"/>
                    <a:pt x="15250" y="10749"/>
                    <a:pt x="15322" y="11000"/>
                  </a:cubicBezTo>
                  <a:cubicBezTo>
                    <a:pt x="15374" y="10900"/>
                    <a:pt x="15405" y="10769"/>
                    <a:pt x="15412" y="10629"/>
                  </a:cubicBezTo>
                  <a:cubicBezTo>
                    <a:pt x="15424" y="10350"/>
                    <a:pt x="15341" y="10089"/>
                    <a:pt x="15207" y="9985"/>
                  </a:cubicBezTo>
                  <a:lnTo>
                    <a:pt x="15493" y="9515"/>
                  </a:lnTo>
                  <a:cubicBezTo>
                    <a:pt x="15637" y="9640"/>
                    <a:pt x="15768" y="9813"/>
                    <a:pt x="15880" y="10027"/>
                  </a:cubicBezTo>
                  <a:cubicBezTo>
                    <a:pt x="15998" y="10251"/>
                    <a:pt x="16093" y="10517"/>
                    <a:pt x="16160" y="10810"/>
                  </a:cubicBezTo>
                  <a:lnTo>
                    <a:pt x="16658" y="11082"/>
                  </a:lnTo>
                  <a:lnTo>
                    <a:pt x="16895" y="10959"/>
                  </a:lnTo>
                  <a:lnTo>
                    <a:pt x="17018" y="10515"/>
                  </a:lnTo>
                  <a:lnTo>
                    <a:pt x="16294" y="9855"/>
                  </a:lnTo>
                  <a:lnTo>
                    <a:pt x="16103" y="9419"/>
                  </a:lnTo>
                  <a:lnTo>
                    <a:pt x="15695" y="8999"/>
                  </a:lnTo>
                  <a:lnTo>
                    <a:pt x="15487" y="8406"/>
                  </a:lnTo>
                  <a:lnTo>
                    <a:pt x="15870" y="8134"/>
                  </a:lnTo>
                  <a:lnTo>
                    <a:pt x="16533" y="8547"/>
                  </a:lnTo>
                  <a:cubicBezTo>
                    <a:pt x="16596" y="8499"/>
                    <a:pt x="16659" y="8450"/>
                    <a:pt x="16721" y="8398"/>
                  </a:cubicBezTo>
                  <a:cubicBezTo>
                    <a:pt x="16929" y="8224"/>
                    <a:pt x="17132" y="8026"/>
                    <a:pt x="17328" y="7805"/>
                  </a:cubicBezTo>
                  <a:lnTo>
                    <a:pt x="17788" y="7319"/>
                  </a:lnTo>
                  <a:lnTo>
                    <a:pt x="18210" y="6429"/>
                  </a:lnTo>
                  <a:lnTo>
                    <a:pt x="18235" y="5884"/>
                  </a:lnTo>
                  <a:cubicBezTo>
                    <a:pt x="18303" y="5655"/>
                    <a:pt x="18399" y="5463"/>
                    <a:pt x="18515" y="5325"/>
                  </a:cubicBezTo>
                  <a:cubicBezTo>
                    <a:pt x="18632" y="5186"/>
                    <a:pt x="18765" y="5106"/>
                    <a:pt x="18902" y="5094"/>
                  </a:cubicBezTo>
                  <a:lnTo>
                    <a:pt x="18902" y="4509"/>
                  </a:lnTo>
                  <a:lnTo>
                    <a:pt x="18817" y="4263"/>
                  </a:lnTo>
                  <a:lnTo>
                    <a:pt x="18746" y="3869"/>
                  </a:lnTo>
                  <a:lnTo>
                    <a:pt x="18880" y="3190"/>
                  </a:lnTo>
                  <a:lnTo>
                    <a:pt x="19186" y="2499"/>
                  </a:lnTo>
                  <a:lnTo>
                    <a:pt x="19696" y="2178"/>
                  </a:lnTo>
                  <a:lnTo>
                    <a:pt x="20121" y="2202"/>
                  </a:lnTo>
                  <a:lnTo>
                    <a:pt x="20414" y="1856"/>
                  </a:lnTo>
                  <a:lnTo>
                    <a:pt x="21001" y="1881"/>
                  </a:lnTo>
                  <a:cubicBezTo>
                    <a:pt x="21065" y="1886"/>
                    <a:pt x="21130" y="1860"/>
                    <a:pt x="21188" y="1807"/>
                  </a:cubicBezTo>
                  <a:cubicBezTo>
                    <a:pt x="21269" y="1732"/>
                    <a:pt x="21335" y="1607"/>
                    <a:pt x="21375" y="1452"/>
                  </a:cubicBezTo>
                  <a:lnTo>
                    <a:pt x="21591" y="1348"/>
                  </a:lnTo>
                  <a:lnTo>
                    <a:pt x="21600" y="1011"/>
                  </a:lnTo>
                  <a:lnTo>
                    <a:pt x="21150" y="975"/>
                  </a:lnTo>
                  <a:cubicBezTo>
                    <a:pt x="20995" y="1003"/>
                    <a:pt x="20843" y="1062"/>
                    <a:pt x="20694" y="1151"/>
                  </a:cubicBezTo>
                  <a:cubicBezTo>
                    <a:pt x="20557" y="1233"/>
                    <a:pt x="20423" y="1342"/>
                    <a:pt x="20282" y="1390"/>
                  </a:cubicBezTo>
                  <a:cubicBezTo>
                    <a:pt x="20093" y="1454"/>
                    <a:pt x="19900" y="1411"/>
                    <a:pt x="19724" y="1265"/>
                  </a:cubicBezTo>
                  <a:cubicBezTo>
                    <a:pt x="19577" y="1262"/>
                    <a:pt x="19430" y="1212"/>
                    <a:pt x="19291" y="1117"/>
                  </a:cubicBezTo>
                  <a:cubicBezTo>
                    <a:pt x="19095" y="983"/>
                    <a:pt x="18917" y="763"/>
                    <a:pt x="18772" y="474"/>
                  </a:cubicBezTo>
                  <a:lnTo>
                    <a:pt x="18083" y="0"/>
                  </a:lnTo>
                  <a:lnTo>
                    <a:pt x="16508" y="3"/>
                  </a:lnTo>
                  <a:lnTo>
                    <a:pt x="15693" y="275"/>
                  </a:lnTo>
                  <a:lnTo>
                    <a:pt x="14944" y="531"/>
                  </a:lnTo>
                  <a:lnTo>
                    <a:pt x="14463" y="291"/>
                  </a:lnTo>
                  <a:lnTo>
                    <a:pt x="13875" y="143"/>
                  </a:lnTo>
                  <a:lnTo>
                    <a:pt x="13340" y="291"/>
                  </a:lnTo>
                  <a:lnTo>
                    <a:pt x="12195" y="653"/>
                  </a:lnTo>
                  <a:lnTo>
                    <a:pt x="10633" y="1133"/>
                  </a:lnTo>
                  <a:lnTo>
                    <a:pt x="9702" y="1133"/>
                  </a:lnTo>
                  <a:lnTo>
                    <a:pt x="8978" y="1388"/>
                  </a:lnTo>
                  <a:lnTo>
                    <a:pt x="8396" y="1388"/>
                  </a:lnTo>
                  <a:lnTo>
                    <a:pt x="7809" y="1141"/>
                  </a:lnTo>
                  <a:lnTo>
                    <a:pt x="7009" y="1092"/>
                  </a:lnTo>
                  <a:lnTo>
                    <a:pt x="6559" y="1002"/>
                  </a:lnTo>
                  <a:lnTo>
                    <a:pt x="5776" y="1002"/>
                  </a:lnTo>
                  <a:lnTo>
                    <a:pt x="5285" y="1142"/>
                  </a:lnTo>
                  <a:lnTo>
                    <a:pt x="4570" y="1596"/>
                  </a:lnTo>
                  <a:close/>
                </a:path>
              </a:pathLst>
            </a:custGeom>
            <a:grpFill/>
            <a:ln w="25400" cap="flat">
              <a:noFill/>
              <a:prstDash val="solid"/>
              <a:miter lim="400000"/>
            </a:ln>
            <a:effectLst/>
          </p:spPr>
          <p:txBody>
            <a:bodyPr anchor="ctr"/>
            <a:lstStyle/>
            <a:p>
              <a:pPr algn="ctr"/>
              <a:endParaRPr/>
            </a:p>
          </p:txBody>
        </p:sp>
        <p:sp>
          <p:nvSpPr>
            <p:cNvPr id="22" name="ïşḻiďe">
              <a:extLst>
                <a:ext uri="{FF2B5EF4-FFF2-40B4-BE49-F238E27FC236}">
                  <a16:creationId xmlns="" xmlns:p14="http://schemas.microsoft.com/office/powerpoint/2010/main" xmlns:a16="http://schemas.microsoft.com/office/drawing/2014/main" id="{D74D93F2-C926-4F37-8A68-969D36217418}"/>
                </a:ext>
              </a:extLst>
            </p:cNvPr>
            <p:cNvSpPr/>
            <p:nvPr/>
          </p:nvSpPr>
          <p:spPr>
            <a:xfrm>
              <a:off x="3479660" y="1494826"/>
              <a:ext cx="530890" cy="368947"/>
            </a:xfrm>
            <a:custGeom>
              <a:avLst/>
              <a:gdLst/>
              <a:ahLst/>
              <a:cxnLst>
                <a:cxn ang="0">
                  <a:pos x="wd2" y="hd2"/>
                </a:cxn>
                <a:cxn ang="5400000">
                  <a:pos x="wd2" y="hd2"/>
                </a:cxn>
                <a:cxn ang="10800000">
                  <a:pos x="wd2" y="hd2"/>
                </a:cxn>
                <a:cxn ang="16200000">
                  <a:pos x="wd2" y="hd2"/>
                </a:cxn>
              </a:cxnLst>
              <a:rect l="0" t="0" r="r" b="b"/>
              <a:pathLst>
                <a:path w="21600" h="21600" extrusionOk="0">
                  <a:moveTo>
                    <a:pt x="8021" y="593"/>
                  </a:moveTo>
                  <a:lnTo>
                    <a:pt x="7339" y="943"/>
                  </a:lnTo>
                  <a:lnTo>
                    <a:pt x="6138" y="1776"/>
                  </a:lnTo>
                  <a:lnTo>
                    <a:pt x="5808" y="2763"/>
                  </a:lnTo>
                  <a:lnTo>
                    <a:pt x="5092" y="3323"/>
                  </a:lnTo>
                  <a:cubicBezTo>
                    <a:pt x="4981" y="3552"/>
                    <a:pt x="4794" y="3681"/>
                    <a:pt x="4600" y="3663"/>
                  </a:cubicBezTo>
                  <a:cubicBezTo>
                    <a:pt x="4347" y="3639"/>
                    <a:pt x="4136" y="3380"/>
                    <a:pt x="4082" y="3027"/>
                  </a:cubicBezTo>
                  <a:lnTo>
                    <a:pt x="4399" y="1979"/>
                  </a:lnTo>
                  <a:lnTo>
                    <a:pt x="5690" y="798"/>
                  </a:lnTo>
                  <a:lnTo>
                    <a:pt x="5100" y="0"/>
                  </a:lnTo>
                  <a:cubicBezTo>
                    <a:pt x="4899" y="133"/>
                    <a:pt x="4693" y="250"/>
                    <a:pt x="4483" y="350"/>
                  </a:cubicBezTo>
                  <a:cubicBezTo>
                    <a:pt x="4069" y="547"/>
                    <a:pt x="3640" y="676"/>
                    <a:pt x="3206" y="735"/>
                  </a:cubicBezTo>
                  <a:lnTo>
                    <a:pt x="2729" y="1223"/>
                  </a:lnTo>
                  <a:lnTo>
                    <a:pt x="1867" y="1975"/>
                  </a:lnTo>
                  <a:lnTo>
                    <a:pt x="1287" y="3024"/>
                  </a:lnTo>
                  <a:lnTo>
                    <a:pt x="765" y="3246"/>
                  </a:lnTo>
                  <a:lnTo>
                    <a:pt x="240" y="4131"/>
                  </a:lnTo>
                  <a:lnTo>
                    <a:pt x="0" y="4706"/>
                  </a:lnTo>
                  <a:lnTo>
                    <a:pt x="488" y="5355"/>
                  </a:lnTo>
                  <a:lnTo>
                    <a:pt x="1157" y="5843"/>
                  </a:lnTo>
                  <a:lnTo>
                    <a:pt x="1737" y="6153"/>
                  </a:lnTo>
                  <a:lnTo>
                    <a:pt x="2377" y="6286"/>
                  </a:lnTo>
                  <a:lnTo>
                    <a:pt x="3276" y="6064"/>
                  </a:lnTo>
                  <a:lnTo>
                    <a:pt x="4259" y="5754"/>
                  </a:lnTo>
                  <a:lnTo>
                    <a:pt x="5354" y="6094"/>
                  </a:lnTo>
                  <a:lnTo>
                    <a:pt x="6511" y="6183"/>
                  </a:lnTo>
                  <a:lnTo>
                    <a:pt x="7184" y="6626"/>
                  </a:lnTo>
                  <a:cubicBezTo>
                    <a:pt x="7405" y="6541"/>
                    <a:pt x="7623" y="6437"/>
                    <a:pt x="7835" y="6316"/>
                  </a:cubicBezTo>
                  <a:cubicBezTo>
                    <a:pt x="8220" y="6096"/>
                    <a:pt x="8587" y="5819"/>
                    <a:pt x="8931" y="5490"/>
                  </a:cubicBezTo>
                  <a:lnTo>
                    <a:pt x="9355" y="5312"/>
                  </a:lnTo>
                  <a:lnTo>
                    <a:pt x="9932" y="5575"/>
                  </a:lnTo>
                  <a:lnTo>
                    <a:pt x="10644" y="6240"/>
                  </a:lnTo>
                  <a:lnTo>
                    <a:pt x="11141" y="6846"/>
                  </a:lnTo>
                  <a:lnTo>
                    <a:pt x="12060" y="7539"/>
                  </a:lnTo>
                  <a:lnTo>
                    <a:pt x="12619" y="8736"/>
                  </a:lnTo>
                  <a:lnTo>
                    <a:pt x="13095" y="10006"/>
                  </a:lnTo>
                  <a:lnTo>
                    <a:pt x="13435" y="11054"/>
                  </a:lnTo>
                  <a:lnTo>
                    <a:pt x="14056" y="11586"/>
                  </a:lnTo>
                  <a:lnTo>
                    <a:pt x="14914" y="12148"/>
                  </a:lnTo>
                  <a:lnTo>
                    <a:pt x="14833" y="12869"/>
                  </a:lnTo>
                  <a:lnTo>
                    <a:pt x="14379" y="13177"/>
                  </a:lnTo>
                  <a:lnTo>
                    <a:pt x="13740" y="13602"/>
                  </a:lnTo>
                  <a:lnTo>
                    <a:pt x="12986" y="13647"/>
                  </a:lnTo>
                  <a:lnTo>
                    <a:pt x="12638" y="13264"/>
                  </a:lnTo>
                  <a:lnTo>
                    <a:pt x="11587" y="13042"/>
                  </a:lnTo>
                  <a:lnTo>
                    <a:pt x="10513" y="13484"/>
                  </a:lnTo>
                  <a:lnTo>
                    <a:pt x="9841" y="14502"/>
                  </a:lnTo>
                  <a:lnTo>
                    <a:pt x="9564" y="15162"/>
                  </a:lnTo>
                  <a:lnTo>
                    <a:pt x="9078" y="15545"/>
                  </a:lnTo>
                  <a:lnTo>
                    <a:pt x="7809" y="15678"/>
                  </a:lnTo>
                  <a:lnTo>
                    <a:pt x="6983" y="15367"/>
                  </a:lnTo>
                  <a:lnTo>
                    <a:pt x="6084" y="15147"/>
                  </a:lnTo>
                  <a:lnTo>
                    <a:pt x="5096" y="15369"/>
                  </a:lnTo>
                  <a:lnTo>
                    <a:pt x="4413" y="16019"/>
                  </a:lnTo>
                  <a:lnTo>
                    <a:pt x="5045" y="16668"/>
                  </a:lnTo>
                  <a:lnTo>
                    <a:pt x="6285" y="16934"/>
                  </a:lnTo>
                  <a:lnTo>
                    <a:pt x="7287" y="16420"/>
                  </a:lnTo>
                  <a:lnTo>
                    <a:pt x="8059" y="16243"/>
                  </a:lnTo>
                  <a:lnTo>
                    <a:pt x="9091" y="16300"/>
                  </a:lnTo>
                  <a:lnTo>
                    <a:pt x="9462" y="16921"/>
                  </a:lnTo>
                  <a:lnTo>
                    <a:pt x="9564" y="17355"/>
                  </a:lnTo>
                  <a:lnTo>
                    <a:pt x="9891" y="18150"/>
                  </a:lnTo>
                  <a:lnTo>
                    <a:pt x="10014" y="18797"/>
                  </a:lnTo>
                  <a:lnTo>
                    <a:pt x="10439" y="19327"/>
                  </a:lnTo>
                  <a:lnTo>
                    <a:pt x="10902" y="19443"/>
                  </a:lnTo>
                  <a:lnTo>
                    <a:pt x="12019" y="20417"/>
                  </a:lnTo>
                  <a:lnTo>
                    <a:pt x="12722" y="21245"/>
                  </a:lnTo>
                  <a:lnTo>
                    <a:pt x="14241" y="21600"/>
                  </a:lnTo>
                  <a:lnTo>
                    <a:pt x="14643" y="21336"/>
                  </a:lnTo>
                  <a:lnTo>
                    <a:pt x="15294" y="20804"/>
                  </a:lnTo>
                  <a:cubicBezTo>
                    <a:pt x="15170" y="20619"/>
                    <a:pt x="15023" y="20469"/>
                    <a:pt x="14861" y="20360"/>
                  </a:cubicBezTo>
                  <a:cubicBezTo>
                    <a:pt x="14623" y="20200"/>
                    <a:pt x="14358" y="20132"/>
                    <a:pt x="14128" y="19948"/>
                  </a:cubicBezTo>
                  <a:cubicBezTo>
                    <a:pt x="13879" y="19749"/>
                    <a:pt x="13688" y="19429"/>
                    <a:pt x="13590" y="19046"/>
                  </a:cubicBezTo>
                  <a:lnTo>
                    <a:pt x="13158" y="18532"/>
                  </a:lnTo>
                  <a:lnTo>
                    <a:pt x="13427" y="18017"/>
                  </a:lnTo>
                  <a:lnTo>
                    <a:pt x="14110" y="18105"/>
                  </a:lnTo>
                  <a:lnTo>
                    <a:pt x="14793" y="18460"/>
                  </a:lnTo>
                  <a:lnTo>
                    <a:pt x="15377" y="18697"/>
                  </a:lnTo>
                  <a:lnTo>
                    <a:pt x="15778" y="19005"/>
                  </a:lnTo>
                  <a:lnTo>
                    <a:pt x="16295" y="19094"/>
                  </a:lnTo>
                  <a:lnTo>
                    <a:pt x="16532" y="18785"/>
                  </a:lnTo>
                  <a:lnTo>
                    <a:pt x="16863" y="17974"/>
                  </a:lnTo>
                  <a:lnTo>
                    <a:pt x="16832" y="16720"/>
                  </a:lnTo>
                  <a:lnTo>
                    <a:pt x="16410" y="15436"/>
                  </a:lnTo>
                  <a:lnTo>
                    <a:pt x="16038" y="14519"/>
                  </a:lnTo>
                  <a:lnTo>
                    <a:pt x="16348" y="13987"/>
                  </a:lnTo>
                  <a:lnTo>
                    <a:pt x="17092" y="13263"/>
                  </a:lnTo>
                  <a:lnTo>
                    <a:pt x="17959" y="13751"/>
                  </a:lnTo>
                  <a:cubicBezTo>
                    <a:pt x="18224" y="13919"/>
                    <a:pt x="18489" y="14087"/>
                    <a:pt x="18755" y="14253"/>
                  </a:cubicBezTo>
                  <a:cubicBezTo>
                    <a:pt x="19010" y="14412"/>
                    <a:pt x="19265" y="14570"/>
                    <a:pt x="19521" y="14726"/>
                  </a:cubicBezTo>
                  <a:lnTo>
                    <a:pt x="20059" y="14800"/>
                  </a:lnTo>
                  <a:cubicBezTo>
                    <a:pt x="20261" y="14738"/>
                    <a:pt x="20456" y="14633"/>
                    <a:pt x="20638" y="14490"/>
                  </a:cubicBezTo>
                  <a:cubicBezTo>
                    <a:pt x="21053" y="14162"/>
                    <a:pt x="21380" y="13647"/>
                    <a:pt x="21569" y="13026"/>
                  </a:cubicBezTo>
                  <a:lnTo>
                    <a:pt x="21600" y="12364"/>
                  </a:lnTo>
                  <a:lnTo>
                    <a:pt x="20876" y="11537"/>
                  </a:lnTo>
                  <a:lnTo>
                    <a:pt x="20172" y="11271"/>
                  </a:lnTo>
                  <a:cubicBezTo>
                    <a:pt x="19977" y="10989"/>
                    <a:pt x="19782" y="10709"/>
                    <a:pt x="19585" y="10430"/>
                  </a:cubicBezTo>
                  <a:cubicBezTo>
                    <a:pt x="19314" y="10044"/>
                    <a:pt x="19041" y="9659"/>
                    <a:pt x="18768" y="9277"/>
                  </a:cubicBezTo>
                  <a:lnTo>
                    <a:pt x="18552" y="8352"/>
                  </a:lnTo>
                  <a:lnTo>
                    <a:pt x="18707" y="7850"/>
                  </a:lnTo>
                  <a:lnTo>
                    <a:pt x="18707" y="7053"/>
                  </a:lnTo>
                  <a:lnTo>
                    <a:pt x="18460" y="6506"/>
                  </a:lnTo>
                  <a:lnTo>
                    <a:pt x="17665" y="6018"/>
                  </a:lnTo>
                  <a:lnTo>
                    <a:pt x="16139" y="5357"/>
                  </a:lnTo>
                  <a:lnTo>
                    <a:pt x="15519" y="4734"/>
                  </a:lnTo>
                  <a:lnTo>
                    <a:pt x="14962" y="3542"/>
                  </a:lnTo>
                  <a:lnTo>
                    <a:pt x="14662" y="2965"/>
                  </a:lnTo>
                  <a:lnTo>
                    <a:pt x="14176" y="2226"/>
                  </a:lnTo>
                  <a:lnTo>
                    <a:pt x="13369" y="2581"/>
                  </a:lnTo>
                  <a:lnTo>
                    <a:pt x="12408" y="3126"/>
                  </a:lnTo>
                  <a:lnTo>
                    <a:pt x="11913" y="2771"/>
                  </a:lnTo>
                  <a:cubicBezTo>
                    <a:pt x="11698" y="2567"/>
                    <a:pt x="11484" y="2360"/>
                    <a:pt x="11271" y="2150"/>
                  </a:cubicBezTo>
                  <a:cubicBezTo>
                    <a:pt x="11036" y="1918"/>
                    <a:pt x="10801" y="1682"/>
                    <a:pt x="10569" y="1443"/>
                  </a:cubicBezTo>
                  <a:lnTo>
                    <a:pt x="9607" y="777"/>
                  </a:lnTo>
                  <a:lnTo>
                    <a:pt x="9009" y="497"/>
                  </a:lnTo>
                  <a:lnTo>
                    <a:pt x="8021" y="593"/>
                  </a:lnTo>
                  <a:close/>
                </a:path>
              </a:pathLst>
            </a:custGeom>
            <a:grpFill/>
            <a:ln w="25400" cap="flat">
              <a:noFill/>
              <a:prstDash val="solid"/>
              <a:miter lim="400000"/>
            </a:ln>
            <a:effectLst/>
          </p:spPr>
          <p:txBody>
            <a:bodyPr anchor="ctr"/>
            <a:lstStyle/>
            <a:p>
              <a:pPr algn="ctr"/>
              <a:endParaRPr/>
            </a:p>
          </p:txBody>
        </p:sp>
        <p:sp>
          <p:nvSpPr>
            <p:cNvPr id="23" name="íşļîde">
              <a:extLst>
                <a:ext uri="{FF2B5EF4-FFF2-40B4-BE49-F238E27FC236}">
                  <a16:creationId xmlns="" xmlns:p14="http://schemas.microsoft.com/office/powerpoint/2010/main" xmlns:a16="http://schemas.microsoft.com/office/drawing/2014/main" id="{445D0311-F6BD-421B-BD6E-606E6FEECE21}"/>
                </a:ext>
              </a:extLst>
            </p:cNvPr>
            <p:cNvSpPr/>
            <p:nvPr/>
          </p:nvSpPr>
          <p:spPr>
            <a:xfrm>
              <a:off x="3367978" y="1754955"/>
              <a:ext cx="134323" cy="63225"/>
            </a:xfrm>
            <a:custGeom>
              <a:avLst/>
              <a:gdLst/>
              <a:ahLst/>
              <a:cxnLst>
                <a:cxn ang="0">
                  <a:pos x="wd2" y="hd2"/>
                </a:cxn>
                <a:cxn ang="5400000">
                  <a:pos x="wd2" y="hd2"/>
                </a:cxn>
                <a:cxn ang="10800000">
                  <a:pos x="wd2" y="hd2"/>
                </a:cxn>
                <a:cxn ang="16200000">
                  <a:pos x="wd2" y="hd2"/>
                </a:cxn>
              </a:cxnLst>
              <a:rect l="0" t="0" r="r" b="b"/>
              <a:pathLst>
                <a:path w="21486" h="21600" extrusionOk="0">
                  <a:moveTo>
                    <a:pt x="14288" y="2825"/>
                  </a:moveTo>
                  <a:lnTo>
                    <a:pt x="10337" y="0"/>
                  </a:lnTo>
                  <a:lnTo>
                    <a:pt x="6944" y="635"/>
                  </a:lnTo>
                  <a:lnTo>
                    <a:pt x="4261" y="5531"/>
                  </a:lnTo>
                  <a:lnTo>
                    <a:pt x="923" y="10880"/>
                  </a:lnTo>
                  <a:lnTo>
                    <a:pt x="0" y="13544"/>
                  </a:lnTo>
                  <a:lnTo>
                    <a:pt x="505" y="17480"/>
                  </a:lnTo>
                  <a:lnTo>
                    <a:pt x="3926" y="18763"/>
                  </a:lnTo>
                  <a:lnTo>
                    <a:pt x="6234" y="16694"/>
                  </a:lnTo>
                  <a:lnTo>
                    <a:pt x="9366" y="14882"/>
                  </a:lnTo>
                  <a:cubicBezTo>
                    <a:pt x="10482" y="14254"/>
                    <a:pt x="11657" y="14254"/>
                    <a:pt x="12773" y="14882"/>
                  </a:cubicBezTo>
                  <a:cubicBezTo>
                    <a:pt x="14008" y="15576"/>
                    <a:pt x="15124" y="17010"/>
                    <a:pt x="15986" y="19012"/>
                  </a:cubicBezTo>
                  <a:lnTo>
                    <a:pt x="19647" y="21600"/>
                  </a:lnTo>
                  <a:cubicBezTo>
                    <a:pt x="20643" y="20974"/>
                    <a:pt x="21364" y="19135"/>
                    <a:pt x="21472" y="16942"/>
                  </a:cubicBezTo>
                  <a:cubicBezTo>
                    <a:pt x="21600" y="14339"/>
                    <a:pt x="20855" y="11900"/>
                    <a:pt x="19682" y="11085"/>
                  </a:cubicBezTo>
                  <a:lnTo>
                    <a:pt x="16154" y="7063"/>
                  </a:lnTo>
                  <a:lnTo>
                    <a:pt x="14288" y="2825"/>
                  </a:lnTo>
                  <a:close/>
                </a:path>
              </a:pathLst>
            </a:custGeom>
            <a:grpFill/>
            <a:ln w="25400" cap="flat">
              <a:noFill/>
              <a:prstDash val="solid"/>
              <a:miter lim="400000"/>
            </a:ln>
            <a:effectLst/>
          </p:spPr>
          <p:txBody>
            <a:bodyPr anchor="ctr"/>
            <a:lstStyle/>
            <a:p>
              <a:pPr algn="ctr"/>
              <a:endParaRPr/>
            </a:p>
          </p:txBody>
        </p:sp>
        <p:sp>
          <p:nvSpPr>
            <p:cNvPr id="24" name="í$ḷiḋe">
              <a:extLst>
                <a:ext uri="{FF2B5EF4-FFF2-40B4-BE49-F238E27FC236}">
                  <a16:creationId xmlns="" xmlns:p14="http://schemas.microsoft.com/office/powerpoint/2010/main" xmlns:a16="http://schemas.microsoft.com/office/drawing/2014/main" id="{17853E26-8C09-48D5-AACD-1675FF7D733F}"/>
                </a:ext>
              </a:extLst>
            </p:cNvPr>
            <p:cNvSpPr/>
            <p:nvPr/>
          </p:nvSpPr>
          <p:spPr>
            <a:xfrm>
              <a:off x="3798219" y="2232769"/>
              <a:ext cx="191559" cy="152338"/>
            </a:xfrm>
            <a:custGeom>
              <a:avLst/>
              <a:gdLst/>
              <a:ahLst/>
              <a:cxnLst>
                <a:cxn ang="0">
                  <a:pos x="wd2" y="hd2"/>
                </a:cxn>
                <a:cxn ang="5400000">
                  <a:pos x="wd2" y="hd2"/>
                </a:cxn>
                <a:cxn ang="10800000">
                  <a:pos x="wd2" y="hd2"/>
                </a:cxn>
                <a:cxn ang="16200000">
                  <a:pos x="wd2" y="hd2"/>
                </a:cxn>
              </a:cxnLst>
              <a:rect l="0" t="0" r="r" b="b"/>
              <a:pathLst>
                <a:path w="21600" h="21600" extrusionOk="0">
                  <a:moveTo>
                    <a:pt x="13617" y="713"/>
                  </a:moveTo>
                  <a:lnTo>
                    <a:pt x="12158" y="1430"/>
                  </a:lnTo>
                  <a:lnTo>
                    <a:pt x="10460" y="3510"/>
                  </a:lnTo>
                  <a:lnTo>
                    <a:pt x="9735" y="5219"/>
                  </a:lnTo>
                  <a:lnTo>
                    <a:pt x="8711" y="7368"/>
                  </a:lnTo>
                  <a:lnTo>
                    <a:pt x="6506" y="9587"/>
                  </a:lnTo>
                  <a:lnTo>
                    <a:pt x="4116" y="10124"/>
                  </a:lnTo>
                  <a:lnTo>
                    <a:pt x="3238" y="12590"/>
                  </a:lnTo>
                  <a:lnTo>
                    <a:pt x="2264" y="14703"/>
                  </a:lnTo>
                  <a:lnTo>
                    <a:pt x="112" y="15347"/>
                  </a:lnTo>
                  <a:lnTo>
                    <a:pt x="0" y="16883"/>
                  </a:lnTo>
                  <a:lnTo>
                    <a:pt x="2956" y="16668"/>
                  </a:lnTo>
                  <a:lnTo>
                    <a:pt x="4669" y="16668"/>
                  </a:lnTo>
                  <a:lnTo>
                    <a:pt x="6963" y="17384"/>
                  </a:lnTo>
                  <a:lnTo>
                    <a:pt x="8339" y="17778"/>
                  </a:lnTo>
                  <a:lnTo>
                    <a:pt x="7794" y="19707"/>
                  </a:lnTo>
                  <a:lnTo>
                    <a:pt x="8250" y="21600"/>
                  </a:lnTo>
                  <a:lnTo>
                    <a:pt x="9877" y="20459"/>
                  </a:lnTo>
                  <a:lnTo>
                    <a:pt x="9307" y="17997"/>
                  </a:lnTo>
                  <a:lnTo>
                    <a:pt x="11744" y="17389"/>
                  </a:lnTo>
                  <a:lnTo>
                    <a:pt x="13751" y="17389"/>
                  </a:lnTo>
                  <a:lnTo>
                    <a:pt x="15873" y="16529"/>
                  </a:lnTo>
                  <a:lnTo>
                    <a:pt x="18822" y="16207"/>
                  </a:lnTo>
                  <a:lnTo>
                    <a:pt x="20342" y="15240"/>
                  </a:lnTo>
                  <a:lnTo>
                    <a:pt x="21600" y="14632"/>
                  </a:lnTo>
                  <a:lnTo>
                    <a:pt x="18847" y="11235"/>
                  </a:lnTo>
                  <a:lnTo>
                    <a:pt x="17711" y="9945"/>
                  </a:lnTo>
                  <a:lnTo>
                    <a:pt x="15740" y="9095"/>
                  </a:lnTo>
                  <a:lnTo>
                    <a:pt x="13625" y="8379"/>
                  </a:lnTo>
                  <a:lnTo>
                    <a:pt x="12948" y="7206"/>
                  </a:lnTo>
                  <a:cubicBezTo>
                    <a:pt x="12674" y="6625"/>
                    <a:pt x="12582" y="5938"/>
                    <a:pt x="12690" y="5277"/>
                  </a:cubicBezTo>
                  <a:cubicBezTo>
                    <a:pt x="12841" y="4349"/>
                    <a:pt x="13359" y="3580"/>
                    <a:pt x="14066" y="3237"/>
                  </a:cubicBezTo>
                  <a:cubicBezTo>
                    <a:pt x="14497" y="2942"/>
                    <a:pt x="14876" y="2541"/>
                    <a:pt x="15181" y="2059"/>
                  </a:cubicBezTo>
                  <a:cubicBezTo>
                    <a:pt x="15444" y="1642"/>
                    <a:pt x="15646" y="1171"/>
                    <a:pt x="15779" y="667"/>
                  </a:cubicBezTo>
                  <a:lnTo>
                    <a:pt x="15098" y="0"/>
                  </a:lnTo>
                  <a:lnTo>
                    <a:pt x="13617" y="713"/>
                  </a:lnTo>
                  <a:close/>
                </a:path>
              </a:pathLst>
            </a:custGeom>
            <a:grpFill/>
            <a:ln w="25400" cap="flat">
              <a:noFill/>
              <a:prstDash val="solid"/>
              <a:miter lim="400000"/>
            </a:ln>
            <a:effectLst/>
          </p:spPr>
          <p:txBody>
            <a:bodyPr anchor="ctr"/>
            <a:lstStyle/>
            <a:p>
              <a:pPr algn="ctr"/>
              <a:endParaRPr/>
            </a:p>
          </p:txBody>
        </p:sp>
        <p:sp>
          <p:nvSpPr>
            <p:cNvPr id="25" name="iṧ1idê">
              <a:extLst>
                <a:ext uri="{FF2B5EF4-FFF2-40B4-BE49-F238E27FC236}">
                  <a16:creationId xmlns="" xmlns:p14="http://schemas.microsoft.com/office/powerpoint/2010/main" xmlns:a16="http://schemas.microsoft.com/office/drawing/2014/main" id="{2FC7C7D3-3D5A-4B25-B8C4-65DFEC339CFF}"/>
                </a:ext>
              </a:extLst>
            </p:cNvPr>
            <p:cNvSpPr/>
            <p:nvPr/>
          </p:nvSpPr>
          <p:spPr>
            <a:xfrm>
              <a:off x="3443720" y="2870076"/>
              <a:ext cx="43114" cy="31522"/>
            </a:xfrm>
            <a:custGeom>
              <a:avLst/>
              <a:gdLst/>
              <a:ahLst/>
              <a:cxnLst>
                <a:cxn ang="0">
                  <a:pos x="wd2" y="hd2"/>
                </a:cxn>
                <a:cxn ang="5400000">
                  <a:pos x="wd2" y="hd2"/>
                </a:cxn>
                <a:cxn ang="10800000">
                  <a:pos x="wd2" y="hd2"/>
                </a:cxn>
                <a:cxn ang="16200000">
                  <a:pos x="wd2" y="hd2"/>
                </a:cxn>
              </a:cxnLst>
              <a:rect l="0" t="0" r="r" b="b"/>
              <a:pathLst>
                <a:path w="21600" h="21600" extrusionOk="0">
                  <a:moveTo>
                    <a:pt x="9449" y="0"/>
                  </a:moveTo>
                  <a:lnTo>
                    <a:pt x="4511" y="2596"/>
                  </a:lnTo>
                  <a:lnTo>
                    <a:pt x="0" y="15912"/>
                  </a:lnTo>
                  <a:lnTo>
                    <a:pt x="12679" y="21600"/>
                  </a:lnTo>
                  <a:lnTo>
                    <a:pt x="21600" y="12688"/>
                  </a:lnTo>
                  <a:lnTo>
                    <a:pt x="9449" y="0"/>
                  </a:lnTo>
                  <a:close/>
                </a:path>
              </a:pathLst>
            </a:custGeom>
            <a:grpFill/>
            <a:ln w="25400" cap="flat">
              <a:noFill/>
              <a:prstDash val="solid"/>
              <a:miter lim="400000"/>
            </a:ln>
            <a:effectLst/>
          </p:spPr>
          <p:txBody>
            <a:bodyPr anchor="ctr"/>
            <a:lstStyle/>
            <a:p>
              <a:pPr algn="ctr"/>
              <a:endParaRPr/>
            </a:p>
          </p:txBody>
        </p:sp>
        <p:sp>
          <p:nvSpPr>
            <p:cNvPr id="26" name="ïSḻîḑe">
              <a:extLst>
                <a:ext uri="{FF2B5EF4-FFF2-40B4-BE49-F238E27FC236}">
                  <a16:creationId xmlns="" xmlns:p14="http://schemas.microsoft.com/office/powerpoint/2010/main" xmlns:a16="http://schemas.microsoft.com/office/drawing/2014/main" id="{BA499F17-EDE7-4A01-859E-F3ED34209FB3}"/>
                </a:ext>
              </a:extLst>
            </p:cNvPr>
            <p:cNvSpPr/>
            <p:nvPr/>
          </p:nvSpPr>
          <p:spPr>
            <a:xfrm>
              <a:off x="2721842" y="3238975"/>
              <a:ext cx="336007" cy="120179"/>
            </a:xfrm>
            <a:custGeom>
              <a:avLst/>
              <a:gdLst/>
              <a:ahLst/>
              <a:cxnLst>
                <a:cxn ang="0">
                  <a:pos x="wd2" y="hd2"/>
                </a:cxn>
                <a:cxn ang="5400000">
                  <a:pos x="wd2" y="hd2"/>
                </a:cxn>
                <a:cxn ang="10800000">
                  <a:pos x="wd2" y="hd2"/>
                </a:cxn>
                <a:cxn ang="16200000">
                  <a:pos x="wd2" y="hd2"/>
                </a:cxn>
              </a:cxnLst>
              <a:rect l="0" t="0" r="r" b="b"/>
              <a:pathLst>
                <a:path w="21600" h="21424" extrusionOk="0">
                  <a:moveTo>
                    <a:pt x="6693" y="0"/>
                  </a:moveTo>
                  <a:lnTo>
                    <a:pt x="3994" y="298"/>
                  </a:lnTo>
                  <a:lnTo>
                    <a:pt x="1905" y="1849"/>
                  </a:lnTo>
                  <a:lnTo>
                    <a:pt x="0" y="4685"/>
                  </a:lnTo>
                  <a:lnTo>
                    <a:pt x="3" y="8050"/>
                  </a:lnTo>
                  <a:lnTo>
                    <a:pt x="2136" y="6609"/>
                  </a:lnTo>
                  <a:lnTo>
                    <a:pt x="5761" y="4730"/>
                  </a:lnTo>
                  <a:lnTo>
                    <a:pt x="7958" y="6075"/>
                  </a:lnTo>
                  <a:lnTo>
                    <a:pt x="10066" y="8095"/>
                  </a:lnTo>
                  <a:lnTo>
                    <a:pt x="12698" y="10886"/>
                  </a:lnTo>
                  <a:lnTo>
                    <a:pt x="13431" y="13491"/>
                  </a:lnTo>
                  <a:lnTo>
                    <a:pt x="13576" y="16728"/>
                  </a:lnTo>
                  <a:lnTo>
                    <a:pt x="13202" y="18838"/>
                  </a:lnTo>
                  <a:lnTo>
                    <a:pt x="14379" y="19732"/>
                  </a:lnTo>
                  <a:lnTo>
                    <a:pt x="15587" y="19372"/>
                  </a:lnTo>
                  <a:lnTo>
                    <a:pt x="17041" y="19372"/>
                  </a:lnTo>
                  <a:lnTo>
                    <a:pt x="17973" y="20722"/>
                  </a:lnTo>
                  <a:cubicBezTo>
                    <a:pt x="18362" y="21404"/>
                    <a:pt x="18837" y="21600"/>
                    <a:pt x="19281" y="21263"/>
                  </a:cubicBezTo>
                  <a:cubicBezTo>
                    <a:pt x="19538" y="21068"/>
                    <a:pt x="19773" y="20698"/>
                    <a:pt x="19965" y="20188"/>
                  </a:cubicBezTo>
                  <a:lnTo>
                    <a:pt x="20995" y="19018"/>
                  </a:lnTo>
                  <a:lnTo>
                    <a:pt x="21584" y="18883"/>
                  </a:lnTo>
                  <a:lnTo>
                    <a:pt x="21600" y="16502"/>
                  </a:lnTo>
                  <a:lnTo>
                    <a:pt x="20145" y="14116"/>
                  </a:lnTo>
                  <a:cubicBezTo>
                    <a:pt x="19497" y="13439"/>
                    <a:pt x="18849" y="12764"/>
                    <a:pt x="18200" y="12091"/>
                  </a:cubicBezTo>
                  <a:cubicBezTo>
                    <a:pt x="17606" y="11474"/>
                    <a:pt x="17013" y="10859"/>
                    <a:pt x="16418" y="10245"/>
                  </a:cubicBezTo>
                  <a:lnTo>
                    <a:pt x="14034" y="5974"/>
                  </a:lnTo>
                  <a:lnTo>
                    <a:pt x="11880" y="2378"/>
                  </a:lnTo>
                  <a:lnTo>
                    <a:pt x="9839" y="1348"/>
                  </a:lnTo>
                  <a:lnTo>
                    <a:pt x="8476" y="678"/>
                  </a:lnTo>
                  <a:lnTo>
                    <a:pt x="6693" y="0"/>
                  </a:lnTo>
                  <a:close/>
                </a:path>
              </a:pathLst>
            </a:custGeom>
            <a:grpFill/>
            <a:ln w="25400" cap="flat">
              <a:noFill/>
              <a:prstDash val="solid"/>
              <a:miter lim="400000"/>
            </a:ln>
            <a:effectLst/>
          </p:spPr>
          <p:txBody>
            <a:bodyPr anchor="ctr"/>
            <a:lstStyle/>
            <a:p>
              <a:pPr algn="ctr"/>
              <a:endParaRPr/>
            </a:p>
          </p:txBody>
        </p:sp>
        <p:sp>
          <p:nvSpPr>
            <p:cNvPr id="27" name="ïşļïďè">
              <a:extLst>
                <a:ext uri="{FF2B5EF4-FFF2-40B4-BE49-F238E27FC236}">
                  <a16:creationId xmlns="" xmlns:p14="http://schemas.microsoft.com/office/powerpoint/2010/main" xmlns:a16="http://schemas.microsoft.com/office/drawing/2014/main" id="{4FC0A732-DF91-478F-A226-C08335DAC6D8}"/>
                </a:ext>
              </a:extLst>
            </p:cNvPr>
            <p:cNvSpPr/>
            <p:nvPr/>
          </p:nvSpPr>
          <p:spPr>
            <a:xfrm>
              <a:off x="3014633" y="3360630"/>
              <a:ext cx="222454" cy="69578"/>
            </a:xfrm>
            <a:custGeom>
              <a:avLst/>
              <a:gdLst/>
              <a:ahLst/>
              <a:cxnLst>
                <a:cxn ang="0">
                  <a:pos x="wd2" y="hd2"/>
                </a:cxn>
                <a:cxn ang="5400000">
                  <a:pos x="wd2" y="hd2"/>
                </a:cxn>
                <a:cxn ang="10800000">
                  <a:pos x="wd2" y="hd2"/>
                </a:cxn>
                <a:cxn ang="16200000">
                  <a:pos x="wd2" y="hd2"/>
                </a:cxn>
              </a:cxnLst>
              <a:rect l="0" t="0" r="r" b="b"/>
              <a:pathLst>
                <a:path w="21600" h="21321" extrusionOk="0">
                  <a:moveTo>
                    <a:pt x="8080" y="2346"/>
                  </a:moveTo>
                  <a:lnTo>
                    <a:pt x="7608" y="5248"/>
                  </a:lnTo>
                  <a:lnTo>
                    <a:pt x="9192" y="9941"/>
                  </a:lnTo>
                  <a:lnTo>
                    <a:pt x="8133" y="13268"/>
                  </a:lnTo>
                  <a:lnTo>
                    <a:pt x="6167" y="13491"/>
                  </a:lnTo>
                  <a:cubicBezTo>
                    <a:pt x="5337" y="12924"/>
                    <a:pt x="4494" y="12536"/>
                    <a:pt x="3646" y="12331"/>
                  </a:cubicBezTo>
                  <a:cubicBezTo>
                    <a:pt x="2705" y="12103"/>
                    <a:pt x="1759" y="12099"/>
                    <a:pt x="817" y="12321"/>
                  </a:cubicBezTo>
                  <a:lnTo>
                    <a:pt x="0" y="15310"/>
                  </a:lnTo>
                  <a:lnTo>
                    <a:pt x="1925" y="18019"/>
                  </a:lnTo>
                  <a:lnTo>
                    <a:pt x="4070" y="18251"/>
                  </a:lnTo>
                  <a:lnTo>
                    <a:pt x="5845" y="19877"/>
                  </a:lnTo>
                  <a:lnTo>
                    <a:pt x="7598" y="18329"/>
                  </a:lnTo>
                  <a:lnTo>
                    <a:pt x="9746" y="17400"/>
                  </a:lnTo>
                  <a:cubicBezTo>
                    <a:pt x="10130" y="18713"/>
                    <a:pt x="10602" y="19744"/>
                    <a:pt x="11128" y="20417"/>
                  </a:cubicBezTo>
                  <a:cubicBezTo>
                    <a:pt x="11927" y="21440"/>
                    <a:pt x="12812" y="21600"/>
                    <a:pt x="13644" y="20872"/>
                  </a:cubicBezTo>
                  <a:cubicBezTo>
                    <a:pt x="14104" y="19420"/>
                    <a:pt x="14627" y="18174"/>
                    <a:pt x="15196" y="17168"/>
                  </a:cubicBezTo>
                  <a:cubicBezTo>
                    <a:pt x="15866" y="15984"/>
                    <a:pt x="16591" y="15148"/>
                    <a:pt x="17341" y="14614"/>
                  </a:cubicBezTo>
                  <a:cubicBezTo>
                    <a:pt x="18005" y="14141"/>
                    <a:pt x="18684" y="13907"/>
                    <a:pt x="19365" y="13918"/>
                  </a:cubicBezTo>
                  <a:lnTo>
                    <a:pt x="20717" y="13841"/>
                  </a:lnTo>
                  <a:lnTo>
                    <a:pt x="21600" y="12215"/>
                  </a:lnTo>
                  <a:lnTo>
                    <a:pt x="21378" y="8984"/>
                  </a:lnTo>
                  <a:lnTo>
                    <a:pt x="19406" y="7282"/>
                  </a:lnTo>
                  <a:lnTo>
                    <a:pt x="18248" y="4350"/>
                  </a:lnTo>
                  <a:lnTo>
                    <a:pt x="15434" y="1333"/>
                  </a:lnTo>
                  <a:lnTo>
                    <a:pt x="12671" y="459"/>
                  </a:lnTo>
                  <a:lnTo>
                    <a:pt x="10801" y="0"/>
                  </a:lnTo>
                  <a:lnTo>
                    <a:pt x="9496" y="697"/>
                  </a:lnTo>
                  <a:lnTo>
                    <a:pt x="8080" y="2346"/>
                  </a:lnTo>
                  <a:close/>
                </a:path>
              </a:pathLst>
            </a:custGeom>
            <a:grpFill/>
            <a:ln w="25400" cap="flat">
              <a:noFill/>
              <a:prstDash val="solid"/>
              <a:miter lim="400000"/>
            </a:ln>
            <a:effectLst/>
          </p:spPr>
          <p:txBody>
            <a:bodyPr anchor="ctr"/>
            <a:lstStyle/>
            <a:p>
              <a:pPr algn="ctr"/>
              <a:endParaRPr/>
            </a:p>
          </p:txBody>
        </p:sp>
        <p:sp>
          <p:nvSpPr>
            <p:cNvPr id="28" name="ïṩliḓè">
              <a:extLst>
                <a:ext uri="{FF2B5EF4-FFF2-40B4-BE49-F238E27FC236}">
                  <a16:creationId xmlns="" xmlns:p14="http://schemas.microsoft.com/office/powerpoint/2010/main" xmlns:a16="http://schemas.microsoft.com/office/drawing/2014/main" id="{31BFF967-16B4-4465-97EB-3E25E86623AF}"/>
                </a:ext>
              </a:extLst>
            </p:cNvPr>
            <p:cNvSpPr/>
            <p:nvPr/>
          </p:nvSpPr>
          <p:spPr>
            <a:xfrm>
              <a:off x="2895033" y="3401778"/>
              <a:ext cx="72795" cy="30633"/>
            </a:xfrm>
            <a:custGeom>
              <a:avLst/>
              <a:gdLst/>
              <a:ahLst/>
              <a:cxnLst>
                <a:cxn ang="0">
                  <a:pos x="wd2" y="hd2"/>
                </a:cxn>
                <a:cxn ang="5400000">
                  <a:pos x="wd2" y="hd2"/>
                </a:cxn>
                <a:cxn ang="10800000">
                  <a:pos x="wd2" y="hd2"/>
                </a:cxn>
                <a:cxn ang="16200000">
                  <a:pos x="wd2" y="hd2"/>
                </a:cxn>
              </a:cxnLst>
              <a:rect l="0" t="0" r="r" b="b"/>
              <a:pathLst>
                <a:path w="21600" h="21600" extrusionOk="0">
                  <a:moveTo>
                    <a:pt x="9960" y="778"/>
                  </a:moveTo>
                  <a:lnTo>
                    <a:pt x="5952" y="0"/>
                  </a:lnTo>
                  <a:lnTo>
                    <a:pt x="0" y="4529"/>
                  </a:lnTo>
                  <a:lnTo>
                    <a:pt x="4023" y="14144"/>
                  </a:lnTo>
                  <a:lnTo>
                    <a:pt x="9924" y="18396"/>
                  </a:lnTo>
                  <a:lnTo>
                    <a:pt x="16715" y="21600"/>
                  </a:lnTo>
                  <a:lnTo>
                    <a:pt x="21157" y="18240"/>
                  </a:lnTo>
                  <a:lnTo>
                    <a:pt x="21600" y="11139"/>
                  </a:lnTo>
                  <a:lnTo>
                    <a:pt x="17129" y="5862"/>
                  </a:lnTo>
                  <a:lnTo>
                    <a:pt x="14054" y="2835"/>
                  </a:lnTo>
                  <a:lnTo>
                    <a:pt x="9960" y="778"/>
                  </a:lnTo>
                  <a:close/>
                </a:path>
              </a:pathLst>
            </a:custGeom>
            <a:grpFill/>
            <a:ln w="25400" cap="flat">
              <a:noFill/>
              <a:prstDash val="solid"/>
              <a:miter lim="400000"/>
            </a:ln>
            <a:effectLst/>
          </p:spPr>
          <p:txBody>
            <a:bodyPr anchor="ctr"/>
            <a:lstStyle/>
            <a:p>
              <a:pPr algn="ctr"/>
              <a:endParaRPr/>
            </a:p>
          </p:txBody>
        </p:sp>
        <p:sp>
          <p:nvSpPr>
            <p:cNvPr id="29" name="ïṥļïḍé">
              <a:extLst>
                <a:ext uri="{FF2B5EF4-FFF2-40B4-BE49-F238E27FC236}">
                  <a16:creationId xmlns="" xmlns:p14="http://schemas.microsoft.com/office/powerpoint/2010/main" xmlns:a16="http://schemas.microsoft.com/office/drawing/2014/main" id="{5217F08F-DBAE-4006-8A03-66D549042577}"/>
                </a:ext>
              </a:extLst>
            </p:cNvPr>
            <p:cNvSpPr/>
            <p:nvPr/>
          </p:nvSpPr>
          <p:spPr>
            <a:xfrm>
              <a:off x="3271035" y="3400703"/>
              <a:ext cx="56091" cy="29497"/>
            </a:xfrm>
            <a:custGeom>
              <a:avLst/>
              <a:gdLst/>
              <a:ahLst/>
              <a:cxnLst>
                <a:cxn ang="0">
                  <a:pos x="wd2" y="hd2"/>
                </a:cxn>
                <a:cxn ang="5400000">
                  <a:pos x="wd2" y="hd2"/>
                </a:cxn>
                <a:cxn ang="10800000">
                  <a:pos x="wd2" y="hd2"/>
                </a:cxn>
                <a:cxn ang="16200000">
                  <a:pos x="wd2" y="hd2"/>
                </a:cxn>
              </a:cxnLst>
              <a:rect l="0" t="0" r="r" b="b"/>
              <a:pathLst>
                <a:path w="21600" h="21600" extrusionOk="0">
                  <a:moveTo>
                    <a:pt x="12717" y="0"/>
                  </a:moveTo>
                  <a:lnTo>
                    <a:pt x="6904" y="785"/>
                  </a:lnTo>
                  <a:lnTo>
                    <a:pt x="2619" y="2158"/>
                  </a:lnTo>
                  <a:lnTo>
                    <a:pt x="0" y="9325"/>
                  </a:lnTo>
                  <a:lnTo>
                    <a:pt x="1145" y="14597"/>
                  </a:lnTo>
                  <a:cubicBezTo>
                    <a:pt x="2957" y="16107"/>
                    <a:pt x="4818" y="17397"/>
                    <a:pt x="6717" y="18458"/>
                  </a:cubicBezTo>
                  <a:cubicBezTo>
                    <a:pt x="9466" y="19994"/>
                    <a:pt x="12285" y="21046"/>
                    <a:pt x="15138" y="21600"/>
                  </a:cubicBezTo>
                  <a:lnTo>
                    <a:pt x="21600" y="11985"/>
                  </a:lnTo>
                  <a:lnTo>
                    <a:pt x="18686" y="4286"/>
                  </a:lnTo>
                  <a:lnTo>
                    <a:pt x="12717" y="0"/>
                  </a:lnTo>
                  <a:close/>
                </a:path>
              </a:pathLst>
            </a:custGeom>
            <a:grpFill/>
            <a:ln w="25400" cap="flat">
              <a:noFill/>
              <a:prstDash val="solid"/>
              <a:miter lim="400000"/>
            </a:ln>
            <a:effectLst/>
          </p:spPr>
          <p:txBody>
            <a:bodyPr anchor="ctr"/>
            <a:lstStyle/>
            <a:p>
              <a:pPr algn="ctr"/>
              <a:endParaRPr/>
            </a:p>
          </p:txBody>
        </p:sp>
        <p:sp>
          <p:nvSpPr>
            <p:cNvPr id="30" name="iśḷîḑê">
              <a:extLst>
                <a:ext uri="{FF2B5EF4-FFF2-40B4-BE49-F238E27FC236}">
                  <a16:creationId xmlns="" xmlns:p14="http://schemas.microsoft.com/office/powerpoint/2010/main" xmlns:a16="http://schemas.microsoft.com/office/drawing/2014/main" id="{4771D347-91AE-4B4C-A3E5-D65185464230}"/>
                </a:ext>
              </a:extLst>
            </p:cNvPr>
            <p:cNvSpPr/>
            <p:nvPr/>
          </p:nvSpPr>
          <p:spPr>
            <a:xfrm>
              <a:off x="3099915" y="3243765"/>
              <a:ext cx="48677" cy="29627"/>
            </a:xfrm>
            <a:custGeom>
              <a:avLst/>
              <a:gdLst/>
              <a:ahLst/>
              <a:cxnLst>
                <a:cxn ang="0">
                  <a:pos x="wd2" y="hd2"/>
                </a:cxn>
                <a:cxn ang="5400000">
                  <a:pos x="wd2" y="hd2"/>
                </a:cxn>
                <a:cxn ang="10800000">
                  <a:pos x="wd2" y="hd2"/>
                </a:cxn>
                <a:cxn ang="16200000">
                  <a:pos x="wd2" y="hd2"/>
                </a:cxn>
              </a:cxnLst>
              <a:rect l="0" t="0" r="r" b="b"/>
              <a:pathLst>
                <a:path w="21600" h="21600" extrusionOk="0">
                  <a:moveTo>
                    <a:pt x="10591" y="2096"/>
                  </a:moveTo>
                  <a:lnTo>
                    <a:pt x="5726" y="2074"/>
                  </a:lnTo>
                  <a:lnTo>
                    <a:pt x="0" y="12257"/>
                  </a:lnTo>
                  <a:lnTo>
                    <a:pt x="3941" y="21600"/>
                  </a:lnTo>
                  <a:lnTo>
                    <a:pt x="9231" y="16101"/>
                  </a:lnTo>
                  <a:lnTo>
                    <a:pt x="15549" y="13362"/>
                  </a:lnTo>
                  <a:lnTo>
                    <a:pt x="21600" y="7815"/>
                  </a:lnTo>
                  <a:lnTo>
                    <a:pt x="20020" y="727"/>
                  </a:lnTo>
                  <a:lnTo>
                    <a:pt x="15874" y="0"/>
                  </a:lnTo>
                  <a:lnTo>
                    <a:pt x="10591" y="2096"/>
                  </a:lnTo>
                  <a:close/>
                </a:path>
              </a:pathLst>
            </a:custGeom>
            <a:grpFill/>
            <a:ln w="25400" cap="flat">
              <a:noFill/>
              <a:prstDash val="solid"/>
              <a:miter lim="400000"/>
            </a:ln>
            <a:effectLst/>
          </p:spPr>
          <p:txBody>
            <a:bodyPr anchor="ctr"/>
            <a:lstStyle/>
            <a:p>
              <a:pPr algn="ctr"/>
              <a:endParaRPr/>
            </a:p>
          </p:txBody>
        </p:sp>
        <p:sp>
          <p:nvSpPr>
            <p:cNvPr id="31" name="ïşḻiḍê">
              <a:extLst>
                <a:ext uri="{FF2B5EF4-FFF2-40B4-BE49-F238E27FC236}">
                  <a16:creationId xmlns="" xmlns:p14="http://schemas.microsoft.com/office/powerpoint/2010/main" xmlns:a16="http://schemas.microsoft.com/office/drawing/2014/main" id="{A6E5D4E5-3736-418D-9570-085F848955E4}"/>
                </a:ext>
              </a:extLst>
            </p:cNvPr>
            <p:cNvSpPr/>
            <p:nvPr/>
          </p:nvSpPr>
          <p:spPr>
            <a:xfrm>
              <a:off x="3040202" y="3273501"/>
              <a:ext cx="39982" cy="19197"/>
            </a:xfrm>
            <a:custGeom>
              <a:avLst/>
              <a:gdLst/>
              <a:ahLst/>
              <a:cxnLst>
                <a:cxn ang="0">
                  <a:pos x="wd2" y="hd2"/>
                </a:cxn>
                <a:cxn ang="5400000">
                  <a:pos x="wd2" y="hd2"/>
                </a:cxn>
                <a:cxn ang="10800000">
                  <a:pos x="wd2" y="hd2"/>
                </a:cxn>
                <a:cxn ang="16200000">
                  <a:pos x="wd2" y="hd2"/>
                </a:cxn>
              </a:cxnLst>
              <a:rect l="0" t="0" r="r" b="b"/>
              <a:pathLst>
                <a:path w="21600" h="21600" extrusionOk="0">
                  <a:moveTo>
                    <a:pt x="13268" y="0"/>
                  </a:moveTo>
                  <a:lnTo>
                    <a:pt x="6280" y="4263"/>
                  </a:lnTo>
                  <a:lnTo>
                    <a:pt x="0" y="14496"/>
                  </a:lnTo>
                  <a:lnTo>
                    <a:pt x="4170" y="17941"/>
                  </a:lnTo>
                  <a:lnTo>
                    <a:pt x="13786" y="19078"/>
                  </a:lnTo>
                  <a:lnTo>
                    <a:pt x="21583" y="21600"/>
                  </a:lnTo>
                  <a:lnTo>
                    <a:pt x="21600" y="6005"/>
                  </a:lnTo>
                  <a:lnTo>
                    <a:pt x="13268" y="0"/>
                  </a:lnTo>
                  <a:close/>
                </a:path>
              </a:pathLst>
            </a:custGeom>
            <a:grpFill/>
            <a:ln w="25400" cap="flat">
              <a:noFill/>
              <a:prstDash val="solid"/>
              <a:miter lim="400000"/>
            </a:ln>
            <a:effectLst/>
          </p:spPr>
          <p:txBody>
            <a:bodyPr anchor="ctr"/>
            <a:lstStyle/>
            <a:p>
              <a:pPr algn="ctr"/>
              <a:endParaRPr/>
            </a:p>
          </p:txBody>
        </p:sp>
        <p:sp>
          <p:nvSpPr>
            <p:cNvPr id="32" name="iŝľíḑe">
              <a:extLst>
                <a:ext uri="{FF2B5EF4-FFF2-40B4-BE49-F238E27FC236}">
                  <a16:creationId xmlns="" xmlns:p14="http://schemas.microsoft.com/office/powerpoint/2010/main" xmlns:a16="http://schemas.microsoft.com/office/drawing/2014/main" id="{E271C586-03BA-433F-863D-15B3581484F5}"/>
                </a:ext>
              </a:extLst>
            </p:cNvPr>
            <p:cNvSpPr/>
            <p:nvPr/>
          </p:nvSpPr>
          <p:spPr>
            <a:xfrm>
              <a:off x="2935381" y="3141153"/>
              <a:ext cx="28333" cy="52676"/>
            </a:xfrm>
            <a:custGeom>
              <a:avLst/>
              <a:gdLst/>
              <a:ahLst/>
              <a:cxnLst>
                <a:cxn ang="0">
                  <a:pos x="wd2" y="hd2"/>
                </a:cxn>
                <a:cxn ang="5400000">
                  <a:pos x="wd2" y="hd2"/>
                </a:cxn>
                <a:cxn ang="10800000">
                  <a:pos x="wd2" y="hd2"/>
                </a:cxn>
                <a:cxn ang="16200000">
                  <a:pos x="wd2" y="hd2"/>
                </a:cxn>
              </a:cxnLst>
              <a:rect l="0" t="0" r="r" b="b"/>
              <a:pathLst>
                <a:path w="21600" h="21600" extrusionOk="0">
                  <a:moveTo>
                    <a:pt x="6366" y="0"/>
                  </a:moveTo>
                  <a:lnTo>
                    <a:pt x="15" y="2162"/>
                  </a:lnTo>
                  <a:lnTo>
                    <a:pt x="9987" y="9811"/>
                  </a:lnTo>
                  <a:lnTo>
                    <a:pt x="0" y="12733"/>
                  </a:lnTo>
                  <a:lnTo>
                    <a:pt x="12126" y="20150"/>
                  </a:lnTo>
                  <a:lnTo>
                    <a:pt x="19276" y="21600"/>
                  </a:lnTo>
                  <a:lnTo>
                    <a:pt x="21600" y="16009"/>
                  </a:lnTo>
                  <a:lnTo>
                    <a:pt x="14089" y="12940"/>
                  </a:lnTo>
                  <a:lnTo>
                    <a:pt x="16973" y="9329"/>
                  </a:lnTo>
                  <a:lnTo>
                    <a:pt x="16973" y="1873"/>
                  </a:lnTo>
                  <a:lnTo>
                    <a:pt x="6366" y="0"/>
                  </a:lnTo>
                  <a:close/>
                </a:path>
              </a:pathLst>
            </a:custGeom>
            <a:grpFill/>
            <a:ln w="25400" cap="flat">
              <a:noFill/>
              <a:prstDash val="solid"/>
              <a:miter lim="400000"/>
            </a:ln>
            <a:effectLst/>
          </p:spPr>
          <p:txBody>
            <a:bodyPr anchor="ctr"/>
            <a:lstStyle/>
            <a:p>
              <a:pPr algn="ctr"/>
              <a:endParaRPr/>
            </a:p>
          </p:txBody>
        </p:sp>
        <p:sp>
          <p:nvSpPr>
            <p:cNvPr id="33" name="íṩľíḍé">
              <a:extLst>
                <a:ext uri="{FF2B5EF4-FFF2-40B4-BE49-F238E27FC236}">
                  <a16:creationId xmlns="" xmlns:p14="http://schemas.microsoft.com/office/powerpoint/2010/main" xmlns:a16="http://schemas.microsoft.com/office/drawing/2014/main" id="{0E1FC190-E0FC-44DA-804A-1B70A43BE8C3}"/>
                </a:ext>
              </a:extLst>
            </p:cNvPr>
            <p:cNvSpPr/>
            <p:nvPr/>
          </p:nvSpPr>
          <p:spPr>
            <a:xfrm>
              <a:off x="2937717" y="3092070"/>
              <a:ext cx="33856" cy="34429"/>
            </a:xfrm>
            <a:custGeom>
              <a:avLst/>
              <a:gdLst/>
              <a:ahLst/>
              <a:cxnLst>
                <a:cxn ang="0">
                  <a:pos x="wd2" y="hd2"/>
                </a:cxn>
                <a:cxn ang="5400000">
                  <a:pos x="wd2" y="hd2"/>
                </a:cxn>
                <a:cxn ang="10800000">
                  <a:pos x="wd2" y="hd2"/>
                </a:cxn>
                <a:cxn ang="16200000">
                  <a:pos x="wd2" y="hd2"/>
                </a:cxn>
              </a:cxnLst>
              <a:rect l="0" t="0" r="r" b="b"/>
              <a:pathLst>
                <a:path w="21600" h="21600" extrusionOk="0">
                  <a:moveTo>
                    <a:pt x="2939" y="3032"/>
                  </a:moveTo>
                  <a:lnTo>
                    <a:pt x="13971" y="0"/>
                  </a:lnTo>
                  <a:lnTo>
                    <a:pt x="21600" y="3050"/>
                  </a:lnTo>
                  <a:lnTo>
                    <a:pt x="17401" y="7736"/>
                  </a:lnTo>
                  <a:lnTo>
                    <a:pt x="11620" y="11520"/>
                  </a:lnTo>
                  <a:lnTo>
                    <a:pt x="10649" y="17817"/>
                  </a:lnTo>
                  <a:lnTo>
                    <a:pt x="3854" y="21600"/>
                  </a:lnTo>
                  <a:lnTo>
                    <a:pt x="0" y="19243"/>
                  </a:lnTo>
                  <a:lnTo>
                    <a:pt x="2779" y="14669"/>
                  </a:lnTo>
                  <a:lnTo>
                    <a:pt x="6081" y="9182"/>
                  </a:lnTo>
                  <a:lnTo>
                    <a:pt x="2939" y="3032"/>
                  </a:lnTo>
                  <a:close/>
                </a:path>
              </a:pathLst>
            </a:custGeom>
            <a:grpFill/>
            <a:ln w="25400" cap="flat">
              <a:noFill/>
              <a:prstDash val="solid"/>
              <a:miter lim="400000"/>
            </a:ln>
            <a:effectLst/>
          </p:spPr>
          <p:txBody>
            <a:bodyPr anchor="ctr"/>
            <a:lstStyle/>
            <a:p>
              <a:pPr algn="ctr"/>
              <a:endParaRPr/>
            </a:p>
          </p:txBody>
        </p:sp>
        <p:sp>
          <p:nvSpPr>
            <p:cNvPr id="34" name="î$1îdé">
              <a:extLst>
                <a:ext uri="{FF2B5EF4-FFF2-40B4-BE49-F238E27FC236}">
                  <a16:creationId xmlns="" xmlns:p14="http://schemas.microsoft.com/office/powerpoint/2010/main" xmlns:a16="http://schemas.microsoft.com/office/drawing/2014/main" id="{53B281F0-FC87-4719-9DCF-3017C8B53981}"/>
                </a:ext>
              </a:extLst>
            </p:cNvPr>
            <p:cNvSpPr/>
            <p:nvPr/>
          </p:nvSpPr>
          <p:spPr>
            <a:xfrm>
              <a:off x="2983567" y="3093648"/>
              <a:ext cx="25228" cy="36298"/>
            </a:xfrm>
            <a:custGeom>
              <a:avLst/>
              <a:gdLst/>
              <a:ahLst/>
              <a:cxnLst>
                <a:cxn ang="0">
                  <a:pos x="wd2" y="hd2"/>
                </a:cxn>
                <a:cxn ang="5400000">
                  <a:pos x="wd2" y="hd2"/>
                </a:cxn>
                <a:cxn ang="10800000">
                  <a:pos x="wd2" y="hd2"/>
                </a:cxn>
                <a:cxn ang="16200000">
                  <a:pos x="wd2" y="hd2"/>
                </a:cxn>
              </a:cxnLst>
              <a:rect l="0" t="0" r="r" b="b"/>
              <a:pathLst>
                <a:path w="21600" h="21600" extrusionOk="0">
                  <a:moveTo>
                    <a:pt x="9070" y="0"/>
                  </a:moveTo>
                  <a:lnTo>
                    <a:pt x="14242" y="3737"/>
                  </a:lnTo>
                  <a:lnTo>
                    <a:pt x="21600" y="9259"/>
                  </a:lnTo>
                  <a:lnTo>
                    <a:pt x="18987" y="16321"/>
                  </a:lnTo>
                  <a:lnTo>
                    <a:pt x="8344" y="21600"/>
                  </a:lnTo>
                  <a:lnTo>
                    <a:pt x="5690" y="16490"/>
                  </a:lnTo>
                  <a:lnTo>
                    <a:pt x="2563" y="11082"/>
                  </a:lnTo>
                  <a:lnTo>
                    <a:pt x="0" y="2684"/>
                  </a:lnTo>
                  <a:lnTo>
                    <a:pt x="9070" y="0"/>
                  </a:lnTo>
                  <a:close/>
                </a:path>
              </a:pathLst>
            </a:custGeom>
            <a:grpFill/>
            <a:ln w="25400" cap="flat">
              <a:noFill/>
              <a:prstDash val="solid"/>
              <a:miter lim="400000"/>
            </a:ln>
            <a:effectLst/>
          </p:spPr>
          <p:txBody>
            <a:bodyPr anchor="ctr"/>
            <a:lstStyle/>
            <a:p>
              <a:pPr algn="ctr"/>
              <a:endParaRPr/>
            </a:p>
          </p:txBody>
        </p:sp>
        <p:sp>
          <p:nvSpPr>
            <p:cNvPr id="35" name="işļiḑe">
              <a:extLst>
                <a:ext uri="{FF2B5EF4-FFF2-40B4-BE49-F238E27FC236}">
                  <a16:creationId xmlns="" xmlns:p14="http://schemas.microsoft.com/office/powerpoint/2010/main" xmlns:a16="http://schemas.microsoft.com/office/drawing/2014/main" id="{AB11BDB7-0DC5-4CF5-8168-4CDDB0899C86}"/>
                </a:ext>
              </a:extLst>
            </p:cNvPr>
            <p:cNvSpPr/>
            <p:nvPr/>
          </p:nvSpPr>
          <p:spPr>
            <a:xfrm>
              <a:off x="2959952" y="3134535"/>
              <a:ext cx="28911" cy="16360"/>
            </a:xfrm>
            <a:custGeom>
              <a:avLst/>
              <a:gdLst/>
              <a:ahLst/>
              <a:cxnLst>
                <a:cxn ang="0">
                  <a:pos x="wd2" y="hd2"/>
                </a:cxn>
                <a:cxn ang="5400000">
                  <a:pos x="wd2" y="hd2"/>
                </a:cxn>
                <a:cxn ang="10800000">
                  <a:pos x="wd2" y="hd2"/>
                </a:cxn>
                <a:cxn ang="16200000">
                  <a:pos x="wd2" y="hd2"/>
                </a:cxn>
              </a:cxnLst>
              <a:rect l="0" t="0" r="r" b="b"/>
              <a:pathLst>
                <a:path w="21600" h="21600" extrusionOk="0">
                  <a:moveTo>
                    <a:pt x="6041" y="0"/>
                  </a:moveTo>
                  <a:lnTo>
                    <a:pt x="13043" y="2762"/>
                  </a:lnTo>
                  <a:lnTo>
                    <a:pt x="21600" y="12283"/>
                  </a:lnTo>
                  <a:lnTo>
                    <a:pt x="16470" y="21600"/>
                  </a:lnTo>
                  <a:lnTo>
                    <a:pt x="5285" y="18232"/>
                  </a:lnTo>
                  <a:lnTo>
                    <a:pt x="0" y="10410"/>
                  </a:lnTo>
                  <a:lnTo>
                    <a:pt x="6041" y="0"/>
                  </a:lnTo>
                  <a:close/>
                </a:path>
              </a:pathLst>
            </a:custGeom>
            <a:grpFill/>
            <a:ln w="25400" cap="flat">
              <a:noFill/>
              <a:prstDash val="solid"/>
              <a:miter lim="400000"/>
            </a:ln>
            <a:effectLst/>
          </p:spPr>
          <p:txBody>
            <a:bodyPr anchor="ctr"/>
            <a:lstStyle/>
            <a:p>
              <a:pPr algn="ctr"/>
              <a:endParaRPr/>
            </a:p>
          </p:txBody>
        </p:sp>
        <p:sp>
          <p:nvSpPr>
            <p:cNvPr id="36" name="íśľîdê">
              <a:extLst>
                <a:ext uri="{FF2B5EF4-FFF2-40B4-BE49-F238E27FC236}">
                  <a16:creationId xmlns="" xmlns:p14="http://schemas.microsoft.com/office/powerpoint/2010/main" xmlns:a16="http://schemas.microsoft.com/office/drawing/2014/main" id="{FC3DEF75-5BAC-470F-9293-65DB0EAB2C25}"/>
                </a:ext>
              </a:extLst>
            </p:cNvPr>
            <p:cNvSpPr/>
            <p:nvPr/>
          </p:nvSpPr>
          <p:spPr>
            <a:xfrm>
              <a:off x="3029817" y="3184357"/>
              <a:ext cx="16360" cy="24826"/>
            </a:xfrm>
            <a:custGeom>
              <a:avLst/>
              <a:gdLst/>
              <a:ahLst/>
              <a:cxnLst>
                <a:cxn ang="0">
                  <a:pos x="wd2" y="hd2"/>
                </a:cxn>
                <a:cxn ang="5400000">
                  <a:pos x="wd2" y="hd2"/>
                </a:cxn>
                <a:cxn ang="10800000">
                  <a:pos x="wd2" y="hd2"/>
                </a:cxn>
                <a:cxn ang="16200000">
                  <a:pos x="wd2" y="hd2"/>
                </a:cxn>
              </a:cxnLst>
              <a:rect l="0" t="0" r="r" b="b"/>
              <a:pathLst>
                <a:path w="21600" h="21600" extrusionOk="0">
                  <a:moveTo>
                    <a:pt x="11704" y="0"/>
                  </a:moveTo>
                  <a:lnTo>
                    <a:pt x="0" y="5659"/>
                  </a:lnTo>
                  <a:lnTo>
                    <a:pt x="2963" y="18412"/>
                  </a:lnTo>
                  <a:lnTo>
                    <a:pt x="21600" y="21600"/>
                  </a:lnTo>
                  <a:lnTo>
                    <a:pt x="21600" y="6494"/>
                  </a:lnTo>
                  <a:lnTo>
                    <a:pt x="11704" y="0"/>
                  </a:lnTo>
                  <a:close/>
                </a:path>
              </a:pathLst>
            </a:custGeom>
            <a:grpFill/>
            <a:ln w="25400" cap="flat">
              <a:noFill/>
              <a:prstDash val="solid"/>
              <a:miter lim="400000"/>
            </a:ln>
            <a:effectLst/>
          </p:spPr>
          <p:txBody>
            <a:bodyPr anchor="ctr"/>
            <a:lstStyle/>
            <a:p>
              <a:pPr algn="ctr"/>
              <a:endParaRPr/>
            </a:p>
          </p:txBody>
        </p:sp>
        <p:sp>
          <p:nvSpPr>
            <p:cNvPr id="37" name="îṧ1íďê">
              <a:extLst>
                <a:ext uri="{FF2B5EF4-FFF2-40B4-BE49-F238E27FC236}">
                  <a16:creationId xmlns="" xmlns:p14="http://schemas.microsoft.com/office/powerpoint/2010/main" xmlns:a16="http://schemas.microsoft.com/office/drawing/2014/main" id="{EBCCA40A-109F-4238-A1E1-58BD7B1680B1}"/>
                </a:ext>
              </a:extLst>
            </p:cNvPr>
            <p:cNvSpPr/>
            <p:nvPr/>
          </p:nvSpPr>
          <p:spPr>
            <a:xfrm>
              <a:off x="3034154" y="3223970"/>
              <a:ext cx="25012" cy="16370"/>
            </a:xfrm>
            <a:custGeom>
              <a:avLst/>
              <a:gdLst/>
              <a:ahLst/>
              <a:cxnLst>
                <a:cxn ang="0">
                  <a:pos x="wd2" y="hd2"/>
                </a:cxn>
                <a:cxn ang="5400000">
                  <a:pos x="wd2" y="hd2"/>
                </a:cxn>
                <a:cxn ang="10800000">
                  <a:pos x="wd2" y="hd2"/>
                </a:cxn>
                <a:cxn ang="16200000">
                  <a:pos x="wd2" y="hd2"/>
                </a:cxn>
              </a:cxnLst>
              <a:rect l="0" t="0" r="r" b="b"/>
              <a:pathLst>
                <a:path w="21600" h="21600" extrusionOk="0">
                  <a:moveTo>
                    <a:pt x="17341" y="1756"/>
                  </a:moveTo>
                  <a:lnTo>
                    <a:pt x="5869" y="0"/>
                  </a:lnTo>
                  <a:lnTo>
                    <a:pt x="0" y="5101"/>
                  </a:lnTo>
                  <a:lnTo>
                    <a:pt x="11023" y="21600"/>
                  </a:lnTo>
                  <a:lnTo>
                    <a:pt x="21600" y="19642"/>
                  </a:lnTo>
                  <a:lnTo>
                    <a:pt x="17341" y="1756"/>
                  </a:lnTo>
                  <a:close/>
                </a:path>
              </a:pathLst>
            </a:custGeom>
            <a:grpFill/>
            <a:ln w="25400" cap="flat">
              <a:noFill/>
              <a:prstDash val="solid"/>
              <a:miter lim="400000"/>
            </a:ln>
            <a:effectLst/>
          </p:spPr>
          <p:txBody>
            <a:bodyPr anchor="ctr"/>
            <a:lstStyle/>
            <a:p>
              <a:pPr algn="ctr"/>
              <a:endParaRPr/>
            </a:p>
          </p:txBody>
        </p:sp>
        <p:sp>
          <p:nvSpPr>
            <p:cNvPr id="38" name="iṥḻîḍê">
              <a:extLst>
                <a:ext uri="{FF2B5EF4-FFF2-40B4-BE49-F238E27FC236}">
                  <a16:creationId xmlns="" xmlns:p14="http://schemas.microsoft.com/office/powerpoint/2010/main" xmlns:a16="http://schemas.microsoft.com/office/drawing/2014/main" id="{4C589202-D1CE-45D5-9272-D5A4D84140BF}"/>
                </a:ext>
              </a:extLst>
            </p:cNvPr>
            <p:cNvSpPr/>
            <p:nvPr/>
          </p:nvSpPr>
          <p:spPr>
            <a:xfrm>
              <a:off x="2785378" y="3359199"/>
              <a:ext cx="31691" cy="21151"/>
            </a:xfrm>
            <a:custGeom>
              <a:avLst/>
              <a:gdLst/>
              <a:ahLst/>
              <a:cxnLst>
                <a:cxn ang="0">
                  <a:pos x="wd2" y="hd2"/>
                </a:cxn>
                <a:cxn ang="5400000">
                  <a:pos x="wd2" y="hd2"/>
                </a:cxn>
                <a:cxn ang="10800000">
                  <a:pos x="wd2" y="hd2"/>
                </a:cxn>
                <a:cxn ang="16200000">
                  <a:pos x="wd2" y="hd2"/>
                </a:cxn>
              </a:cxnLst>
              <a:rect l="0" t="0" r="r" b="b"/>
              <a:pathLst>
                <a:path w="21600" h="21600" extrusionOk="0">
                  <a:moveTo>
                    <a:pt x="3640" y="1640"/>
                  </a:moveTo>
                  <a:lnTo>
                    <a:pt x="0" y="7796"/>
                  </a:lnTo>
                  <a:lnTo>
                    <a:pt x="2602" y="18763"/>
                  </a:lnTo>
                  <a:lnTo>
                    <a:pt x="14365" y="21600"/>
                  </a:lnTo>
                  <a:lnTo>
                    <a:pt x="21600" y="10799"/>
                  </a:lnTo>
                  <a:lnTo>
                    <a:pt x="12284" y="0"/>
                  </a:lnTo>
                  <a:lnTo>
                    <a:pt x="3640" y="1640"/>
                  </a:lnTo>
                  <a:close/>
                </a:path>
              </a:pathLst>
            </a:custGeom>
            <a:grpFill/>
            <a:ln w="25400" cap="flat">
              <a:noFill/>
              <a:prstDash val="solid"/>
              <a:miter lim="400000"/>
            </a:ln>
            <a:effectLst/>
          </p:spPr>
          <p:txBody>
            <a:bodyPr anchor="ctr"/>
            <a:lstStyle/>
            <a:p>
              <a:pPr algn="ctr"/>
              <a:endParaRPr/>
            </a:p>
          </p:txBody>
        </p:sp>
        <p:sp>
          <p:nvSpPr>
            <p:cNvPr id="39" name="íšḻiďè">
              <a:extLst>
                <a:ext uri="{FF2B5EF4-FFF2-40B4-BE49-F238E27FC236}">
                  <a16:creationId xmlns="" xmlns:p14="http://schemas.microsoft.com/office/powerpoint/2010/main" xmlns:a16="http://schemas.microsoft.com/office/drawing/2014/main" id="{1A5BD41E-74BF-4806-9F4E-E3794450C6F0}"/>
                </a:ext>
              </a:extLst>
            </p:cNvPr>
            <p:cNvSpPr/>
            <p:nvPr/>
          </p:nvSpPr>
          <p:spPr>
            <a:xfrm>
              <a:off x="3344267" y="3394292"/>
              <a:ext cx="33620" cy="20352"/>
            </a:xfrm>
            <a:custGeom>
              <a:avLst/>
              <a:gdLst/>
              <a:ahLst/>
              <a:cxnLst>
                <a:cxn ang="0">
                  <a:pos x="wd2" y="hd2"/>
                </a:cxn>
                <a:cxn ang="5400000">
                  <a:pos x="wd2" y="hd2"/>
                </a:cxn>
                <a:cxn ang="10800000">
                  <a:pos x="wd2" y="hd2"/>
                </a:cxn>
                <a:cxn ang="16200000">
                  <a:pos x="wd2" y="hd2"/>
                </a:cxn>
              </a:cxnLst>
              <a:rect l="0" t="0" r="r" b="b"/>
              <a:pathLst>
                <a:path w="21600" h="21600" extrusionOk="0">
                  <a:moveTo>
                    <a:pt x="13908" y="0"/>
                  </a:moveTo>
                  <a:lnTo>
                    <a:pt x="4923" y="5629"/>
                  </a:lnTo>
                  <a:lnTo>
                    <a:pt x="0" y="15233"/>
                  </a:lnTo>
                  <a:lnTo>
                    <a:pt x="11838" y="21600"/>
                  </a:lnTo>
                  <a:lnTo>
                    <a:pt x="21600" y="13561"/>
                  </a:lnTo>
                  <a:lnTo>
                    <a:pt x="13908" y="0"/>
                  </a:lnTo>
                  <a:close/>
                </a:path>
              </a:pathLst>
            </a:custGeom>
            <a:grpFill/>
            <a:ln w="25400" cap="flat">
              <a:noFill/>
              <a:prstDash val="solid"/>
              <a:miter lim="400000"/>
            </a:ln>
            <a:effectLst/>
          </p:spPr>
          <p:txBody>
            <a:bodyPr anchor="ctr"/>
            <a:lstStyle/>
            <a:p>
              <a:pPr algn="ctr"/>
              <a:endParaRPr/>
            </a:p>
          </p:txBody>
        </p:sp>
        <p:sp>
          <p:nvSpPr>
            <p:cNvPr id="40" name="ïśḻíďè">
              <a:extLst>
                <a:ext uri="{FF2B5EF4-FFF2-40B4-BE49-F238E27FC236}">
                  <a16:creationId xmlns="" xmlns:p14="http://schemas.microsoft.com/office/powerpoint/2010/main" xmlns:a16="http://schemas.microsoft.com/office/drawing/2014/main" id="{199CF178-873E-4527-912A-F0F7367A979F}"/>
                </a:ext>
              </a:extLst>
            </p:cNvPr>
            <p:cNvSpPr/>
            <p:nvPr/>
          </p:nvSpPr>
          <p:spPr>
            <a:xfrm>
              <a:off x="3331641" y="3425859"/>
              <a:ext cx="28455" cy="19036"/>
            </a:xfrm>
            <a:custGeom>
              <a:avLst/>
              <a:gdLst/>
              <a:ahLst/>
              <a:cxnLst>
                <a:cxn ang="0">
                  <a:pos x="wd2" y="hd2"/>
                </a:cxn>
                <a:cxn ang="5400000">
                  <a:pos x="wd2" y="hd2"/>
                </a:cxn>
                <a:cxn ang="10800000">
                  <a:pos x="wd2" y="hd2"/>
                </a:cxn>
                <a:cxn ang="16200000">
                  <a:pos x="wd2" y="hd2"/>
                </a:cxn>
              </a:cxnLst>
              <a:rect l="0" t="0" r="r" b="b"/>
              <a:pathLst>
                <a:path w="21600" h="21600" extrusionOk="0">
                  <a:moveTo>
                    <a:pt x="9631" y="0"/>
                  </a:moveTo>
                  <a:lnTo>
                    <a:pt x="0" y="4044"/>
                  </a:lnTo>
                  <a:lnTo>
                    <a:pt x="1813" y="14722"/>
                  </a:lnTo>
                  <a:lnTo>
                    <a:pt x="18125" y="21600"/>
                  </a:lnTo>
                  <a:lnTo>
                    <a:pt x="21600" y="6160"/>
                  </a:lnTo>
                  <a:lnTo>
                    <a:pt x="9631" y="0"/>
                  </a:lnTo>
                  <a:close/>
                </a:path>
              </a:pathLst>
            </a:custGeom>
            <a:grpFill/>
            <a:ln w="25400" cap="flat">
              <a:noFill/>
              <a:prstDash val="solid"/>
              <a:miter lim="400000"/>
            </a:ln>
            <a:effectLst/>
          </p:spPr>
          <p:txBody>
            <a:bodyPr anchor="ctr"/>
            <a:lstStyle/>
            <a:p>
              <a:pPr algn="ctr"/>
              <a:endParaRPr/>
            </a:p>
          </p:txBody>
        </p:sp>
        <p:sp>
          <p:nvSpPr>
            <p:cNvPr id="41" name="íšliḋè">
              <a:extLst>
                <a:ext uri="{FF2B5EF4-FFF2-40B4-BE49-F238E27FC236}">
                  <a16:creationId xmlns="" xmlns:p14="http://schemas.microsoft.com/office/powerpoint/2010/main" xmlns:a16="http://schemas.microsoft.com/office/drawing/2014/main" id="{B6AEE212-2C0F-45FF-AFDF-2A71F0C2E7C4}"/>
                </a:ext>
              </a:extLst>
            </p:cNvPr>
            <p:cNvSpPr/>
            <p:nvPr/>
          </p:nvSpPr>
          <p:spPr>
            <a:xfrm>
              <a:off x="3393321" y="3447981"/>
              <a:ext cx="35832" cy="22889"/>
            </a:xfrm>
            <a:custGeom>
              <a:avLst/>
              <a:gdLst/>
              <a:ahLst/>
              <a:cxnLst>
                <a:cxn ang="0">
                  <a:pos x="wd2" y="hd2"/>
                </a:cxn>
                <a:cxn ang="5400000">
                  <a:pos x="wd2" y="hd2"/>
                </a:cxn>
                <a:cxn ang="10800000">
                  <a:pos x="wd2" y="hd2"/>
                </a:cxn>
                <a:cxn ang="16200000">
                  <a:pos x="wd2" y="hd2"/>
                </a:cxn>
              </a:cxnLst>
              <a:rect l="0" t="0" r="r" b="b"/>
              <a:pathLst>
                <a:path w="21600" h="21600" extrusionOk="0">
                  <a:moveTo>
                    <a:pt x="11523" y="6376"/>
                  </a:moveTo>
                  <a:lnTo>
                    <a:pt x="4204" y="0"/>
                  </a:lnTo>
                  <a:lnTo>
                    <a:pt x="0" y="8047"/>
                  </a:lnTo>
                  <a:lnTo>
                    <a:pt x="10142" y="21600"/>
                  </a:lnTo>
                  <a:lnTo>
                    <a:pt x="18861" y="21123"/>
                  </a:lnTo>
                  <a:lnTo>
                    <a:pt x="21600" y="13528"/>
                  </a:lnTo>
                  <a:lnTo>
                    <a:pt x="16408" y="10012"/>
                  </a:lnTo>
                  <a:lnTo>
                    <a:pt x="11523" y="6376"/>
                  </a:lnTo>
                  <a:close/>
                </a:path>
              </a:pathLst>
            </a:custGeom>
            <a:grpFill/>
            <a:ln w="25400" cap="flat">
              <a:noFill/>
              <a:prstDash val="solid"/>
              <a:miter lim="400000"/>
            </a:ln>
            <a:effectLst/>
          </p:spPr>
          <p:txBody>
            <a:bodyPr anchor="ctr"/>
            <a:lstStyle/>
            <a:p>
              <a:pPr algn="ctr"/>
              <a:endParaRPr/>
            </a:p>
          </p:txBody>
        </p:sp>
        <p:sp>
          <p:nvSpPr>
            <p:cNvPr id="42" name="îšľíḓé">
              <a:extLst>
                <a:ext uri="{FF2B5EF4-FFF2-40B4-BE49-F238E27FC236}">
                  <a16:creationId xmlns="" xmlns:p14="http://schemas.microsoft.com/office/powerpoint/2010/main" xmlns:a16="http://schemas.microsoft.com/office/drawing/2014/main" id="{3B3D6884-12CE-48FB-BAA1-5E8FD7211384}"/>
                </a:ext>
              </a:extLst>
            </p:cNvPr>
            <p:cNvSpPr/>
            <p:nvPr/>
          </p:nvSpPr>
          <p:spPr>
            <a:xfrm>
              <a:off x="3434240" y="3430336"/>
              <a:ext cx="22284" cy="23522"/>
            </a:xfrm>
            <a:custGeom>
              <a:avLst/>
              <a:gdLst/>
              <a:ahLst/>
              <a:cxnLst>
                <a:cxn ang="0">
                  <a:pos x="wd2" y="hd2"/>
                </a:cxn>
                <a:cxn ang="5400000">
                  <a:pos x="wd2" y="hd2"/>
                </a:cxn>
                <a:cxn ang="10800000">
                  <a:pos x="wd2" y="hd2"/>
                </a:cxn>
                <a:cxn ang="16200000">
                  <a:pos x="wd2" y="hd2"/>
                </a:cxn>
              </a:cxnLst>
              <a:rect l="0" t="0" r="r" b="b"/>
              <a:pathLst>
                <a:path w="21600" h="21600" extrusionOk="0">
                  <a:moveTo>
                    <a:pt x="6626" y="0"/>
                  </a:moveTo>
                  <a:lnTo>
                    <a:pt x="20027" y="3450"/>
                  </a:lnTo>
                  <a:lnTo>
                    <a:pt x="21600" y="15366"/>
                  </a:lnTo>
                  <a:lnTo>
                    <a:pt x="15221" y="21600"/>
                  </a:lnTo>
                  <a:lnTo>
                    <a:pt x="10567" y="15424"/>
                  </a:lnTo>
                  <a:lnTo>
                    <a:pt x="0" y="9425"/>
                  </a:lnTo>
                  <a:lnTo>
                    <a:pt x="6626" y="0"/>
                  </a:lnTo>
                  <a:close/>
                </a:path>
              </a:pathLst>
            </a:custGeom>
            <a:grpFill/>
            <a:ln w="25400" cap="flat">
              <a:noFill/>
              <a:prstDash val="solid"/>
              <a:miter lim="400000"/>
            </a:ln>
            <a:effectLst/>
          </p:spPr>
          <p:txBody>
            <a:bodyPr anchor="ctr"/>
            <a:lstStyle/>
            <a:p>
              <a:pPr algn="ctr"/>
              <a:endParaRPr/>
            </a:p>
          </p:txBody>
        </p:sp>
        <p:sp>
          <p:nvSpPr>
            <p:cNvPr id="43" name="îśliḑé">
              <a:extLst>
                <a:ext uri="{FF2B5EF4-FFF2-40B4-BE49-F238E27FC236}">
                  <a16:creationId xmlns="" xmlns:p14="http://schemas.microsoft.com/office/powerpoint/2010/main" xmlns:a16="http://schemas.microsoft.com/office/drawing/2014/main" id="{89C8928C-C17C-4470-BF57-4208B877CE3A}"/>
                </a:ext>
              </a:extLst>
            </p:cNvPr>
            <p:cNvSpPr/>
            <p:nvPr/>
          </p:nvSpPr>
          <p:spPr>
            <a:xfrm>
              <a:off x="3386807" y="3401248"/>
              <a:ext cx="16360" cy="16360"/>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4009"/>
                  </a:lnTo>
                  <a:lnTo>
                    <a:pt x="4094" y="21600"/>
                  </a:lnTo>
                  <a:lnTo>
                    <a:pt x="19333" y="19457"/>
                  </a:lnTo>
                  <a:lnTo>
                    <a:pt x="21600" y="0"/>
                  </a:lnTo>
                  <a:close/>
                </a:path>
              </a:pathLst>
            </a:custGeom>
            <a:grpFill/>
            <a:ln w="25400" cap="flat">
              <a:noFill/>
              <a:prstDash val="solid"/>
              <a:miter lim="400000"/>
            </a:ln>
            <a:effectLst/>
          </p:spPr>
          <p:txBody>
            <a:bodyPr anchor="ctr"/>
            <a:lstStyle/>
            <a:p>
              <a:pPr algn="ctr"/>
              <a:endParaRPr/>
            </a:p>
          </p:txBody>
        </p:sp>
        <p:sp>
          <p:nvSpPr>
            <p:cNvPr id="44" name="îṣļîďé">
              <a:extLst>
                <a:ext uri="{FF2B5EF4-FFF2-40B4-BE49-F238E27FC236}">
                  <a16:creationId xmlns="" xmlns:p14="http://schemas.microsoft.com/office/powerpoint/2010/main" xmlns:a16="http://schemas.microsoft.com/office/drawing/2014/main" id="{2286530D-D7B5-4F59-A08F-A847A471BC88}"/>
                </a:ext>
              </a:extLst>
            </p:cNvPr>
            <p:cNvSpPr/>
            <p:nvPr/>
          </p:nvSpPr>
          <p:spPr>
            <a:xfrm>
              <a:off x="3471329" y="3432447"/>
              <a:ext cx="25215" cy="23805"/>
            </a:xfrm>
            <a:custGeom>
              <a:avLst/>
              <a:gdLst/>
              <a:ahLst/>
              <a:cxnLst>
                <a:cxn ang="0">
                  <a:pos x="wd2" y="hd2"/>
                </a:cxn>
                <a:cxn ang="5400000">
                  <a:pos x="wd2" y="hd2"/>
                </a:cxn>
                <a:cxn ang="10800000">
                  <a:pos x="wd2" y="hd2"/>
                </a:cxn>
                <a:cxn ang="16200000">
                  <a:pos x="wd2" y="hd2"/>
                </a:cxn>
              </a:cxnLst>
              <a:rect l="0" t="0" r="r" b="b"/>
              <a:pathLst>
                <a:path w="21600" h="21600" extrusionOk="0">
                  <a:moveTo>
                    <a:pt x="4658" y="0"/>
                  </a:moveTo>
                  <a:lnTo>
                    <a:pt x="0" y="6332"/>
                  </a:lnTo>
                  <a:lnTo>
                    <a:pt x="2862" y="20225"/>
                  </a:lnTo>
                  <a:lnTo>
                    <a:pt x="16398" y="21600"/>
                  </a:lnTo>
                  <a:lnTo>
                    <a:pt x="21600" y="13406"/>
                  </a:lnTo>
                  <a:lnTo>
                    <a:pt x="12259" y="9052"/>
                  </a:lnTo>
                  <a:lnTo>
                    <a:pt x="4658" y="0"/>
                  </a:lnTo>
                  <a:close/>
                </a:path>
              </a:pathLst>
            </a:custGeom>
            <a:grpFill/>
            <a:ln w="25400" cap="flat">
              <a:noFill/>
              <a:prstDash val="solid"/>
              <a:miter lim="400000"/>
            </a:ln>
            <a:effectLst/>
          </p:spPr>
          <p:txBody>
            <a:bodyPr anchor="ctr"/>
            <a:lstStyle/>
            <a:p>
              <a:pPr algn="ctr"/>
              <a:endParaRPr/>
            </a:p>
          </p:txBody>
        </p:sp>
        <p:sp>
          <p:nvSpPr>
            <p:cNvPr id="45" name="ísliḓé">
              <a:extLst>
                <a:ext uri="{FF2B5EF4-FFF2-40B4-BE49-F238E27FC236}">
                  <a16:creationId xmlns="" xmlns:p14="http://schemas.microsoft.com/office/powerpoint/2010/main" xmlns:a16="http://schemas.microsoft.com/office/drawing/2014/main" id="{EBF0EC3E-322F-435F-B921-BF0625DF1B3F}"/>
                </a:ext>
              </a:extLst>
            </p:cNvPr>
            <p:cNvSpPr/>
            <p:nvPr/>
          </p:nvSpPr>
          <p:spPr>
            <a:xfrm>
              <a:off x="3444546" y="3470941"/>
              <a:ext cx="16360" cy="16360"/>
            </a:xfrm>
            <a:custGeom>
              <a:avLst/>
              <a:gdLst/>
              <a:ahLst/>
              <a:cxnLst>
                <a:cxn ang="0">
                  <a:pos x="wd2" y="hd2"/>
                </a:cxn>
                <a:cxn ang="5400000">
                  <a:pos x="wd2" y="hd2"/>
                </a:cxn>
                <a:cxn ang="10800000">
                  <a:pos x="wd2" y="hd2"/>
                </a:cxn>
                <a:cxn ang="16200000">
                  <a:pos x="wd2" y="hd2"/>
                </a:cxn>
              </a:cxnLst>
              <a:rect l="0" t="0" r="r" b="b"/>
              <a:pathLst>
                <a:path w="21600" h="21600" extrusionOk="0">
                  <a:moveTo>
                    <a:pt x="12399" y="0"/>
                  </a:moveTo>
                  <a:lnTo>
                    <a:pt x="0" y="5671"/>
                  </a:lnTo>
                  <a:lnTo>
                    <a:pt x="2675" y="21600"/>
                  </a:lnTo>
                  <a:lnTo>
                    <a:pt x="21600" y="16063"/>
                  </a:lnTo>
                  <a:lnTo>
                    <a:pt x="12399" y="0"/>
                  </a:lnTo>
                  <a:close/>
                </a:path>
              </a:pathLst>
            </a:custGeom>
            <a:grpFill/>
            <a:ln w="25400" cap="flat">
              <a:noFill/>
              <a:prstDash val="solid"/>
              <a:miter lim="400000"/>
            </a:ln>
            <a:effectLst/>
          </p:spPr>
          <p:txBody>
            <a:bodyPr anchor="ctr"/>
            <a:lstStyle/>
            <a:p>
              <a:pPr algn="ctr"/>
              <a:endParaRPr/>
            </a:p>
          </p:txBody>
        </p:sp>
        <p:sp>
          <p:nvSpPr>
            <p:cNvPr id="46" name="i$ḻïḋe">
              <a:extLst>
                <a:ext uri="{FF2B5EF4-FFF2-40B4-BE49-F238E27FC236}">
                  <a16:creationId xmlns="" xmlns:p14="http://schemas.microsoft.com/office/powerpoint/2010/main" xmlns:a16="http://schemas.microsoft.com/office/drawing/2014/main" id="{498004F8-ED29-4342-B0F9-80D2F33672B3}"/>
                </a:ext>
              </a:extLst>
            </p:cNvPr>
            <p:cNvSpPr/>
            <p:nvPr/>
          </p:nvSpPr>
          <p:spPr>
            <a:xfrm>
              <a:off x="3474836" y="3472701"/>
              <a:ext cx="20827" cy="33622"/>
            </a:xfrm>
            <a:custGeom>
              <a:avLst/>
              <a:gdLst/>
              <a:ahLst/>
              <a:cxnLst>
                <a:cxn ang="0">
                  <a:pos x="wd2" y="hd2"/>
                </a:cxn>
                <a:cxn ang="5400000">
                  <a:pos x="wd2" y="hd2"/>
                </a:cxn>
                <a:cxn ang="10800000">
                  <a:pos x="wd2" y="hd2"/>
                </a:cxn>
                <a:cxn ang="16200000">
                  <a:pos x="wd2" y="hd2"/>
                </a:cxn>
              </a:cxnLst>
              <a:rect l="0" t="0" r="r" b="b"/>
              <a:pathLst>
                <a:path w="21600" h="21600" extrusionOk="0">
                  <a:moveTo>
                    <a:pt x="5991" y="1945"/>
                  </a:moveTo>
                  <a:lnTo>
                    <a:pt x="1244" y="7766"/>
                  </a:lnTo>
                  <a:lnTo>
                    <a:pt x="0" y="16103"/>
                  </a:lnTo>
                  <a:lnTo>
                    <a:pt x="7919" y="21600"/>
                  </a:lnTo>
                  <a:lnTo>
                    <a:pt x="15566" y="13365"/>
                  </a:lnTo>
                  <a:lnTo>
                    <a:pt x="21600" y="6755"/>
                  </a:lnTo>
                  <a:lnTo>
                    <a:pt x="18962" y="0"/>
                  </a:lnTo>
                  <a:lnTo>
                    <a:pt x="5991" y="1945"/>
                  </a:lnTo>
                  <a:close/>
                </a:path>
              </a:pathLst>
            </a:custGeom>
            <a:grpFill/>
            <a:ln w="25400" cap="flat">
              <a:noFill/>
              <a:prstDash val="solid"/>
              <a:miter lim="400000"/>
            </a:ln>
            <a:effectLst/>
          </p:spPr>
          <p:txBody>
            <a:bodyPr anchor="ctr"/>
            <a:lstStyle/>
            <a:p>
              <a:pPr algn="ctr"/>
              <a:endParaRPr/>
            </a:p>
          </p:txBody>
        </p:sp>
        <p:sp>
          <p:nvSpPr>
            <p:cNvPr id="47" name="îşlîďè">
              <a:extLst>
                <a:ext uri="{FF2B5EF4-FFF2-40B4-BE49-F238E27FC236}">
                  <a16:creationId xmlns="" xmlns:p14="http://schemas.microsoft.com/office/powerpoint/2010/main" xmlns:a16="http://schemas.microsoft.com/office/drawing/2014/main" id="{A554C945-91A5-4164-98DE-D90D922C9C36}"/>
                </a:ext>
              </a:extLst>
            </p:cNvPr>
            <p:cNvSpPr/>
            <p:nvPr/>
          </p:nvSpPr>
          <p:spPr>
            <a:xfrm>
              <a:off x="3486460" y="3511833"/>
              <a:ext cx="18556" cy="17467"/>
            </a:xfrm>
            <a:custGeom>
              <a:avLst/>
              <a:gdLst/>
              <a:ahLst/>
              <a:cxnLst>
                <a:cxn ang="0">
                  <a:pos x="wd2" y="hd2"/>
                </a:cxn>
                <a:cxn ang="5400000">
                  <a:pos x="wd2" y="hd2"/>
                </a:cxn>
                <a:cxn ang="10800000">
                  <a:pos x="wd2" y="hd2"/>
                </a:cxn>
                <a:cxn ang="16200000">
                  <a:pos x="wd2" y="hd2"/>
                </a:cxn>
              </a:cxnLst>
              <a:rect l="0" t="0" r="r" b="b"/>
              <a:pathLst>
                <a:path w="21600" h="21600" extrusionOk="0">
                  <a:moveTo>
                    <a:pt x="14469" y="0"/>
                  </a:moveTo>
                  <a:lnTo>
                    <a:pt x="4293" y="1913"/>
                  </a:lnTo>
                  <a:lnTo>
                    <a:pt x="0" y="13206"/>
                  </a:lnTo>
                  <a:lnTo>
                    <a:pt x="8574" y="21600"/>
                  </a:lnTo>
                  <a:lnTo>
                    <a:pt x="21600" y="15041"/>
                  </a:lnTo>
                  <a:lnTo>
                    <a:pt x="14469" y="0"/>
                  </a:lnTo>
                  <a:close/>
                </a:path>
              </a:pathLst>
            </a:custGeom>
            <a:grpFill/>
            <a:ln w="25400" cap="flat">
              <a:noFill/>
              <a:prstDash val="solid"/>
              <a:miter lim="400000"/>
            </a:ln>
            <a:effectLst/>
          </p:spPr>
          <p:txBody>
            <a:bodyPr anchor="ctr"/>
            <a:lstStyle/>
            <a:p>
              <a:pPr algn="ctr"/>
              <a:endParaRPr/>
            </a:p>
          </p:txBody>
        </p:sp>
        <p:sp>
          <p:nvSpPr>
            <p:cNvPr id="48" name="îš1íḑé">
              <a:extLst>
                <a:ext uri="{FF2B5EF4-FFF2-40B4-BE49-F238E27FC236}">
                  <a16:creationId xmlns="" xmlns:p14="http://schemas.microsoft.com/office/powerpoint/2010/main" xmlns:a16="http://schemas.microsoft.com/office/drawing/2014/main" id="{5B607F43-0725-4A01-840E-AF379AA267B9}"/>
                </a:ext>
              </a:extLst>
            </p:cNvPr>
            <p:cNvSpPr/>
            <p:nvPr/>
          </p:nvSpPr>
          <p:spPr>
            <a:xfrm>
              <a:off x="3201743" y="3611230"/>
              <a:ext cx="24821" cy="34310"/>
            </a:xfrm>
            <a:custGeom>
              <a:avLst/>
              <a:gdLst/>
              <a:ahLst/>
              <a:cxnLst>
                <a:cxn ang="0">
                  <a:pos x="wd2" y="hd2"/>
                </a:cxn>
                <a:cxn ang="5400000">
                  <a:pos x="wd2" y="hd2"/>
                </a:cxn>
                <a:cxn ang="10800000">
                  <a:pos x="wd2" y="hd2"/>
                </a:cxn>
                <a:cxn ang="16200000">
                  <a:pos x="wd2" y="hd2"/>
                </a:cxn>
              </a:cxnLst>
              <a:rect l="0" t="0" r="r" b="b"/>
              <a:pathLst>
                <a:path w="21600" h="21600" extrusionOk="0">
                  <a:moveTo>
                    <a:pt x="5948" y="0"/>
                  </a:moveTo>
                  <a:lnTo>
                    <a:pt x="0" y="7133"/>
                  </a:lnTo>
                  <a:lnTo>
                    <a:pt x="2568" y="12598"/>
                  </a:lnTo>
                  <a:lnTo>
                    <a:pt x="10534" y="21600"/>
                  </a:lnTo>
                  <a:lnTo>
                    <a:pt x="21600" y="16991"/>
                  </a:lnTo>
                  <a:lnTo>
                    <a:pt x="13411" y="4789"/>
                  </a:lnTo>
                  <a:lnTo>
                    <a:pt x="5948" y="0"/>
                  </a:lnTo>
                  <a:close/>
                </a:path>
              </a:pathLst>
            </a:custGeom>
            <a:grpFill/>
            <a:ln w="25400" cap="flat">
              <a:noFill/>
              <a:prstDash val="solid"/>
              <a:miter lim="400000"/>
            </a:ln>
            <a:effectLst/>
          </p:spPr>
          <p:txBody>
            <a:bodyPr anchor="ctr"/>
            <a:lstStyle/>
            <a:p>
              <a:pPr algn="ctr"/>
              <a:endParaRPr/>
            </a:p>
          </p:txBody>
        </p:sp>
        <p:sp>
          <p:nvSpPr>
            <p:cNvPr id="49" name="iŝḷíḓe">
              <a:extLst>
                <a:ext uri="{FF2B5EF4-FFF2-40B4-BE49-F238E27FC236}">
                  <a16:creationId xmlns="" xmlns:p14="http://schemas.microsoft.com/office/powerpoint/2010/main" xmlns:a16="http://schemas.microsoft.com/office/drawing/2014/main" id="{04371196-FB14-4E31-AD02-09A00F6FEF5C}"/>
                </a:ext>
              </a:extLst>
            </p:cNvPr>
            <p:cNvSpPr/>
            <p:nvPr/>
          </p:nvSpPr>
          <p:spPr>
            <a:xfrm>
              <a:off x="3163762" y="3609243"/>
              <a:ext cx="17550" cy="29518"/>
            </a:xfrm>
            <a:custGeom>
              <a:avLst/>
              <a:gdLst/>
              <a:ahLst/>
              <a:cxnLst>
                <a:cxn ang="0">
                  <a:pos x="wd2" y="hd2"/>
                </a:cxn>
                <a:cxn ang="5400000">
                  <a:pos x="wd2" y="hd2"/>
                </a:cxn>
                <a:cxn ang="10800000">
                  <a:pos x="wd2" y="hd2"/>
                </a:cxn>
                <a:cxn ang="16200000">
                  <a:pos x="wd2" y="hd2"/>
                </a:cxn>
              </a:cxnLst>
              <a:rect l="0" t="0" r="r" b="b"/>
              <a:pathLst>
                <a:path w="21600" h="21600" extrusionOk="0">
                  <a:moveTo>
                    <a:pt x="2385" y="0"/>
                  </a:moveTo>
                  <a:lnTo>
                    <a:pt x="0" y="5129"/>
                  </a:lnTo>
                  <a:lnTo>
                    <a:pt x="434" y="19428"/>
                  </a:lnTo>
                  <a:lnTo>
                    <a:pt x="19135" y="21600"/>
                  </a:lnTo>
                  <a:lnTo>
                    <a:pt x="21600" y="14762"/>
                  </a:lnTo>
                  <a:lnTo>
                    <a:pt x="16043" y="5916"/>
                  </a:lnTo>
                  <a:lnTo>
                    <a:pt x="2385" y="0"/>
                  </a:lnTo>
                  <a:close/>
                </a:path>
              </a:pathLst>
            </a:custGeom>
            <a:grpFill/>
            <a:ln w="25400" cap="flat">
              <a:noFill/>
              <a:prstDash val="solid"/>
              <a:miter lim="400000"/>
            </a:ln>
            <a:effectLst/>
          </p:spPr>
          <p:txBody>
            <a:bodyPr anchor="ctr"/>
            <a:lstStyle/>
            <a:p>
              <a:pPr algn="ctr"/>
              <a:endParaRPr/>
            </a:p>
          </p:txBody>
        </p:sp>
        <p:sp>
          <p:nvSpPr>
            <p:cNvPr id="50" name="îṣḻîḓe">
              <a:extLst>
                <a:ext uri="{FF2B5EF4-FFF2-40B4-BE49-F238E27FC236}">
                  <a16:creationId xmlns="" xmlns:p14="http://schemas.microsoft.com/office/powerpoint/2010/main" xmlns:a16="http://schemas.microsoft.com/office/drawing/2014/main" id="{4EF5DCED-C60C-4825-B759-24B9BC0C178A}"/>
                </a:ext>
              </a:extLst>
            </p:cNvPr>
            <p:cNvSpPr/>
            <p:nvPr/>
          </p:nvSpPr>
          <p:spPr>
            <a:xfrm>
              <a:off x="3499270" y="3543405"/>
              <a:ext cx="20061" cy="18682"/>
            </a:xfrm>
            <a:custGeom>
              <a:avLst/>
              <a:gdLst/>
              <a:ahLst/>
              <a:cxnLst>
                <a:cxn ang="0">
                  <a:pos x="wd2" y="hd2"/>
                </a:cxn>
                <a:cxn ang="5400000">
                  <a:pos x="wd2" y="hd2"/>
                </a:cxn>
                <a:cxn ang="10800000">
                  <a:pos x="wd2" y="hd2"/>
                </a:cxn>
                <a:cxn ang="16200000">
                  <a:pos x="wd2" y="hd2"/>
                </a:cxn>
              </a:cxnLst>
              <a:rect l="0" t="0" r="r" b="b"/>
              <a:pathLst>
                <a:path w="21600" h="21600" extrusionOk="0">
                  <a:moveTo>
                    <a:pt x="8114" y="0"/>
                  </a:moveTo>
                  <a:lnTo>
                    <a:pt x="0" y="7264"/>
                  </a:lnTo>
                  <a:lnTo>
                    <a:pt x="3469" y="21600"/>
                  </a:lnTo>
                  <a:lnTo>
                    <a:pt x="16705" y="21600"/>
                  </a:lnTo>
                  <a:lnTo>
                    <a:pt x="21600" y="6746"/>
                  </a:lnTo>
                  <a:lnTo>
                    <a:pt x="8114" y="0"/>
                  </a:lnTo>
                  <a:close/>
                </a:path>
              </a:pathLst>
            </a:custGeom>
            <a:grpFill/>
            <a:ln w="25400" cap="flat">
              <a:noFill/>
              <a:prstDash val="solid"/>
              <a:miter lim="400000"/>
            </a:ln>
            <a:effectLst/>
          </p:spPr>
          <p:txBody>
            <a:bodyPr anchor="ctr"/>
            <a:lstStyle/>
            <a:p>
              <a:pPr algn="ctr"/>
              <a:endParaRPr/>
            </a:p>
          </p:txBody>
        </p:sp>
        <p:sp>
          <p:nvSpPr>
            <p:cNvPr id="51" name="iṥ1îḍé">
              <a:extLst>
                <a:ext uri="{FF2B5EF4-FFF2-40B4-BE49-F238E27FC236}">
                  <a16:creationId xmlns="" xmlns:p14="http://schemas.microsoft.com/office/powerpoint/2010/main" xmlns:a16="http://schemas.microsoft.com/office/drawing/2014/main" id="{7CD0C3CD-19EA-41B2-AAAA-1E71980482B1}"/>
                </a:ext>
              </a:extLst>
            </p:cNvPr>
            <p:cNvSpPr/>
            <p:nvPr/>
          </p:nvSpPr>
          <p:spPr>
            <a:xfrm>
              <a:off x="3477190" y="3573359"/>
              <a:ext cx="16360" cy="23674"/>
            </a:xfrm>
            <a:custGeom>
              <a:avLst/>
              <a:gdLst/>
              <a:ahLst/>
              <a:cxnLst>
                <a:cxn ang="0">
                  <a:pos x="wd2" y="hd2"/>
                </a:cxn>
                <a:cxn ang="5400000">
                  <a:pos x="wd2" y="hd2"/>
                </a:cxn>
                <a:cxn ang="10800000">
                  <a:pos x="wd2" y="hd2"/>
                </a:cxn>
                <a:cxn ang="16200000">
                  <a:pos x="wd2" y="hd2"/>
                </a:cxn>
              </a:cxnLst>
              <a:rect l="0" t="0" r="r" b="b"/>
              <a:pathLst>
                <a:path w="21600" h="21600" extrusionOk="0">
                  <a:moveTo>
                    <a:pt x="7562" y="0"/>
                  </a:moveTo>
                  <a:lnTo>
                    <a:pt x="0" y="10629"/>
                  </a:lnTo>
                  <a:lnTo>
                    <a:pt x="15829" y="21600"/>
                  </a:lnTo>
                  <a:lnTo>
                    <a:pt x="21600" y="10397"/>
                  </a:lnTo>
                  <a:lnTo>
                    <a:pt x="7562" y="0"/>
                  </a:lnTo>
                  <a:close/>
                </a:path>
              </a:pathLst>
            </a:custGeom>
            <a:grpFill/>
            <a:ln w="25400" cap="flat">
              <a:noFill/>
              <a:prstDash val="solid"/>
              <a:miter lim="400000"/>
            </a:ln>
            <a:effectLst/>
          </p:spPr>
          <p:txBody>
            <a:bodyPr anchor="ctr"/>
            <a:lstStyle/>
            <a:p>
              <a:pPr algn="ctr"/>
              <a:endParaRPr/>
            </a:p>
          </p:txBody>
        </p:sp>
        <p:sp>
          <p:nvSpPr>
            <p:cNvPr id="52" name="îṧ1iḍé">
              <a:extLst>
                <a:ext uri="{FF2B5EF4-FFF2-40B4-BE49-F238E27FC236}">
                  <a16:creationId xmlns="" xmlns:p14="http://schemas.microsoft.com/office/powerpoint/2010/main" xmlns:a16="http://schemas.microsoft.com/office/drawing/2014/main" id="{0D6119F9-D4CF-4774-B7DB-64FDA191D94B}"/>
                </a:ext>
              </a:extLst>
            </p:cNvPr>
            <p:cNvSpPr/>
            <p:nvPr/>
          </p:nvSpPr>
          <p:spPr>
            <a:xfrm>
              <a:off x="3463227" y="3603633"/>
              <a:ext cx="16360" cy="18373"/>
            </a:xfrm>
            <a:custGeom>
              <a:avLst/>
              <a:gdLst/>
              <a:ahLst/>
              <a:cxnLst>
                <a:cxn ang="0">
                  <a:pos x="wd2" y="hd2"/>
                </a:cxn>
                <a:cxn ang="5400000">
                  <a:pos x="wd2" y="hd2"/>
                </a:cxn>
                <a:cxn ang="10800000">
                  <a:pos x="wd2" y="hd2"/>
                </a:cxn>
                <a:cxn ang="16200000">
                  <a:pos x="wd2" y="hd2"/>
                </a:cxn>
              </a:cxnLst>
              <a:rect l="0" t="0" r="r" b="b"/>
              <a:pathLst>
                <a:path w="21600" h="21600" extrusionOk="0">
                  <a:moveTo>
                    <a:pt x="5327" y="736"/>
                  </a:moveTo>
                  <a:lnTo>
                    <a:pt x="0" y="9568"/>
                  </a:lnTo>
                  <a:lnTo>
                    <a:pt x="5961" y="21600"/>
                  </a:lnTo>
                  <a:lnTo>
                    <a:pt x="20526" y="21266"/>
                  </a:lnTo>
                  <a:lnTo>
                    <a:pt x="21600" y="0"/>
                  </a:lnTo>
                  <a:lnTo>
                    <a:pt x="5327" y="736"/>
                  </a:lnTo>
                  <a:close/>
                </a:path>
              </a:pathLst>
            </a:custGeom>
            <a:grpFill/>
            <a:ln w="25400" cap="flat">
              <a:noFill/>
              <a:prstDash val="solid"/>
              <a:miter lim="400000"/>
            </a:ln>
            <a:effectLst/>
          </p:spPr>
          <p:txBody>
            <a:bodyPr anchor="ctr"/>
            <a:lstStyle/>
            <a:p>
              <a:pPr algn="ctr"/>
              <a:endParaRPr/>
            </a:p>
          </p:txBody>
        </p:sp>
        <p:sp>
          <p:nvSpPr>
            <p:cNvPr id="53" name="işḷide">
              <a:extLst>
                <a:ext uri="{FF2B5EF4-FFF2-40B4-BE49-F238E27FC236}">
                  <a16:creationId xmlns="" xmlns:p14="http://schemas.microsoft.com/office/powerpoint/2010/main" xmlns:a16="http://schemas.microsoft.com/office/drawing/2014/main" id="{7E7E2E0D-AB54-4ACC-9A3D-7668B9200023}"/>
                </a:ext>
              </a:extLst>
            </p:cNvPr>
            <p:cNvSpPr/>
            <p:nvPr/>
          </p:nvSpPr>
          <p:spPr>
            <a:xfrm>
              <a:off x="3443086" y="3638761"/>
              <a:ext cx="16360" cy="22038"/>
            </a:xfrm>
            <a:custGeom>
              <a:avLst/>
              <a:gdLst/>
              <a:ahLst/>
              <a:cxnLst>
                <a:cxn ang="0">
                  <a:pos x="wd2" y="hd2"/>
                </a:cxn>
                <a:cxn ang="5400000">
                  <a:pos x="wd2" y="hd2"/>
                </a:cxn>
                <a:cxn ang="10800000">
                  <a:pos x="wd2" y="hd2"/>
                </a:cxn>
                <a:cxn ang="16200000">
                  <a:pos x="wd2" y="hd2"/>
                </a:cxn>
              </a:cxnLst>
              <a:rect l="0" t="0" r="r" b="b"/>
              <a:pathLst>
                <a:path w="21600" h="21600" extrusionOk="0">
                  <a:moveTo>
                    <a:pt x="11127" y="0"/>
                  </a:moveTo>
                  <a:lnTo>
                    <a:pt x="0" y="9654"/>
                  </a:lnTo>
                  <a:lnTo>
                    <a:pt x="3308" y="20145"/>
                  </a:lnTo>
                  <a:lnTo>
                    <a:pt x="16235" y="21600"/>
                  </a:lnTo>
                  <a:lnTo>
                    <a:pt x="21600" y="6811"/>
                  </a:lnTo>
                  <a:lnTo>
                    <a:pt x="11127" y="0"/>
                  </a:lnTo>
                  <a:close/>
                </a:path>
              </a:pathLst>
            </a:custGeom>
            <a:grpFill/>
            <a:ln w="25400" cap="flat">
              <a:noFill/>
              <a:prstDash val="solid"/>
              <a:miter lim="400000"/>
            </a:ln>
            <a:effectLst/>
          </p:spPr>
          <p:txBody>
            <a:bodyPr anchor="ctr"/>
            <a:lstStyle/>
            <a:p>
              <a:pPr algn="ctr"/>
              <a:endParaRPr/>
            </a:p>
          </p:txBody>
        </p:sp>
        <p:sp>
          <p:nvSpPr>
            <p:cNvPr id="54" name="íşļîďe">
              <a:extLst>
                <a:ext uri="{FF2B5EF4-FFF2-40B4-BE49-F238E27FC236}">
                  <a16:creationId xmlns="" xmlns:p14="http://schemas.microsoft.com/office/powerpoint/2010/main" xmlns:a16="http://schemas.microsoft.com/office/drawing/2014/main" id="{CBE6C765-C9AA-4F78-8E54-07D1A4756291}"/>
                </a:ext>
              </a:extLst>
            </p:cNvPr>
            <p:cNvSpPr/>
            <p:nvPr/>
          </p:nvSpPr>
          <p:spPr>
            <a:xfrm>
              <a:off x="3429659" y="3689387"/>
              <a:ext cx="39165" cy="38527"/>
            </a:xfrm>
            <a:custGeom>
              <a:avLst/>
              <a:gdLst/>
              <a:ahLst/>
              <a:cxnLst>
                <a:cxn ang="0">
                  <a:pos x="wd2" y="hd2"/>
                </a:cxn>
                <a:cxn ang="5400000">
                  <a:pos x="wd2" y="hd2"/>
                </a:cxn>
                <a:cxn ang="10800000">
                  <a:pos x="wd2" y="hd2"/>
                </a:cxn>
                <a:cxn ang="16200000">
                  <a:pos x="wd2" y="hd2"/>
                </a:cxn>
              </a:cxnLst>
              <a:rect l="0" t="0" r="r" b="b"/>
              <a:pathLst>
                <a:path w="21600" h="21600" extrusionOk="0">
                  <a:moveTo>
                    <a:pt x="14904" y="867"/>
                  </a:moveTo>
                  <a:lnTo>
                    <a:pt x="8331" y="0"/>
                  </a:lnTo>
                  <a:lnTo>
                    <a:pt x="2816" y="2733"/>
                  </a:lnTo>
                  <a:lnTo>
                    <a:pt x="6666" y="6397"/>
                  </a:lnTo>
                  <a:lnTo>
                    <a:pt x="2928" y="11440"/>
                  </a:lnTo>
                  <a:lnTo>
                    <a:pt x="0" y="16520"/>
                  </a:lnTo>
                  <a:lnTo>
                    <a:pt x="4665" y="21600"/>
                  </a:lnTo>
                  <a:lnTo>
                    <a:pt x="15744" y="21600"/>
                  </a:lnTo>
                  <a:lnTo>
                    <a:pt x="16989" y="14679"/>
                  </a:lnTo>
                  <a:lnTo>
                    <a:pt x="17830" y="9194"/>
                  </a:lnTo>
                  <a:lnTo>
                    <a:pt x="21600" y="3831"/>
                  </a:lnTo>
                  <a:lnTo>
                    <a:pt x="19513" y="592"/>
                  </a:lnTo>
                  <a:lnTo>
                    <a:pt x="14904" y="867"/>
                  </a:lnTo>
                  <a:close/>
                </a:path>
              </a:pathLst>
            </a:custGeom>
            <a:grpFill/>
            <a:ln w="25400" cap="flat">
              <a:noFill/>
              <a:prstDash val="solid"/>
              <a:miter lim="400000"/>
            </a:ln>
            <a:effectLst/>
          </p:spPr>
          <p:txBody>
            <a:bodyPr anchor="ctr"/>
            <a:lstStyle/>
            <a:p>
              <a:pPr algn="ctr"/>
              <a:endParaRPr/>
            </a:p>
          </p:txBody>
        </p:sp>
        <p:sp>
          <p:nvSpPr>
            <p:cNvPr id="55" name="ïŝľîdé">
              <a:extLst>
                <a:ext uri="{FF2B5EF4-FFF2-40B4-BE49-F238E27FC236}">
                  <a16:creationId xmlns="" xmlns:p14="http://schemas.microsoft.com/office/powerpoint/2010/main" xmlns:a16="http://schemas.microsoft.com/office/drawing/2014/main" id="{BDF16C1E-FF08-4506-A8A6-3F91E2AF8A58}"/>
                </a:ext>
              </a:extLst>
            </p:cNvPr>
            <p:cNvSpPr/>
            <p:nvPr/>
          </p:nvSpPr>
          <p:spPr>
            <a:xfrm>
              <a:off x="3541688" y="3591732"/>
              <a:ext cx="25710" cy="21915"/>
            </a:xfrm>
            <a:custGeom>
              <a:avLst/>
              <a:gdLst/>
              <a:ahLst/>
              <a:cxnLst>
                <a:cxn ang="0">
                  <a:pos x="wd2" y="hd2"/>
                </a:cxn>
                <a:cxn ang="5400000">
                  <a:pos x="wd2" y="hd2"/>
                </a:cxn>
                <a:cxn ang="10800000">
                  <a:pos x="wd2" y="hd2"/>
                </a:cxn>
                <a:cxn ang="16200000">
                  <a:pos x="wd2" y="hd2"/>
                </a:cxn>
              </a:cxnLst>
              <a:rect l="0" t="0" r="r" b="b"/>
              <a:pathLst>
                <a:path w="21600" h="21600" extrusionOk="0">
                  <a:moveTo>
                    <a:pt x="6204" y="0"/>
                  </a:moveTo>
                  <a:lnTo>
                    <a:pt x="385" y="10265"/>
                  </a:lnTo>
                  <a:lnTo>
                    <a:pt x="0" y="20853"/>
                  </a:lnTo>
                  <a:lnTo>
                    <a:pt x="13483" y="21600"/>
                  </a:lnTo>
                  <a:lnTo>
                    <a:pt x="21600" y="18646"/>
                  </a:lnTo>
                  <a:lnTo>
                    <a:pt x="9663" y="9934"/>
                  </a:lnTo>
                  <a:lnTo>
                    <a:pt x="6204" y="0"/>
                  </a:lnTo>
                  <a:close/>
                </a:path>
              </a:pathLst>
            </a:custGeom>
            <a:grpFill/>
            <a:ln w="25400" cap="flat">
              <a:noFill/>
              <a:prstDash val="solid"/>
              <a:miter lim="400000"/>
            </a:ln>
            <a:effectLst/>
          </p:spPr>
          <p:txBody>
            <a:bodyPr anchor="ctr"/>
            <a:lstStyle/>
            <a:p>
              <a:pPr algn="ctr"/>
              <a:endParaRPr/>
            </a:p>
          </p:txBody>
        </p:sp>
        <p:sp>
          <p:nvSpPr>
            <p:cNvPr id="56" name="is1íḑè">
              <a:extLst>
                <a:ext uri="{FF2B5EF4-FFF2-40B4-BE49-F238E27FC236}">
                  <a16:creationId xmlns="" xmlns:p14="http://schemas.microsoft.com/office/powerpoint/2010/main" xmlns:a16="http://schemas.microsoft.com/office/drawing/2014/main" id="{1476085B-F23B-4E43-AD64-6F2040DBCCC0}"/>
                </a:ext>
              </a:extLst>
            </p:cNvPr>
            <p:cNvSpPr/>
            <p:nvPr/>
          </p:nvSpPr>
          <p:spPr>
            <a:xfrm>
              <a:off x="3470588" y="3663018"/>
              <a:ext cx="21475" cy="16360"/>
            </a:xfrm>
            <a:custGeom>
              <a:avLst/>
              <a:gdLst/>
              <a:ahLst/>
              <a:cxnLst>
                <a:cxn ang="0">
                  <a:pos x="wd2" y="hd2"/>
                </a:cxn>
                <a:cxn ang="5400000">
                  <a:pos x="wd2" y="hd2"/>
                </a:cxn>
                <a:cxn ang="10800000">
                  <a:pos x="wd2" y="hd2"/>
                </a:cxn>
                <a:cxn ang="16200000">
                  <a:pos x="wd2" y="hd2"/>
                </a:cxn>
              </a:cxnLst>
              <a:rect l="0" t="0" r="r" b="b"/>
              <a:pathLst>
                <a:path w="21600" h="21600" extrusionOk="0">
                  <a:moveTo>
                    <a:pt x="17020" y="3205"/>
                  </a:moveTo>
                  <a:lnTo>
                    <a:pt x="7333" y="0"/>
                  </a:lnTo>
                  <a:lnTo>
                    <a:pt x="0" y="8914"/>
                  </a:lnTo>
                  <a:lnTo>
                    <a:pt x="4730" y="21600"/>
                  </a:lnTo>
                  <a:lnTo>
                    <a:pt x="21600" y="21600"/>
                  </a:lnTo>
                  <a:lnTo>
                    <a:pt x="17020" y="3205"/>
                  </a:lnTo>
                  <a:close/>
                </a:path>
              </a:pathLst>
            </a:custGeom>
            <a:grpFill/>
            <a:ln w="25400" cap="flat">
              <a:noFill/>
              <a:prstDash val="solid"/>
              <a:miter lim="400000"/>
            </a:ln>
            <a:effectLst/>
          </p:spPr>
          <p:txBody>
            <a:bodyPr anchor="ctr"/>
            <a:lstStyle/>
            <a:p>
              <a:pPr algn="ctr"/>
              <a:endParaRPr/>
            </a:p>
          </p:txBody>
        </p:sp>
        <p:sp>
          <p:nvSpPr>
            <p:cNvPr id="57" name="íṧľîḓê">
              <a:extLst>
                <a:ext uri="{FF2B5EF4-FFF2-40B4-BE49-F238E27FC236}">
                  <a16:creationId xmlns="" xmlns:p14="http://schemas.microsoft.com/office/powerpoint/2010/main" xmlns:a16="http://schemas.microsoft.com/office/drawing/2014/main" id="{E16BBD75-4C62-4AEB-8F6A-C7BDEABD897C}"/>
                </a:ext>
              </a:extLst>
            </p:cNvPr>
            <p:cNvSpPr/>
            <p:nvPr/>
          </p:nvSpPr>
          <p:spPr>
            <a:xfrm>
              <a:off x="1825926" y="2244407"/>
              <a:ext cx="83204" cy="74274"/>
            </a:xfrm>
            <a:custGeom>
              <a:avLst/>
              <a:gdLst/>
              <a:ahLst/>
              <a:cxnLst>
                <a:cxn ang="0">
                  <a:pos x="wd2" y="hd2"/>
                </a:cxn>
                <a:cxn ang="5400000">
                  <a:pos x="wd2" y="hd2"/>
                </a:cxn>
                <a:cxn ang="10800000">
                  <a:pos x="wd2" y="hd2"/>
                </a:cxn>
                <a:cxn ang="16200000">
                  <a:pos x="wd2" y="hd2"/>
                </a:cxn>
              </a:cxnLst>
              <a:rect l="0" t="0" r="r" b="b"/>
              <a:pathLst>
                <a:path w="21600" h="21600" extrusionOk="0">
                  <a:moveTo>
                    <a:pt x="6117" y="146"/>
                  </a:moveTo>
                  <a:lnTo>
                    <a:pt x="3502" y="1771"/>
                  </a:lnTo>
                  <a:lnTo>
                    <a:pt x="0" y="2955"/>
                  </a:lnTo>
                  <a:lnTo>
                    <a:pt x="708" y="6398"/>
                  </a:lnTo>
                  <a:lnTo>
                    <a:pt x="4312" y="9886"/>
                  </a:lnTo>
                  <a:lnTo>
                    <a:pt x="5691" y="13614"/>
                  </a:lnTo>
                  <a:lnTo>
                    <a:pt x="8851" y="16257"/>
                  </a:lnTo>
                  <a:lnTo>
                    <a:pt x="10889" y="16698"/>
                  </a:lnTo>
                  <a:lnTo>
                    <a:pt x="13588" y="19994"/>
                  </a:lnTo>
                  <a:lnTo>
                    <a:pt x="16096" y="21600"/>
                  </a:lnTo>
                  <a:lnTo>
                    <a:pt x="19232" y="21600"/>
                  </a:lnTo>
                  <a:lnTo>
                    <a:pt x="21394" y="20279"/>
                  </a:lnTo>
                  <a:lnTo>
                    <a:pt x="21600" y="17056"/>
                  </a:lnTo>
                  <a:lnTo>
                    <a:pt x="19554" y="13017"/>
                  </a:lnTo>
                  <a:lnTo>
                    <a:pt x="19158" y="10006"/>
                  </a:lnTo>
                  <a:lnTo>
                    <a:pt x="17375" y="5389"/>
                  </a:lnTo>
                  <a:lnTo>
                    <a:pt x="14075" y="5389"/>
                  </a:lnTo>
                  <a:lnTo>
                    <a:pt x="11979" y="3782"/>
                  </a:lnTo>
                  <a:lnTo>
                    <a:pt x="10857" y="1891"/>
                  </a:lnTo>
                  <a:lnTo>
                    <a:pt x="8909" y="0"/>
                  </a:lnTo>
                  <a:lnTo>
                    <a:pt x="6117" y="146"/>
                  </a:lnTo>
                  <a:close/>
                </a:path>
              </a:pathLst>
            </a:custGeom>
            <a:grpFill/>
            <a:ln w="25400" cap="flat">
              <a:noFill/>
              <a:prstDash val="solid"/>
              <a:miter lim="400000"/>
            </a:ln>
            <a:effectLst/>
          </p:spPr>
          <p:txBody>
            <a:bodyPr anchor="ctr"/>
            <a:lstStyle/>
            <a:p>
              <a:pPr algn="ctr"/>
              <a:endParaRPr/>
            </a:p>
          </p:txBody>
        </p:sp>
        <p:sp>
          <p:nvSpPr>
            <p:cNvPr id="58" name="îslidé">
              <a:extLst>
                <a:ext uri="{FF2B5EF4-FFF2-40B4-BE49-F238E27FC236}">
                  <a16:creationId xmlns="" xmlns:p14="http://schemas.microsoft.com/office/powerpoint/2010/main" xmlns:a16="http://schemas.microsoft.com/office/drawing/2014/main" id="{931E4A56-C9F0-4A5E-A837-64DB11503066}"/>
                </a:ext>
              </a:extLst>
            </p:cNvPr>
            <p:cNvSpPr/>
            <p:nvPr/>
          </p:nvSpPr>
          <p:spPr>
            <a:xfrm>
              <a:off x="1823323" y="2056804"/>
              <a:ext cx="44228" cy="48802"/>
            </a:xfrm>
            <a:custGeom>
              <a:avLst/>
              <a:gdLst/>
              <a:ahLst/>
              <a:cxnLst>
                <a:cxn ang="0">
                  <a:pos x="wd2" y="hd2"/>
                </a:cxn>
                <a:cxn ang="5400000">
                  <a:pos x="wd2" y="hd2"/>
                </a:cxn>
                <a:cxn ang="10800000">
                  <a:pos x="wd2" y="hd2"/>
                </a:cxn>
                <a:cxn ang="16200000">
                  <a:pos x="wd2" y="hd2"/>
                </a:cxn>
              </a:cxnLst>
              <a:rect l="0" t="0" r="r" b="b"/>
              <a:pathLst>
                <a:path w="21600" h="21600" extrusionOk="0">
                  <a:moveTo>
                    <a:pt x="16460" y="0"/>
                  </a:moveTo>
                  <a:lnTo>
                    <a:pt x="9924" y="1900"/>
                  </a:lnTo>
                  <a:lnTo>
                    <a:pt x="4018" y="6719"/>
                  </a:lnTo>
                  <a:lnTo>
                    <a:pt x="0" y="11386"/>
                  </a:lnTo>
                  <a:lnTo>
                    <a:pt x="7069" y="14725"/>
                  </a:lnTo>
                  <a:lnTo>
                    <a:pt x="9537" y="18288"/>
                  </a:lnTo>
                  <a:lnTo>
                    <a:pt x="13341" y="21600"/>
                  </a:lnTo>
                  <a:lnTo>
                    <a:pt x="16742" y="19182"/>
                  </a:lnTo>
                  <a:lnTo>
                    <a:pt x="14522" y="13942"/>
                  </a:lnTo>
                  <a:lnTo>
                    <a:pt x="18621" y="10604"/>
                  </a:lnTo>
                  <a:lnTo>
                    <a:pt x="21600" y="4903"/>
                  </a:lnTo>
                  <a:lnTo>
                    <a:pt x="16460" y="0"/>
                  </a:lnTo>
                  <a:close/>
                </a:path>
              </a:pathLst>
            </a:custGeom>
            <a:grpFill/>
            <a:ln w="25400" cap="flat">
              <a:noFill/>
              <a:prstDash val="solid"/>
              <a:miter lim="400000"/>
            </a:ln>
            <a:effectLst/>
          </p:spPr>
          <p:txBody>
            <a:bodyPr anchor="ctr"/>
            <a:lstStyle/>
            <a:p>
              <a:pPr algn="ctr"/>
              <a:endParaRPr/>
            </a:p>
          </p:txBody>
        </p:sp>
        <p:sp>
          <p:nvSpPr>
            <p:cNvPr id="59" name="íṥľïḋê">
              <a:extLst>
                <a:ext uri="{FF2B5EF4-FFF2-40B4-BE49-F238E27FC236}">
                  <a16:creationId xmlns="" xmlns:p14="http://schemas.microsoft.com/office/powerpoint/2010/main" xmlns:a16="http://schemas.microsoft.com/office/drawing/2014/main" id="{65391F79-347F-4703-8D78-A3AF60C7FAC8}"/>
                </a:ext>
              </a:extLst>
            </p:cNvPr>
            <p:cNvSpPr/>
            <p:nvPr/>
          </p:nvSpPr>
          <p:spPr>
            <a:xfrm>
              <a:off x="1819244" y="2000935"/>
              <a:ext cx="28061" cy="42326"/>
            </a:xfrm>
            <a:custGeom>
              <a:avLst/>
              <a:gdLst/>
              <a:ahLst/>
              <a:cxnLst>
                <a:cxn ang="0">
                  <a:pos x="wd2" y="hd2"/>
                </a:cxn>
                <a:cxn ang="5400000">
                  <a:pos x="wd2" y="hd2"/>
                </a:cxn>
                <a:cxn ang="10800000">
                  <a:pos x="wd2" y="hd2"/>
                </a:cxn>
                <a:cxn ang="16200000">
                  <a:pos x="wd2" y="hd2"/>
                </a:cxn>
              </a:cxnLst>
              <a:rect l="0" t="0" r="r" b="b"/>
              <a:pathLst>
                <a:path w="21600" h="21600" extrusionOk="0">
                  <a:moveTo>
                    <a:pt x="15900" y="0"/>
                  </a:moveTo>
                  <a:lnTo>
                    <a:pt x="5701" y="4155"/>
                  </a:lnTo>
                  <a:lnTo>
                    <a:pt x="0" y="9292"/>
                  </a:lnTo>
                  <a:lnTo>
                    <a:pt x="3627" y="15800"/>
                  </a:lnTo>
                  <a:lnTo>
                    <a:pt x="11688" y="21600"/>
                  </a:lnTo>
                  <a:lnTo>
                    <a:pt x="13818" y="14011"/>
                  </a:lnTo>
                  <a:lnTo>
                    <a:pt x="14405" y="8116"/>
                  </a:lnTo>
                  <a:lnTo>
                    <a:pt x="21600" y="3749"/>
                  </a:lnTo>
                  <a:lnTo>
                    <a:pt x="15900" y="0"/>
                  </a:lnTo>
                  <a:close/>
                </a:path>
              </a:pathLst>
            </a:custGeom>
            <a:grpFill/>
            <a:ln w="25400" cap="flat">
              <a:noFill/>
              <a:prstDash val="solid"/>
              <a:miter lim="400000"/>
            </a:ln>
            <a:effectLst/>
          </p:spPr>
          <p:txBody>
            <a:bodyPr anchor="ctr"/>
            <a:lstStyle/>
            <a:p>
              <a:pPr algn="ctr"/>
              <a:endParaRPr/>
            </a:p>
          </p:txBody>
        </p:sp>
        <p:sp>
          <p:nvSpPr>
            <p:cNvPr id="60" name="íṡļiḓé">
              <a:extLst>
                <a:ext uri="{FF2B5EF4-FFF2-40B4-BE49-F238E27FC236}">
                  <a16:creationId xmlns="" xmlns:p14="http://schemas.microsoft.com/office/powerpoint/2010/main" xmlns:a16="http://schemas.microsoft.com/office/drawing/2014/main" id="{50B2E5B5-2C0A-4DFB-9F93-E3A889EB80B0}"/>
                </a:ext>
              </a:extLst>
            </p:cNvPr>
            <p:cNvSpPr/>
            <p:nvPr/>
          </p:nvSpPr>
          <p:spPr>
            <a:xfrm>
              <a:off x="1856174" y="2020886"/>
              <a:ext cx="16360" cy="18569"/>
            </a:xfrm>
            <a:custGeom>
              <a:avLst/>
              <a:gdLst/>
              <a:ahLst/>
              <a:cxnLst>
                <a:cxn ang="0">
                  <a:pos x="wd2" y="hd2"/>
                </a:cxn>
                <a:cxn ang="5400000">
                  <a:pos x="wd2" y="hd2"/>
                </a:cxn>
                <a:cxn ang="10800000">
                  <a:pos x="wd2" y="hd2"/>
                </a:cxn>
                <a:cxn ang="16200000">
                  <a:pos x="wd2" y="hd2"/>
                </a:cxn>
              </a:cxnLst>
              <a:rect l="0" t="0" r="r" b="b"/>
              <a:pathLst>
                <a:path w="21600" h="21600" extrusionOk="0">
                  <a:moveTo>
                    <a:pt x="6929" y="0"/>
                  </a:moveTo>
                  <a:lnTo>
                    <a:pt x="0" y="10904"/>
                  </a:lnTo>
                  <a:lnTo>
                    <a:pt x="10299" y="21600"/>
                  </a:lnTo>
                  <a:lnTo>
                    <a:pt x="21600" y="13776"/>
                  </a:lnTo>
                  <a:lnTo>
                    <a:pt x="19395" y="5259"/>
                  </a:lnTo>
                  <a:lnTo>
                    <a:pt x="6929" y="0"/>
                  </a:lnTo>
                  <a:close/>
                </a:path>
              </a:pathLst>
            </a:custGeom>
            <a:grpFill/>
            <a:ln w="25400" cap="flat">
              <a:noFill/>
              <a:prstDash val="solid"/>
              <a:miter lim="400000"/>
            </a:ln>
            <a:effectLst/>
          </p:spPr>
          <p:txBody>
            <a:bodyPr anchor="ctr"/>
            <a:lstStyle/>
            <a:p>
              <a:pPr algn="ctr"/>
              <a:endParaRPr/>
            </a:p>
          </p:txBody>
        </p:sp>
        <p:sp>
          <p:nvSpPr>
            <p:cNvPr id="61" name="išḷîďè">
              <a:extLst>
                <a:ext uri="{FF2B5EF4-FFF2-40B4-BE49-F238E27FC236}">
                  <a16:creationId xmlns="" xmlns:p14="http://schemas.microsoft.com/office/powerpoint/2010/main" xmlns:a16="http://schemas.microsoft.com/office/drawing/2014/main" id="{D724AABF-1B1B-40F0-A0A1-C12C425849F0}"/>
                </a:ext>
              </a:extLst>
            </p:cNvPr>
            <p:cNvSpPr/>
            <p:nvPr/>
          </p:nvSpPr>
          <p:spPr>
            <a:xfrm>
              <a:off x="1296107" y="1987859"/>
              <a:ext cx="91303" cy="42936"/>
            </a:xfrm>
            <a:custGeom>
              <a:avLst/>
              <a:gdLst/>
              <a:ahLst/>
              <a:cxnLst>
                <a:cxn ang="0">
                  <a:pos x="wd2" y="hd2"/>
                </a:cxn>
                <a:cxn ang="5400000">
                  <a:pos x="wd2" y="hd2"/>
                </a:cxn>
                <a:cxn ang="10800000">
                  <a:pos x="wd2" y="hd2"/>
                </a:cxn>
                <a:cxn ang="16200000">
                  <a:pos x="wd2" y="hd2"/>
                </a:cxn>
              </a:cxnLst>
              <a:rect l="0" t="0" r="r" b="b"/>
              <a:pathLst>
                <a:path w="21600" h="21600" extrusionOk="0">
                  <a:moveTo>
                    <a:pt x="17537" y="2831"/>
                  </a:moveTo>
                  <a:lnTo>
                    <a:pt x="10161" y="8024"/>
                  </a:lnTo>
                  <a:lnTo>
                    <a:pt x="5271" y="9340"/>
                  </a:lnTo>
                  <a:lnTo>
                    <a:pt x="1171" y="14295"/>
                  </a:lnTo>
                  <a:lnTo>
                    <a:pt x="0" y="19330"/>
                  </a:lnTo>
                  <a:lnTo>
                    <a:pt x="3343" y="21600"/>
                  </a:lnTo>
                  <a:lnTo>
                    <a:pt x="5268" y="16011"/>
                  </a:lnTo>
                  <a:lnTo>
                    <a:pt x="8817" y="15249"/>
                  </a:lnTo>
                  <a:lnTo>
                    <a:pt x="11276" y="14486"/>
                  </a:lnTo>
                  <a:lnTo>
                    <a:pt x="14517" y="13724"/>
                  </a:lnTo>
                  <a:lnTo>
                    <a:pt x="18179" y="13089"/>
                  </a:lnTo>
                  <a:lnTo>
                    <a:pt x="21239" y="5467"/>
                  </a:lnTo>
                  <a:lnTo>
                    <a:pt x="21600" y="162"/>
                  </a:lnTo>
                  <a:lnTo>
                    <a:pt x="19638" y="0"/>
                  </a:lnTo>
                  <a:lnTo>
                    <a:pt x="17537" y="2831"/>
                  </a:lnTo>
                  <a:close/>
                </a:path>
              </a:pathLst>
            </a:custGeom>
            <a:grpFill/>
            <a:ln w="25400" cap="flat">
              <a:noFill/>
              <a:prstDash val="solid"/>
              <a:miter lim="400000"/>
            </a:ln>
            <a:effectLst/>
          </p:spPr>
          <p:txBody>
            <a:bodyPr anchor="ctr"/>
            <a:lstStyle/>
            <a:p>
              <a:pPr algn="ctr"/>
              <a:endParaRPr/>
            </a:p>
          </p:txBody>
        </p:sp>
        <p:sp>
          <p:nvSpPr>
            <p:cNvPr id="62" name="îşľíḓè">
              <a:extLst>
                <a:ext uri="{FF2B5EF4-FFF2-40B4-BE49-F238E27FC236}">
                  <a16:creationId xmlns="" xmlns:p14="http://schemas.microsoft.com/office/powerpoint/2010/main" xmlns:a16="http://schemas.microsoft.com/office/drawing/2014/main" id="{B5257EFD-F01B-4908-A6A0-8CD92FA7A7CD}"/>
                </a:ext>
              </a:extLst>
            </p:cNvPr>
            <p:cNvSpPr/>
            <p:nvPr/>
          </p:nvSpPr>
          <p:spPr>
            <a:xfrm>
              <a:off x="2777576" y="3634434"/>
              <a:ext cx="1575803" cy="2366543"/>
            </a:xfrm>
            <a:custGeom>
              <a:avLst/>
              <a:gdLst/>
              <a:ahLst/>
              <a:cxnLst>
                <a:cxn ang="0">
                  <a:pos x="wd2" y="hd2"/>
                </a:cxn>
                <a:cxn ang="5400000">
                  <a:pos x="wd2" y="hd2"/>
                </a:cxn>
                <a:cxn ang="10800000">
                  <a:pos x="wd2" y="hd2"/>
                </a:cxn>
                <a:cxn ang="16200000">
                  <a:pos x="wd2" y="hd2"/>
                </a:cxn>
              </a:cxnLst>
              <a:rect l="0" t="0" r="r" b="b"/>
              <a:pathLst>
                <a:path w="21600" h="21600" extrusionOk="0">
                  <a:moveTo>
                    <a:pt x="869" y="1016"/>
                  </a:moveTo>
                  <a:lnTo>
                    <a:pt x="1153" y="974"/>
                  </a:lnTo>
                  <a:lnTo>
                    <a:pt x="1415" y="1017"/>
                  </a:lnTo>
                  <a:lnTo>
                    <a:pt x="1706" y="1125"/>
                  </a:lnTo>
                  <a:lnTo>
                    <a:pt x="1964" y="1238"/>
                  </a:lnTo>
                  <a:lnTo>
                    <a:pt x="2173" y="1355"/>
                  </a:lnTo>
                  <a:lnTo>
                    <a:pt x="2350" y="1292"/>
                  </a:lnTo>
                  <a:lnTo>
                    <a:pt x="2416" y="1193"/>
                  </a:lnTo>
                  <a:lnTo>
                    <a:pt x="2643" y="1138"/>
                  </a:lnTo>
                  <a:lnTo>
                    <a:pt x="2768" y="931"/>
                  </a:lnTo>
                  <a:lnTo>
                    <a:pt x="2901" y="758"/>
                  </a:lnTo>
                  <a:lnTo>
                    <a:pt x="3075" y="584"/>
                  </a:lnTo>
                  <a:lnTo>
                    <a:pt x="3218" y="492"/>
                  </a:lnTo>
                  <a:lnTo>
                    <a:pt x="3455" y="405"/>
                  </a:lnTo>
                  <a:lnTo>
                    <a:pt x="3796" y="405"/>
                  </a:lnTo>
                  <a:lnTo>
                    <a:pt x="4006" y="344"/>
                  </a:lnTo>
                  <a:lnTo>
                    <a:pt x="4155" y="198"/>
                  </a:lnTo>
                  <a:lnTo>
                    <a:pt x="4308" y="101"/>
                  </a:lnTo>
                  <a:lnTo>
                    <a:pt x="4423" y="34"/>
                  </a:lnTo>
                  <a:lnTo>
                    <a:pt x="4684" y="0"/>
                  </a:lnTo>
                  <a:lnTo>
                    <a:pt x="4809" y="15"/>
                  </a:lnTo>
                  <a:lnTo>
                    <a:pt x="4798" y="104"/>
                  </a:lnTo>
                  <a:lnTo>
                    <a:pt x="4656" y="173"/>
                  </a:lnTo>
                  <a:lnTo>
                    <a:pt x="4518" y="268"/>
                  </a:lnTo>
                  <a:lnTo>
                    <a:pt x="4466" y="385"/>
                  </a:lnTo>
                  <a:lnTo>
                    <a:pt x="4483" y="636"/>
                  </a:lnTo>
                  <a:lnTo>
                    <a:pt x="4421" y="753"/>
                  </a:lnTo>
                  <a:lnTo>
                    <a:pt x="4365" y="838"/>
                  </a:lnTo>
                  <a:lnTo>
                    <a:pt x="4375" y="962"/>
                  </a:lnTo>
                  <a:lnTo>
                    <a:pt x="4434" y="1080"/>
                  </a:lnTo>
                  <a:lnTo>
                    <a:pt x="4626" y="1121"/>
                  </a:lnTo>
                  <a:lnTo>
                    <a:pt x="4821" y="1077"/>
                  </a:lnTo>
                  <a:lnTo>
                    <a:pt x="4911" y="964"/>
                  </a:lnTo>
                  <a:lnTo>
                    <a:pt x="5012" y="863"/>
                  </a:lnTo>
                  <a:lnTo>
                    <a:pt x="5002" y="773"/>
                  </a:lnTo>
                  <a:lnTo>
                    <a:pt x="4888" y="691"/>
                  </a:lnTo>
                  <a:lnTo>
                    <a:pt x="4815" y="594"/>
                  </a:lnTo>
                  <a:cubicBezTo>
                    <a:pt x="4810" y="569"/>
                    <a:pt x="4818" y="543"/>
                    <a:pt x="4835" y="521"/>
                  </a:cubicBezTo>
                  <a:cubicBezTo>
                    <a:pt x="4864" y="484"/>
                    <a:pt x="4917" y="459"/>
                    <a:pt x="4977" y="452"/>
                  </a:cubicBezTo>
                  <a:lnTo>
                    <a:pt x="5179" y="365"/>
                  </a:lnTo>
                  <a:lnTo>
                    <a:pt x="5325" y="234"/>
                  </a:lnTo>
                  <a:lnTo>
                    <a:pt x="5398" y="181"/>
                  </a:lnTo>
                  <a:lnTo>
                    <a:pt x="5513" y="174"/>
                  </a:lnTo>
                  <a:lnTo>
                    <a:pt x="5658" y="180"/>
                  </a:lnTo>
                  <a:lnTo>
                    <a:pt x="5845" y="279"/>
                  </a:lnTo>
                  <a:lnTo>
                    <a:pt x="6023" y="369"/>
                  </a:lnTo>
                  <a:lnTo>
                    <a:pt x="6158" y="486"/>
                  </a:lnTo>
                  <a:lnTo>
                    <a:pt x="6252" y="563"/>
                  </a:lnTo>
                  <a:lnTo>
                    <a:pt x="6423" y="602"/>
                  </a:lnTo>
                  <a:lnTo>
                    <a:pt x="6760" y="602"/>
                  </a:lnTo>
                  <a:lnTo>
                    <a:pt x="6916" y="629"/>
                  </a:lnTo>
                  <a:lnTo>
                    <a:pt x="7159" y="658"/>
                  </a:lnTo>
                  <a:lnTo>
                    <a:pt x="7344" y="698"/>
                  </a:lnTo>
                  <a:lnTo>
                    <a:pt x="7500" y="785"/>
                  </a:lnTo>
                  <a:lnTo>
                    <a:pt x="7792" y="799"/>
                  </a:lnTo>
                  <a:lnTo>
                    <a:pt x="7945" y="725"/>
                  </a:lnTo>
                  <a:lnTo>
                    <a:pt x="8130" y="720"/>
                  </a:lnTo>
                  <a:lnTo>
                    <a:pt x="8343" y="741"/>
                  </a:lnTo>
                  <a:lnTo>
                    <a:pt x="8508" y="799"/>
                  </a:lnTo>
                  <a:lnTo>
                    <a:pt x="8764" y="882"/>
                  </a:lnTo>
                  <a:lnTo>
                    <a:pt x="9015" y="958"/>
                  </a:lnTo>
                  <a:lnTo>
                    <a:pt x="9502" y="1062"/>
                  </a:lnTo>
                  <a:lnTo>
                    <a:pt x="9816" y="1193"/>
                  </a:lnTo>
                  <a:lnTo>
                    <a:pt x="9920" y="1317"/>
                  </a:lnTo>
                  <a:lnTo>
                    <a:pt x="10065" y="1399"/>
                  </a:lnTo>
                  <a:lnTo>
                    <a:pt x="10187" y="1473"/>
                  </a:lnTo>
                  <a:lnTo>
                    <a:pt x="10298" y="1576"/>
                  </a:lnTo>
                  <a:lnTo>
                    <a:pt x="10339" y="1679"/>
                  </a:lnTo>
                  <a:lnTo>
                    <a:pt x="10420" y="1769"/>
                  </a:lnTo>
                  <a:lnTo>
                    <a:pt x="10606" y="1887"/>
                  </a:lnTo>
                  <a:lnTo>
                    <a:pt x="10818" y="2000"/>
                  </a:lnTo>
                  <a:lnTo>
                    <a:pt x="11131" y="2123"/>
                  </a:lnTo>
                  <a:lnTo>
                    <a:pt x="11378" y="2178"/>
                  </a:lnTo>
                  <a:lnTo>
                    <a:pt x="11636" y="2243"/>
                  </a:lnTo>
                  <a:lnTo>
                    <a:pt x="11855" y="2243"/>
                  </a:lnTo>
                  <a:lnTo>
                    <a:pt x="11990" y="2181"/>
                  </a:lnTo>
                  <a:lnTo>
                    <a:pt x="12151" y="2160"/>
                  </a:lnTo>
                  <a:lnTo>
                    <a:pt x="12356" y="2167"/>
                  </a:lnTo>
                  <a:lnTo>
                    <a:pt x="12575" y="2208"/>
                  </a:lnTo>
                  <a:lnTo>
                    <a:pt x="12707" y="2236"/>
                  </a:lnTo>
                  <a:lnTo>
                    <a:pt x="12850" y="2254"/>
                  </a:lnTo>
                  <a:lnTo>
                    <a:pt x="12964" y="2298"/>
                  </a:lnTo>
                  <a:lnTo>
                    <a:pt x="13152" y="2421"/>
                  </a:lnTo>
                  <a:lnTo>
                    <a:pt x="13358" y="2525"/>
                  </a:lnTo>
                  <a:lnTo>
                    <a:pt x="13524" y="2594"/>
                  </a:lnTo>
                  <a:lnTo>
                    <a:pt x="13666" y="2651"/>
                  </a:lnTo>
                  <a:lnTo>
                    <a:pt x="13833" y="2742"/>
                  </a:lnTo>
                  <a:lnTo>
                    <a:pt x="13864" y="2891"/>
                  </a:lnTo>
                  <a:lnTo>
                    <a:pt x="13944" y="3025"/>
                  </a:lnTo>
                  <a:lnTo>
                    <a:pt x="14059" y="3126"/>
                  </a:lnTo>
                  <a:lnTo>
                    <a:pt x="14069" y="3246"/>
                  </a:lnTo>
                  <a:lnTo>
                    <a:pt x="14069" y="3383"/>
                  </a:lnTo>
                  <a:lnTo>
                    <a:pt x="14132" y="3485"/>
                  </a:lnTo>
                  <a:lnTo>
                    <a:pt x="14251" y="3544"/>
                  </a:lnTo>
                  <a:lnTo>
                    <a:pt x="14376" y="3565"/>
                  </a:lnTo>
                  <a:lnTo>
                    <a:pt x="14376" y="3654"/>
                  </a:lnTo>
                  <a:lnTo>
                    <a:pt x="14240" y="3723"/>
                  </a:lnTo>
                  <a:lnTo>
                    <a:pt x="14147" y="3806"/>
                  </a:lnTo>
                  <a:lnTo>
                    <a:pt x="14084" y="3898"/>
                  </a:lnTo>
                  <a:lnTo>
                    <a:pt x="14021" y="4015"/>
                  </a:lnTo>
                  <a:lnTo>
                    <a:pt x="13892" y="4050"/>
                  </a:lnTo>
                  <a:lnTo>
                    <a:pt x="13746" y="4071"/>
                  </a:lnTo>
                  <a:lnTo>
                    <a:pt x="13369" y="4317"/>
                  </a:lnTo>
                  <a:lnTo>
                    <a:pt x="13296" y="4414"/>
                  </a:lnTo>
                  <a:lnTo>
                    <a:pt x="13244" y="4544"/>
                  </a:lnTo>
                  <a:lnTo>
                    <a:pt x="13401" y="4640"/>
                  </a:lnTo>
                  <a:lnTo>
                    <a:pt x="13638" y="4623"/>
                  </a:lnTo>
                  <a:lnTo>
                    <a:pt x="13801" y="4475"/>
                  </a:lnTo>
                  <a:lnTo>
                    <a:pt x="14058" y="4319"/>
                  </a:lnTo>
                  <a:lnTo>
                    <a:pt x="14233" y="4211"/>
                  </a:lnTo>
                  <a:lnTo>
                    <a:pt x="14406" y="4124"/>
                  </a:lnTo>
                  <a:lnTo>
                    <a:pt x="14601" y="4061"/>
                  </a:lnTo>
                  <a:lnTo>
                    <a:pt x="14824" y="4068"/>
                  </a:lnTo>
                  <a:lnTo>
                    <a:pt x="14950" y="4135"/>
                  </a:lnTo>
                  <a:lnTo>
                    <a:pt x="15054" y="4245"/>
                  </a:lnTo>
                  <a:lnTo>
                    <a:pt x="15054" y="4370"/>
                  </a:lnTo>
                  <a:lnTo>
                    <a:pt x="14772" y="4500"/>
                  </a:lnTo>
                  <a:lnTo>
                    <a:pt x="14706" y="4615"/>
                  </a:lnTo>
                  <a:lnTo>
                    <a:pt x="14561" y="4643"/>
                  </a:lnTo>
                  <a:lnTo>
                    <a:pt x="14369" y="4636"/>
                  </a:lnTo>
                  <a:lnTo>
                    <a:pt x="14297" y="4713"/>
                  </a:lnTo>
                  <a:lnTo>
                    <a:pt x="14537" y="4754"/>
                  </a:lnTo>
                  <a:lnTo>
                    <a:pt x="14713" y="4770"/>
                  </a:lnTo>
                  <a:lnTo>
                    <a:pt x="14862" y="4841"/>
                  </a:lnTo>
                  <a:lnTo>
                    <a:pt x="15018" y="4770"/>
                  </a:lnTo>
                  <a:lnTo>
                    <a:pt x="15209" y="4692"/>
                  </a:lnTo>
                  <a:lnTo>
                    <a:pt x="15341" y="4566"/>
                  </a:lnTo>
                  <a:lnTo>
                    <a:pt x="15491" y="4466"/>
                  </a:lnTo>
                  <a:lnTo>
                    <a:pt x="15585" y="4369"/>
                  </a:lnTo>
                  <a:lnTo>
                    <a:pt x="15846" y="4342"/>
                  </a:lnTo>
                  <a:lnTo>
                    <a:pt x="16125" y="4370"/>
                  </a:lnTo>
                  <a:lnTo>
                    <a:pt x="16397" y="4508"/>
                  </a:lnTo>
                  <a:lnTo>
                    <a:pt x="16564" y="4666"/>
                  </a:lnTo>
                  <a:lnTo>
                    <a:pt x="16723" y="4714"/>
                  </a:lnTo>
                  <a:lnTo>
                    <a:pt x="16844" y="4787"/>
                  </a:lnTo>
                  <a:lnTo>
                    <a:pt x="16817" y="4904"/>
                  </a:lnTo>
                  <a:lnTo>
                    <a:pt x="16751" y="4982"/>
                  </a:lnTo>
                  <a:lnTo>
                    <a:pt x="16751" y="5058"/>
                  </a:lnTo>
                  <a:lnTo>
                    <a:pt x="16949" y="5154"/>
                  </a:lnTo>
                  <a:lnTo>
                    <a:pt x="17116" y="5085"/>
                  </a:lnTo>
                  <a:lnTo>
                    <a:pt x="17332" y="5023"/>
                  </a:lnTo>
                  <a:lnTo>
                    <a:pt x="17569" y="4982"/>
                  </a:lnTo>
                  <a:lnTo>
                    <a:pt x="17746" y="4988"/>
                  </a:lnTo>
                  <a:lnTo>
                    <a:pt x="18122" y="5071"/>
                  </a:lnTo>
                  <a:lnTo>
                    <a:pt x="18476" y="5071"/>
                  </a:lnTo>
                  <a:lnTo>
                    <a:pt x="18914" y="5085"/>
                  </a:lnTo>
                  <a:lnTo>
                    <a:pt x="19226" y="5085"/>
                  </a:lnTo>
                  <a:lnTo>
                    <a:pt x="19337" y="5145"/>
                  </a:lnTo>
                  <a:lnTo>
                    <a:pt x="19417" y="5245"/>
                  </a:lnTo>
                  <a:lnTo>
                    <a:pt x="19501" y="5384"/>
                  </a:lnTo>
                  <a:lnTo>
                    <a:pt x="19761" y="5515"/>
                  </a:lnTo>
                  <a:lnTo>
                    <a:pt x="20054" y="5632"/>
                  </a:lnTo>
                  <a:lnTo>
                    <a:pt x="20337" y="5763"/>
                  </a:lnTo>
                  <a:lnTo>
                    <a:pt x="20783" y="5818"/>
                  </a:lnTo>
                  <a:lnTo>
                    <a:pt x="21128" y="5832"/>
                  </a:lnTo>
                  <a:lnTo>
                    <a:pt x="21292" y="5922"/>
                  </a:lnTo>
                  <a:lnTo>
                    <a:pt x="21413" y="6000"/>
                  </a:lnTo>
                  <a:lnTo>
                    <a:pt x="21423" y="6110"/>
                  </a:lnTo>
                  <a:lnTo>
                    <a:pt x="21496" y="6233"/>
                  </a:lnTo>
                  <a:lnTo>
                    <a:pt x="21548" y="6335"/>
                  </a:lnTo>
                  <a:lnTo>
                    <a:pt x="21600" y="6459"/>
                  </a:lnTo>
                  <a:lnTo>
                    <a:pt x="21558" y="6567"/>
                  </a:lnTo>
                  <a:lnTo>
                    <a:pt x="21548" y="6744"/>
                  </a:lnTo>
                  <a:lnTo>
                    <a:pt x="21416" y="6872"/>
                  </a:lnTo>
                  <a:lnTo>
                    <a:pt x="21374" y="6999"/>
                  </a:lnTo>
                  <a:lnTo>
                    <a:pt x="21263" y="7141"/>
                  </a:lnTo>
                  <a:lnTo>
                    <a:pt x="20928" y="7257"/>
                  </a:lnTo>
                  <a:lnTo>
                    <a:pt x="20782" y="7498"/>
                  </a:lnTo>
                  <a:lnTo>
                    <a:pt x="20646" y="7643"/>
                  </a:lnTo>
                  <a:lnTo>
                    <a:pt x="20531" y="7747"/>
                  </a:lnTo>
                  <a:lnTo>
                    <a:pt x="20344" y="7910"/>
                  </a:lnTo>
                  <a:lnTo>
                    <a:pt x="20222" y="8109"/>
                  </a:lnTo>
                  <a:lnTo>
                    <a:pt x="19916" y="8196"/>
                  </a:lnTo>
                  <a:lnTo>
                    <a:pt x="19700" y="8360"/>
                  </a:lnTo>
                  <a:lnTo>
                    <a:pt x="19631" y="8498"/>
                  </a:lnTo>
                  <a:lnTo>
                    <a:pt x="19615" y="8867"/>
                  </a:lnTo>
                  <a:lnTo>
                    <a:pt x="19688" y="9089"/>
                  </a:lnTo>
                  <a:lnTo>
                    <a:pt x="19688" y="9302"/>
                  </a:lnTo>
                  <a:lnTo>
                    <a:pt x="19705" y="9546"/>
                  </a:lnTo>
                  <a:lnTo>
                    <a:pt x="19653" y="9772"/>
                  </a:lnTo>
                  <a:lnTo>
                    <a:pt x="19612" y="9950"/>
                  </a:lnTo>
                  <a:lnTo>
                    <a:pt x="19580" y="10104"/>
                  </a:lnTo>
                  <a:lnTo>
                    <a:pt x="19559" y="10281"/>
                  </a:lnTo>
                  <a:lnTo>
                    <a:pt x="19465" y="10449"/>
                  </a:lnTo>
                  <a:lnTo>
                    <a:pt x="19444" y="10661"/>
                  </a:lnTo>
                  <a:lnTo>
                    <a:pt x="19392" y="10797"/>
                  </a:lnTo>
                  <a:lnTo>
                    <a:pt x="19322" y="10935"/>
                  </a:lnTo>
                  <a:lnTo>
                    <a:pt x="19169" y="11064"/>
                  </a:lnTo>
                  <a:lnTo>
                    <a:pt x="19033" y="11278"/>
                  </a:lnTo>
                  <a:lnTo>
                    <a:pt x="18939" y="11393"/>
                  </a:lnTo>
                  <a:lnTo>
                    <a:pt x="18834" y="11511"/>
                  </a:lnTo>
                  <a:lnTo>
                    <a:pt x="18562" y="11665"/>
                  </a:lnTo>
                  <a:lnTo>
                    <a:pt x="18374" y="11762"/>
                  </a:lnTo>
                  <a:lnTo>
                    <a:pt x="18204" y="11755"/>
                  </a:lnTo>
                  <a:lnTo>
                    <a:pt x="18048" y="11735"/>
                  </a:lnTo>
                  <a:lnTo>
                    <a:pt x="17899" y="11638"/>
                  </a:lnTo>
                  <a:lnTo>
                    <a:pt x="17642" y="11707"/>
                  </a:lnTo>
                  <a:lnTo>
                    <a:pt x="17486" y="11796"/>
                  </a:lnTo>
                  <a:lnTo>
                    <a:pt x="17287" y="11941"/>
                  </a:lnTo>
                  <a:lnTo>
                    <a:pt x="17134" y="11969"/>
                  </a:lnTo>
                  <a:lnTo>
                    <a:pt x="16834" y="12015"/>
                  </a:lnTo>
                  <a:lnTo>
                    <a:pt x="16534" y="12077"/>
                  </a:lnTo>
                  <a:lnTo>
                    <a:pt x="16336" y="12167"/>
                  </a:lnTo>
                  <a:lnTo>
                    <a:pt x="16253" y="12270"/>
                  </a:lnTo>
                  <a:lnTo>
                    <a:pt x="16183" y="12325"/>
                  </a:lnTo>
                  <a:lnTo>
                    <a:pt x="16027" y="12380"/>
                  </a:lnTo>
                  <a:lnTo>
                    <a:pt x="15916" y="12449"/>
                  </a:lnTo>
                  <a:lnTo>
                    <a:pt x="15804" y="12518"/>
                  </a:lnTo>
                  <a:lnTo>
                    <a:pt x="15752" y="12629"/>
                  </a:lnTo>
                  <a:lnTo>
                    <a:pt x="15825" y="12724"/>
                  </a:lnTo>
                  <a:lnTo>
                    <a:pt x="15951" y="12849"/>
                  </a:lnTo>
                  <a:lnTo>
                    <a:pt x="15961" y="13008"/>
                  </a:lnTo>
                  <a:lnTo>
                    <a:pt x="15909" y="13192"/>
                  </a:lnTo>
                  <a:cubicBezTo>
                    <a:pt x="15880" y="13228"/>
                    <a:pt x="15856" y="13266"/>
                    <a:pt x="15840" y="13305"/>
                  </a:cubicBezTo>
                  <a:cubicBezTo>
                    <a:pt x="15812" y="13369"/>
                    <a:pt x="15801" y="13436"/>
                    <a:pt x="15809" y="13503"/>
                  </a:cubicBezTo>
                  <a:lnTo>
                    <a:pt x="15600" y="13652"/>
                  </a:lnTo>
                  <a:lnTo>
                    <a:pt x="15506" y="13742"/>
                  </a:lnTo>
                  <a:lnTo>
                    <a:pt x="15464" y="13846"/>
                  </a:lnTo>
                  <a:cubicBezTo>
                    <a:pt x="15464" y="13877"/>
                    <a:pt x="15464" y="13909"/>
                    <a:pt x="15464" y="13940"/>
                  </a:cubicBezTo>
                  <a:cubicBezTo>
                    <a:pt x="15464" y="13981"/>
                    <a:pt x="15464" y="14022"/>
                    <a:pt x="15464" y="14062"/>
                  </a:cubicBezTo>
                  <a:lnTo>
                    <a:pt x="15412" y="14177"/>
                  </a:lnTo>
                  <a:lnTo>
                    <a:pt x="15183" y="14308"/>
                  </a:lnTo>
                  <a:lnTo>
                    <a:pt x="15048" y="14443"/>
                  </a:lnTo>
                  <a:lnTo>
                    <a:pt x="14923" y="14578"/>
                  </a:lnTo>
                  <a:lnTo>
                    <a:pt x="14840" y="14707"/>
                  </a:lnTo>
                  <a:lnTo>
                    <a:pt x="14760" y="14868"/>
                  </a:lnTo>
                  <a:cubicBezTo>
                    <a:pt x="14740" y="14913"/>
                    <a:pt x="14716" y="14957"/>
                    <a:pt x="14687" y="14999"/>
                  </a:cubicBezTo>
                  <a:cubicBezTo>
                    <a:pt x="14660" y="15040"/>
                    <a:pt x="14629" y="15079"/>
                    <a:pt x="14593" y="15116"/>
                  </a:cubicBezTo>
                  <a:cubicBezTo>
                    <a:pt x="14565" y="15141"/>
                    <a:pt x="14538" y="15167"/>
                    <a:pt x="14510" y="15192"/>
                  </a:cubicBezTo>
                  <a:cubicBezTo>
                    <a:pt x="14469" y="15230"/>
                    <a:pt x="14429" y="15268"/>
                    <a:pt x="14390" y="15307"/>
                  </a:cubicBezTo>
                  <a:lnTo>
                    <a:pt x="14233" y="15431"/>
                  </a:lnTo>
                  <a:lnTo>
                    <a:pt x="14123" y="15518"/>
                  </a:lnTo>
                  <a:lnTo>
                    <a:pt x="13872" y="15628"/>
                  </a:lnTo>
                  <a:lnTo>
                    <a:pt x="13685" y="15663"/>
                  </a:lnTo>
                  <a:lnTo>
                    <a:pt x="13323" y="15670"/>
                  </a:lnTo>
                  <a:cubicBezTo>
                    <a:pt x="13286" y="15642"/>
                    <a:pt x="13245" y="15616"/>
                    <a:pt x="13201" y="15594"/>
                  </a:cubicBezTo>
                  <a:cubicBezTo>
                    <a:pt x="13122" y="15553"/>
                    <a:pt x="13034" y="15521"/>
                    <a:pt x="12939" y="15499"/>
                  </a:cubicBezTo>
                  <a:cubicBezTo>
                    <a:pt x="12851" y="15484"/>
                    <a:pt x="12764" y="15467"/>
                    <a:pt x="12678" y="15446"/>
                  </a:cubicBezTo>
                  <a:cubicBezTo>
                    <a:pt x="12585" y="15424"/>
                    <a:pt x="12495" y="15399"/>
                    <a:pt x="12406" y="15370"/>
                  </a:cubicBezTo>
                  <a:lnTo>
                    <a:pt x="12194" y="15426"/>
                  </a:lnTo>
                  <a:lnTo>
                    <a:pt x="12131" y="15541"/>
                  </a:lnTo>
                  <a:lnTo>
                    <a:pt x="12255" y="15615"/>
                  </a:lnTo>
                  <a:lnTo>
                    <a:pt x="12467" y="15700"/>
                  </a:lnTo>
                  <a:lnTo>
                    <a:pt x="12582" y="15762"/>
                  </a:lnTo>
                  <a:lnTo>
                    <a:pt x="12768" y="15886"/>
                  </a:lnTo>
                  <a:lnTo>
                    <a:pt x="12977" y="16065"/>
                  </a:lnTo>
                  <a:lnTo>
                    <a:pt x="13103" y="16201"/>
                  </a:lnTo>
                  <a:lnTo>
                    <a:pt x="13155" y="16372"/>
                  </a:lnTo>
                  <a:lnTo>
                    <a:pt x="13166" y="16545"/>
                  </a:lnTo>
                  <a:lnTo>
                    <a:pt x="13065" y="16676"/>
                  </a:lnTo>
                  <a:lnTo>
                    <a:pt x="12951" y="16779"/>
                  </a:lnTo>
                  <a:lnTo>
                    <a:pt x="12787" y="16862"/>
                  </a:lnTo>
                  <a:lnTo>
                    <a:pt x="12505" y="16924"/>
                  </a:lnTo>
                  <a:lnTo>
                    <a:pt x="12122" y="16970"/>
                  </a:lnTo>
                  <a:lnTo>
                    <a:pt x="11913" y="16977"/>
                  </a:lnTo>
                  <a:lnTo>
                    <a:pt x="11733" y="16982"/>
                  </a:lnTo>
                  <a:lnTo>
                    <a:pt x="11430" y="16982"/>
                  </a:lnTo>
                  <a:lnTo>
                    <a:pt x="11263" y="17044"/>
                  </a:lnTo>
                  <a:lnTo>
                    <a:pt x="11232" y="17116"/>
                  </a:lnTo>
                  <a:lnTo>
                    <a:pt x="11252" y="17235"/>
                  </a:lnTo>
                  <a:lnTo>
                    <a:pt x="11325" y="17332"/>
                  </a:lnTo>
                  <a:lnTo>
                    <a:pt x="11412" y="17380"/>
                  </a:lnTo>
                  <a:lnTo>
                    <a:pt x="11444" y="17498"/>
                  </a:lnTo>
                  <a:lnTo>
                    <a:pt x="11382" y="17567"/>
                  </a:lnTo>
                  <a:cubicBezTo>
                    <a:pt x="11322" y="17599"/>
                    <a:pt x="11279" y="17642"/>
                    <a:pt x="11257" y="17691"/>
                  </a:cubicBezTo>
                  <a:cubicBezTo>
                    <a:pt x="11240" y="17729"/>
                    <a:pt x="11236" y="17769"/>
                    <a:pt x="11246" y="17808"/>
                  </a:cubicBezTo>
                  <a:lnTo>
                    <a:pt x="11037" y="17802"/>
                  </a:lnTo>
                  <a:lnTo>
                    <a:pt x="10881" y="17726"/>
                  </a:lnTo>
                  <a:lnTo>
                    <a:pt x="10631" y="17622"/>
                  </a:lnTo>
                  <a:lnTo>
                    <a:pt x="10349" y="17581"/>
                  </a:lnTo>
                  <a:lnTo>
                    <a:pt x="10141" y="17677"/>
                  </a:lnTo>
                  <a:lnTo>
                    <a:pt x="10273" y="17815"/>
                  </a:lnTo>
                  <a:cubicBezTo>
                    <a:pt x="10359" y="17814"/>
                    <a:pt x="10437" y="17847"/>
                    <a:pt x="10472" y="17898"/>
                  </a:cubicBezTo>
                  <a:cubicBezTo>
                    <a:pt x="10504" y="17944"/>
                    <a:pt x="10496" y="17997"/>
                    <a:pt x="10451" y="18038"/>
                  </a:cubicBezTo>
                  <a:lnTo>
                    <a:pt x="10493" y="18142"/>
                  </a:lnTo>
                  <a:cubicBezTo>
                    <a:pt x="10535" y="18167"/>
                    <a:pt x="10583" y="18187"/>
                    <a:pt x="10636" y="18201"/>
                  </a:cubicBezTo>
                  <a:cubicBezTo>
                    <a:pt x="10678" y="18213"/>
                    <a:pt x="10723" y="18220"/>
                    <a:pt x="10768" y="18222"/>
                  </a:cubicBezTo>
                  <a:cubicBezTo>
                    <a:pt x="10824" y="18185"/>
                    <a:pt x="10918" y="18194"/>
                    <a:pt x="10956" y="18240"/>
                  </a:cubicBezTo>
                  <a:cubicBezTo>
                    <a:pt x="10983" y="18272"/>
                    <a:pt x="10969" y="18313"/>
                    <a:pt x="10925" y="18335"/>
                  </a:cubicBezTo>
                  <a:lnTo>
                    <a:pt x="10783" y="18390"/>
                  </a:lnTo>
                  <a:lnTo>
                    <a:pt x="10605" y="18448"/>
                  </a:lnTo>
                  <a:lnTo>
                    <a:pt x="10615" y="18589"/>
                  </a:lnTo>
                  <a:lnTo>
                    <a:pt x="10663" y="18651"/>
                  </a:lnTo>
                  <a:lnTo>
                    <a:pt x="10698" y="18740"/>
                  </a:lnTo>
                  <a:lnTo>
                    <a:pt x="10479" y="18860"/>
                  </a:lnTo>
                  <a:lnTo>
                    <a:pt x="10374" y="19045"/>
                  </a:lnTo>
                  <a:lnTo>
                    <a:pt x="10259" y="19180"/>
                  </a:lnTo>
                  <a:lnTo>
                    <a:pt x="10218" y="19263"/>
                  </a:lnTo>
                  <a:lnTo>
                    <a:pt x="10283" y="19367"/>
                  </a:lnTo>
                  <a:lnTo>
                    <a:pt x="10350" y="19544"/>
                  </a:lnTo>
                  <a:lnTo>
                    <a:pt x="10506" y="19579"/>
                  </a:lnTo>
                  <a:lnTo>
                    <a:pt x="10637" y="19689"/>
                  </a:lnTo>
                  <a:lnTo>
                    <a:pt x="10913" y="19767"/>
                  </a:lnTo>
                  <a:lnTo>
                    <a:pt x="11066" y="19942"/>
                  </a:lnTo>
                  <a:lnTo>
                    <a:pt x="11076" y="20069"/>
                  </a:lnTo>
                  <a:lnTo>
                    <a:pt x="10982" y="20241"/>
                  </a:lnTo>
                  <a:lnTo>
                    <a:pt x="10888" y="20363"/>
                  </a:lnTo>
                  <a:lnTo>
                    <a:pt x="10794" y="20527"/>
                  </a:lnTo>
                  <a:cubicBezTo>
                    <a:pt x="10712" y="20573"/>
                    <a:pt x="10646" y="20631"/>
                    <a:pt x="10600" y="20695"/>
                  </a:cubicBezTo>
                  <a:cubicBezTo>
                    <a:pt x="10553" y="20760"/>
                    <a:pt x="10528" y="20830"/>
                    <a:pt x="10526" y="20902"/>
                  </a:cubicBezTo>
                  <a:lnTo>
                    <a:pt x="10613" y="21051"/>
                  </a:lnTo>
                  <a:lnTo>
                    <a:pt x="10773" y="21173"/>
                  </a:lnTo>
                  <a:lnTo>
                    <a:pt x="10846" y="21254"/>
                  </a:lnTo>
                  <a:lnTo>
                    <a:pt x="10766" y="21359"/>
                  </a:lnTo>
                  <a:lnTo>
                    <a:pt x="10536" y="21440"/>
                  </a:lnTo>
                  <a:lnTo>
                    <a:pt x="10441" y="21536"/>
                  </a:lnTo>
                  <a:lnTo>
                    <a:pt x="10363" y="21600"/>
                  </a:lnTo>
                  <a:lnTo>
                    <a:pt x="10225" y="21595"/>
                  </a:lnTo>
                  <a:lnTo>
                    <a:pt x="9866" y="21480"/>
                  </a:lnTo>
                  <a:lnTo>
                    <a:pt x="9668" y="21506"/>
                  </a:lnTo>
                  <a:lnTo>
                    <a:pt x="9418" y="21531"/>
                  </a:lnTo>
                  <a:cubicBezTo>
                    <a:pt x="9428" y="21473"/>
                    <a:pt x="9417" y="21413"/>
                    <a:pt x="9386" y="21358"/>
                  </a:cubicBezTo>
                  <a:cubicBezTo>
                    <a:pt x="9350" y="21293"/>
                    <a:pt x="9286" y="21235"/>
                    <a:pt x="9202" y="21193"/>
                  </a:cubicBezTo>
                  <a:lnTo>
                    <a:pt x="8951" y="21172"/>
                  </a:lnTo>
                  <a:lnTo>
                    <a:pt x="8767" y="21096"/>
                  </a:lnTo>
                  <a:lnTo>
                    <a:pt x="8767" y="20966"/>
                  </a:lnTo>
                  <a:lnTo>
                    <a:pt x="8683" y="20814"/>
                  </a:lnTo>
                  <a:cubicBezTo>
                    <a:pt x="8625" y="20767"/>
                    <a:pt x="8560" y="20724"/>
                    <a:pt x="8489" y="20687"/>
                  </a:cubicBezTo>
                  <a:cubicBezTo>
                    <a:pt x="8402" y="20641"/>
                    <a:pt x="8307" y="20603"/>
                    <a:pt x="8206" y="20574"/>
                  </a:cubicBezTo>
                  <a:lnTo>
                    <a:pt x="8185" y="20340"/>
                  </a:lnTo>
                  <a:lnTo>
                    <a:pt x="8175" y="20091"/>
                  </a:lnTo>
                  <a:cubicBezTo>
                    <a:pt x="8118" y="20014"/>
                    <a:pt x="8052" y="19940"/>
                    <a:pt x="7977" y="19870"/>
                  </a:cubicBezTo>
                  <a:cubicBezTo>
                    <a:pt x="7874" y="19775"/>
                    <a:pt x="7755" y="19687"/>
                    <a:pt x="7622" y="19610"/>
                  </a:cubicBezTo>
                  <a:lnTo>
                    <a:pt x="7320" y="19591"/>
                  </a:lnTo>
                  <a:lnTo>
                    <a:pt x="7269" y="19491"/>
                  </a:lnTo>
                  <a:lnTo>
                    <a:pt x="7463" y="19422"/>
                  </a:lnTo>
                  <a:lnTo>
                    <a:pt x="7664" y="19293"/>
                  </a:lnTo>
                  <a:lnTo>
                    <a:pt x="7747" y="19155"/>
                  </a:lnTo>
                  <a:lnTo>
                    <a:pt x="7862" y="18947"/>
                  </a:lnTo>
                  <a:cubicBezTo>
                    <a:pt x="7859" y="18904"/>
                    <a:pt x="7841" y="18862"/>
                    <a:pt x="7810" y="18823"/>
                  </a:cubicBezTo>
                  <a:cubicBezTo>
                    <a:pt x="7763" y="18763"/>
                    <a:pt x="7687" y="18715"/>
                    <a:pt x="7594" y="18687"/>
                  </a:cubicBezTo>
                  <a:lnTo>
                    <a:pt x="7373" y="18531"/>
                  </a:lnTo>
                  <a:lnTo>
                    <a:pt x="7344" y="18427"/>
                  </a:lnTo>
                  <a:lnTo>
                    <a:pt x="7439" y="18291"/>
                  </a:lnTo>
                  <a:lnTo>
                    <a:pt x="7386" y="18128"/>
                  </a:lnTo>
                  <a:lnTo>
                    <a:pt x="7191" y="18036"/>
                  </a:lnTo>
                  <a:lnTo>
                    <a:pt x="6944" y="17872"/>
                  </a:lnTo>
                  <a:lnTo>
                    <a:pt x="6714" y="17722"/>
                  </a:lnTo>
                  <a:lnTo>
                    <a:pt x="6595" y="17655"/>
                  </a:lnTo>
                  <a:lnTo>
                    <a:pt x="6560" y="17485"/>
                  </a:lnTo>
                  <a:lnTo>
                    <a:pt x="6414" y="17372"/>
                  </a:lnTo>
                  <a:lnTo>
                    <a:pt x="6518" y="17199"/>
                  </a:lnTo>
                  <a:cubicBezTo>
                    <a:pt x="6570" y="17154"/>
                    <a:pt x="6593" y="17097"/>
                    <a:pt x="6581" y="17041"/>
                  </a:cubicBezTo>
                  <a:cubicBezTo>
                    <a:pt x="6561" y="16948"/>
                    <a:pt x="6457" y="16874"/>
                    <a:pt x="6320" y="16854"/>
                  </a:cubicBezTo>
                  <a:cubicBezTo>
                    <a:pt x="6272" y="16815"/>
                    <a:pt x="6237" y="16771"/>
                    <a:pt x="6215" y="16723"/>
                  </a:cubicBezTo>
                  <a:cubicBezTo>
                    <a:pt x="6159" y="16596"/>
                    <a:pt x="6202" y="16460"/>
                    <a:pt x="6330" y="16359"/>
                  </a:cubicBezTo>
                  <a:lnTo>
                    <a:pt x="6341" y="16207"/>
                  </a:lnTo>
                  <a:lnTo>
                    <a:pt x="6351" y="16005"/>
                  </a:lnTo>
                  <a:lnTo>
                    <a:pt x="6382" y="15534"/>
                  </a:lnTo>
                  <a:lnTo>
                    <a:pt x="6330" y="14960"/>
                  </a:lnTo>
                  <a:lnTo>
                    <a:pt x="6125" y="14624"/>
                  </a:lnTo>
                  <a:lnTo>
                    <a:pt x="6027" y="14310"/>
                  </a:lnTo>
                  <a:lnTo>
                    <a:pt x="5975" y="14131"/>
                  </a:lnTo>
                  <a:lnTo>
                    <a:pt x="5925" y="13492"/>
                  </a:lnTo>
                  <a:lnTo>
                    <a:pt x="5925" y="13243"/>
                  </a:lnTo>
                  <a:lnTo>
                    <a:pt x="6020" y="13001"/>
                  </a:lnTo>
                  <a:lnTo>
                    <a:pt x="6020" y="12755"/>
                  </a:lnTo>
                  <a:lnTo>
                    <a:pt x="5988" y="12469"/>
                  </a:lnTo>
                  <a:lnTo>
                    <a:pt x="5842" y="12317"/>
                  </a:lnTo>
                  <a:lnTo>
                    <a:pt x="5852" y="12041"/>
                  </a:lnTo>
                  <a:lnTo>
                    <a:pt x="5936" y="11755"/>
                  </a:lnTo>
                  <a:cubicBezTo>
                    <a:pt x="5963" y="11665"/>
                    <a:pt x="5977" y="11573"/>
                    <a:pt x="5978" y="11481"/>
                  </a:cubicBezTo>
                  <a:cubicBezTo>
                    <a:pt x="5979" y="11396"/>
                    <a:pt x="5968" y="11310"/>
                    <a:pt x="5946" y="11226"/>
                  </a:cubicBezTo>
                  <a:cubicBezTo>
                    <a:pt x="5920" y="11122"/>
                    <a:pt x="5877" y="11021"/>
                    <a:pt x="5817" y="10924"/>
                  </a:cubicBezTo>
                  <a:lnTo>
                    <a:pt x="5790" y="10657"/>
                  </a:lnTo>
                  <a:lnTo>
                    <a:pt x="5779" y="10588"/>
                  </a:lnTo>
                  <a:lnTo>
                    <a:pt x="5509" y="10273"/>
                  </a:lnTo>
                  <a:lnTo>
                    <a:pt x="5325" y="10025"/>
                  </a:lnTo>
                  <a:lnTo>
                    <a:pt x="5081" y="9901"/>
                  </a:lnTo>
                  <a:lnTo>
                    <a:pt x="4781" y="9783"/>
                  </a:lnTo>
                  <a:lnTo>
                    <a:pt x="4531" y="9611"/>
                  </a:lnTo>
                  <a:lnTo>
                    <a:pt x="4066" y="9506"/>
                  </a:lnTo>
                  <a:lnTo>
                    <a:pt x="3850" y="9416"/>
                  </a:lnTo>
                  <a:lnTo>
                    <a:pt x="3285" y="9256"/>
                  </a:lnTo>
                  <a:lnTo>
                    <a:pt x="3020" y="9164"/>
                  </a:lnTo>
                  <a:lnTo>
                    <a:pt x="2895" y="8913"/>
                  </a:lnTo>
                  <a:lnTo>
                    <a:pt x="2752" y="8757"/>
                  </a:lnTo>
                  <a:lnTo>
                    <a:pt x="2626" y="8512"/>
                  </a:lnTo>
                  <a:lnTo>
                    <a:pt x="2494" y="8355"/>
                  </a:lnTo>
                  <a:lnTo>
                    <a:pt x="2330" y="8219"/>
                  </a:lnTo>
                  <a:lnTo>
                    <a:pt x="2088" y="8047"/>
                  </a:lnTo>
                  <a:lnTo>
                    <a:pt x="1976" y="7929"/>
                  </a:lnTo>
                  <a:lnTo>
                    <a:pt x="1868" y="7775"/>
                  </a:lnTo>
                  <a:lnTo>
                    <a:pt x="1712" y="7713"/>
                  </a:lnTo>
                  <a:lnTo>
                    <a:pt x="1653" y="7630"/>
                  </a:lnTo>
                  <a:lnTo>
                    <a:pt x="1559" y="7481"/>
                  </a:lnTo>
                  <a:lnTo>
                    <a:pt x="1499" y="7363"/>
                  </a:lnTo>
                  <a:lnTo>
                    <a:pt x="1332" y="7016"/>
                  </a:lnTo>
                  <a:lnTo>
                    <a:pt x="1207" y="6813"/>
                  </a:lnTo>
                  <a:lnTo>
                    <a:pt x="1072" y="6654"/>
                  </a:lnTo>
                  <a:lnTo>
                    <a:pt x="958" y="6495"/>
                  </a:lnTo>
                  <a:lnTo>
                    <a:pt x="875" y="6420"/>
                  </a:lnTo>
                  <a:lnTo>
                    <a:pt x="683" y="6358"/>
                  </a:lnTo>
                  <a:lnTo>
                    <a:pt x="577" y="6210"/>
                  </a:lnTo>
                  <a:lnTo>
                    <a:pt x="392" y="6183"/>
                  </a:lnTo>
                  <a:lnTo>
                    <a:pt x="270" y="6084"/>
                  </a:lnTo>
                  <a:lnTo>
                    <a:pt x="131" y="5971"/>
                  </a:lnTo>
                  <a:lnTo>
                    <a:pt x="79" y="5813"/>
                  </a:lnTo>
                  <a:lnTo>
                    <a:pt x="38" y="5703"/>
                  </a:lnTo>
                  <a:lnTo>
                    <a:pt x="0" y="5602"/>
                  </a:lnTo>
                  <a:lnTo>
                    <a:pt x="115" y="5491"/>
                  </a:lnTo>
                  <a:lnTo>
                    <a:pt x="268" y="5348"/>
                  </a:lnTo>
                  <a:lnTo>
                    <a:pt x="330" y="5224"/>
                  </a:lnTo>
                  <a:lnTo>
                    <a:pt x="413" y="5153"/>
                  </a:lnTo>
                  <a:lnTo>
                    <a:pt x="602" y="5033"/>
                  </a:lnTo>
                  <a:lnTo>
                    <a:pt x="653" y="4916"/>
                  </a:lnTo>
                  <a:lnTo>
                    <a:pt x="542" y="4875"/>
                  </a:lnTo>
                  <a:lnTo>
                    <a:pt x="350" y="4849"/>
                  </a:lnTo>
                  <a:lnTo>
                    <a:pt x="233" y="4810"/>
                  </a:lnTo>
                  <a:lnTo>
                    <a:pt x="173" y="4693"/>
                  </a:lnTo>
                  <a:lnTo>
                    <a:pt x="132" y="4589"/>
                  </a:lnTo>
                  <a:lnTo>
                    <a:pt x="236" y="4435"/>
                  </a:lnTo>
                  <a:lnTo>
                    <a:pt x="363" y="4279"/>
                  </a:lnTo>
                  <a:lnTo>
                    <a:pt x="464" y="4141"/>
                  </a:lnTo>
                  <a:lnTo>
                    <a:pt x="722" y="3881"/>
                  </a:lnTo>
                  <a:lnTo>
                    <a:pt x="837" y="3725"/>
                  </a:lnTo>
                  <a:lnTo>
                    <a:pt x="878" y="3658"/>
                  </a:lnTo>
                  <a:lnTo>
                    <a:pt x="1105" y="3567"/>
                  </a:lnTo>
                  <a:lnTo>
                    <a:pt x="1275" y="3479"/>
                  </a:lnTo>
                  <a:lnTo>
                    <a:pt x="1338" y="3385"/>
                  </a:lnTo>
                  <a:lnTo>
                    <a:pt x="1359" y="3295"/>
                  </a:lnTo>
                  <a:lnTo>
                    <a:pt x="1523" y="3201"/>
                  </a:lnTo>
                  <a:lnTo>
                    <a:pt x="1707" y="3072"/>
                  </a:lnTo>
                  <a:cubicBezTo>
                    <a:pt x="1704" y="3016"/>
                    <a:pt x="1711" y="2960"/>
                    <a:pt x="1728" y="2906"/>
                  </a:cubicBezTo>
                  <a:cubicBezTo>
                    <a:pt x="1757" y="2814"/>
                    <a:pt x="1814" y="2727"/>
                    <a:pt x="1896" y="2650"/>
                  </a:cubicBezTo>
                  <a:cubicBezTo>
                    <a:pt x="1934" y="2572"/>
                    <a:pt x="1938" y="2488"/>
                    <a:pt x="1906" y="2408"/>
                  </a:cubicBezTo>
                  <a:cubicBezTo>
                    <a:pt x="1883" y="2352"/>
                    <a:pt x="1843" y="2298"/>
                    <a:pt x="1815" y="2242"/>
                  </a:cubicBezTo>
                  <a:cubicBezTo>
                    <a:pt x="1790" y="2191"/>
                    <a:pt x="1776" y="2138"/>
                    <a:pt x="1774" y="2083"/>
                  </a:cubicBezTo>
                  <a:lnTo>
                    <a:pt x="1774" y="1918"/>
                  </a:lnTo>
                  <a:lnTo>
                    <a:pt x="1753" y="1808"/>
                  </a:lnTo>
                  <a:lnTo>
                    <a:pt x="1638" y="1656"/>
                  </a:lnTo>
                  <a:lnTo>
                    <a:pt x="1493" y="1546"/>
                  </a:lnTo>
                  <a:lnTo>
                    <a:pt x="1587" y="1443"/>
                  </a:lnTo>
                  <a:lnTo>
                    <a:pt x="1656" y="1310"/>
                  </a:lnTo>
                  <a:lnTo>
                    <a:pt x="1459" y="1199"/>
                  </a:lnTo>
                  <a:lnTo>
                    <a:pt x="1280" y="1115"/>
                  </a:lnTo>
                  <a:lnTo>
                    <a:pt x="1083" y="1076"/>
                  </a:lnTo>
                  <a:lnTo>
                    <a:pt x="968" y="1103"/>
                  </a:lnTo>
                  <a:lnTo>
                    <a:pt x="869" y="1016"/>
                  </a:lnTo>
                  <a:close/>
                </a:path>
              </a:pathLst>
            </a:custGeom>
            <a:grpFill/>
            <a:ln w="25400" cap="flat">
              <a:noFill/>
              <a:prstDash val="solid"/>
              <a:miter lim="400000"/>
            </a:ln>
            <a:effectLst/>
          </p:spPr>
          <p:txBody>
            <a:bodyPr anchor="ctr"/>
            <a:lstStyle/>
            <a:p>
              <a:pPr algn="ctr"/>
              <a:endParaRPr/>
            </a:p>
          </p:txBody>
        </p:sp>
        <p:sp>
          <p:nvSpPr>
            <p:cNvPr id="63" name="îšlîdê">
              <a:extLst>
                <a:ext uri="{FF2B5EF4-FFF2-40B4-BE49-F238E27FC236}">
                  <a16:creationId xmlns="" xmlns:p14="http://schemas.microsoft.com/office/powerpoint/2010/main" xmlns:a16="http://schemas.microsoft.com/office/drawing/2014/main" id="{6F6BD9A7-42A6-438C-AB75-9F6E2487654B}"/>
                </a:ext>
              </a:extLst>
            </p:cNvPr>
            <p:cNvSpPr/>
            <p:nvPr/>
          </p:nvSpPr>
          <p:spPr>
            <a:xfrm>
              <a:off x="3559421" y="5995142"/>
              <a:ext cx="176422" cy="89842"/>
            </a:xfrm>
            <a:custGeom>
              <a:avLst/>
              <a:gdLst/>
              <a:ahLst/>
              <a:cxnLst>
                <a:cxn ang="0">
                  <a:pos x="wd2" y="hd2"/>
                </a:cxn>
                <a:cxn ang="5400000">
                  <a:pos x="wd2" y="hd2"/>
                </a:cxn>
                <a:cxn ang="10800000">
                  <a:pos x="wd2" y="hd2"/>
                </a:cxn>
                <a:cxn ang="16200000">
                  <a:pos x="wd2" y="hd2"/>
                </a:cxn>
              </a:cxnLst>
              <a:rect l="0" t="0" r="r" b="b"/>
              <a:pathLst>
                <a:path w="21600" h="21600" extrusionOk="0">
                  <a:moveTo>
                    <a:pt x="7225" y="3547"/>
                  </a:moveTo>
                  <a:lnTo>
                    <a:pt x="5676" y="1626"/>
                  </a:lnTo>
                  <a:lnTo>
                    <a:pt x="3209" y="0"/>
                  </a:lnTo>
                  <a:lnTo>
                    <a:pt x="1176" y="1709"/>
                  </a:lnTo>
                  <a:lnTo>
                    <a:pt x="993" y="6809"/>
                  </a:lnTo>
                  <a:lnTo>
                    <a:pt x="0" y="9230"/>
                  </a:lnTo>
                  <a:lnTo>
                    <a:pt x="146" y="11719"/>
                  </a:lnTo>
                  <a:lnTo>
                    <a:pt x="1232" y="14861"/>
                  </a:lnTo>
                  <a:lnTo>
                    <a:pt x="2757" y="16925"/>
                  </a:lnTo>
                  <a:lnTo>
                    <a:pt x="4617" y="16204"/>
                  </a:lnTo>
                  <a:lnTo>
                    <a:pt x="6205" y="18329"/>
                  </a:lnTo>
                  <a:lnTo>
                    <a:pt x="6765" y="21054"/>
                  </a:lnTo>
                  <a:lnTo>
                    <a:pt x="9338" y="21600"/>
                  </a:lnTo>
                  <a:lnTo>
                    <a:pt x="10638" y="20386"/>
                  </a:lnTo>
                  <a:lnTo>
                    <a:pt x="12868" y="19239"/>
                  </a:lnTo>
                  <a:cubicBezTo>
                    <a:pt x="13384" y="19258"/>
                    <a:pt x="13900" y="19258"/>
                    <a:pt x="14416" y="19239"/>
                  </a:cubicBezTo>
                  <a:cubicBezTo>
                    <a:pt x="15695" y="19193"/>
                    <a:pt x="16971" y="19031"/>
                    <a:pt x="18242" y="18754"/>
                  </a:cubicBezTo>
                  <a:lnTo>
                    <a:pt x="20946" y="19118"/>
                  </a:lnTo>
                  <a:lnTo>
                    <a:pt x="21600" y="16751"/>
                  </a:lnTo>
                  <a:lnTo>
                    <a:pt x="17600" y="16751"/>
                  </a:lnTo>
                  <a:lnTo>
                    <a:pt x="14802" y="15172"/>
                  </a:lnTo>
                  <a:lnTo>
                    <a:pt x="13214" y="10808"/>
                  </a:lnTo>
                  <a:lnTo>
                    <a:pt x="11408" y="9230"/>
                  </a:lnTo>
                  <a:lnTo>
                    <a:pt x="9731" y="7773"/>
                  </a:lnTo>
                  <a:lnTo>
                    <a:pt x="9139" y="5420"/>
                  </a:lnTo>
                  <a:lnTo>
                    <a:pt x="7225" y="3547"/>
                  </a:lnTo>
                  <a:close/>
                </a:path>
              </a:pathLst>
            </a:custGeom>
            <a:grpFill/>
            <a:ln w="25400" cap="flat">
              <a:noFill/>
              <a:prstDash val="solid"/>
              <a:miter lim="400000"/>
            </a:ln>
            <a:effectLst/>
          </p:spPr>
          <p:txBody>
            <a:bodyPr anchor="ctr"/>
            <a:lstStyle/>
            <a:p>
              <a:pPr algn="ctr"/>
              <a:endParaRPr/>
            </a:p>
          </p:txBody>
        </p:sp>
        <p:sp>
          <p:nvSpPr>
            <p:cNvPr id="64" name="ïšļîḋé">
              <a:extLst>
                <a:ext uri="{FF2B5EF4-FFF2-40B4-BE49-F238E27FC236}">
                  <a16:creationId xmlns="" xmlns:p14="http://schemas.microsoft.com/office/powerpoint/2010/main" xmlns:a16="http://schemas.microsoft.com/office/drawing/2014/main" id="{44CDF1E2-815F-4114-9180-CEA9A2C68680}"/>
                </a:ext>
              </a:extLst>
            </p:cNvPr>
            <p:cNvSpPr/>
            <p:nvPr/>
          </p:nvSpPr>
          <p:spPr>
            <a:xfrm>
              <a:off x="3768642" y="5937250"/>
              <a:ext cx="110098" cy="46701"/>
            </a:xfrm>
            <a:custGeom>
              <a:avLst/>
              <a:gdLst/>
              <a:ahLst/>
              <a:cxnLst>
                <a:cxn ang="0">
                  <a:pos x="wd2" y="hd2"/>
                </a:cxn>
                <a:cxn ang="5400000">
                  <a:pos x="wd2" y="hd2"/>
                </a:cxn>
                <a:cxn ang="10800000">
                  <a:pos x="wd2" y="hd2"/>
                </a:cxn>
                <a:cxn ang="16200000">
                  <a:pos x="wd2" y="hd2"/>
                </a:cxn>
              </a:cxnLst>
              <a:rect l="0" t="0" r="r" b="b"/>
              <a:pathLst>
                <a:path w="21600" h="21600" extrusionOk="0">
                  <a:moveTo>
                    <a:pt x="8319" y="0"/>
                  </a:moveTo>
                  <a:lnTo>
                    <a:pt x="5026" y="117"/>
                  </a:lnTo>
                  <a:cubicBezTo>
                    <a:pt x="4484" y="789"/>
                    <a:pt x="3941" y="1461"/>
                    <a:pt x="3399" y="2133"/>
                  </a:cubicBezTo>
                  <a:cubicBezTo>
                    <a:pt x="2857" y="2805"/>
                    <a:pt x="2314" y="3476"/>
                    <a:pt x="1772" y="4148"/>
                  </a:cubicBezTo>
                  <a:lnTo>
                    <a:pt x="4542" y="6577"/>
                  </a:lnTo>
                  <a:lnTo>
                    <a:pt x="3392" y="10753"/>
                  </a:lnTo>
                  <a:lnTo>
                    <a:pt x="0" y="11818"/>
                  </a:lnTo>
                  <a:lnTo>
                    <a:pt x="1581" y="16345"/>
                  </a:lnTo>
                  <a:lnTo>
                    <a:pt x="4913" y="16345"/>
                  </a:lnTo>
                  <a:lnTo>
                    <a:pt x="7757" y="19148"/>
                  </a:lnTo>
                  <a:lnTo>
                    <a:pt x="10993" y="21600"/>
                  </a:lnTo>
                  <a:lnTo>
                    <a:pt x="14223" y="19761"/>
                  </a:lnTo>
                  <a:lnTo>
                    <a:pt x="14972" y="14169"/>
                  </a:lnTo>
                  <a:lnTo>
                    <a:pt x="18108" y="8928"/>
                  </a:lnTo>
                  <a:lnTo>
                    <a:pt x="21600" y="7876"/>
                  </a:lnTo>
                  <a:lnTo>
                    <a:pt x="21600" y="3101"/>
                  </a:lnTo>
                  <a:lnTo>
                    <a:pt x="19411" y="1378"/>
                  </a:lnTo>
                  <a:lnTo>
                    <a:pt x="17621" y="692"/>
                  </a:lnTo>
                  <a:lnTo>
                    <a:pt x="12533" y="2093"/>
                  </a:lnTo>
                  <a:lnTo>
                    <a:pt x="10949" y="1393"/>
                  </a:lnTo>
                  <a:lnTo>
                    <a:pt x="8319" y="0"/>
                  </a:lnTo>
                  <a:close/>
                </a:path>
              </a:pathLst>
            </a:custGeom>
            <a:grpFill/>
            <a:ln w="25400" cap="flat">
              <a:noFill/>
              <a:prstDash val="solid"/>
              <a:miter lim="400000"/>
            </a:ln>
            <a:effectLst/>
          </p:spPr>
          <p:txBody>
            <a:bodyPr anchor="ctr"/>
            <a:lstStyle/>
            <a:p>
              <a:pPr algn="ctr"/>
              <a:endParaRPr/>
            </a:p>
          </p:txBody>
        </p:sp>
        <p:sp>
          <p:nvSpPr>
            <p:cNvPr id="65" name="iśḻiḓe">
              <a:extLst>
                <a:ext uri="{FF2B5EF4-FFF2-40B4-BE49-F238E27FC236}">
                  <a16:creationId xmlns="" xmlns:p14="http://schemas.microsoft.com/office/powerpoint/2010/main" xmlns:a16="http://schemas.microsoft.com/office/drawing/2014/main" id="{FAC1C3EC-98C2-44C6-BD19-A0888605F03A}"/>
                </a:ext>
              </a:extLst>
            </p:cNvPr>
            <p:cNvSpPr/>
            <p:nvPr/>
          </p:nvSpPr>
          <p:spPr>
            <a:xfrm>
              <a:off x="4951705" y="2729160"/>
              <a:ext cx="2278812" cy="2612773"/>
            </a:xfrm>
            <a:custGeom>
              <a:avLst/>
              <a:gdLst/>
              <a:ahLst/>
              <a:cxnLst>
                <a:cxn ang="0">
                  <a:pos x="wd2" y="hd2"/>
                </a:cxn>
                <a:cxn ang="5400000">
                  <a:pos x="wd2" y="hd2"/>
                </a:cxn>
                <a:cxn ang="10800000">
                  <a:pos x="wd2" y="hd2"/>
                </a:cxn>
                <a:cxn ang="16200000">
                  <a:pos x="wd2" y="hd2"/>
                </a:cxn>
              </a:cxnLst>
              <a:rect l="0" t="0" r="r" b="b"/>
              <a:pathLst>
                <a:path w="21600" h="21600" extrusionOk="0">
                  <a:moveTo>
                    <a:pt x="11905" y="1298"/>
                  </a:moveTo>
                  <a:lnTo>
                    <a:pt x="11748" y="1386"/>
                  </a:lnTo>
                  <a:lnTo>
                    <a:pt x="11649" y="1501"/>
                  </a:lnTo>
                  <a:lnTo>
                    <a:pt x="11657" y="1629"/>
                  </a:lnTo>
                  <a:lnTo>
                    <a:pt x="11744" y="1704"/>
                  </a:lnTo>
                  <a:lnTo>
                    <a:pt x="11765" y="1791"/>
                  </a:lnTo>
                  <a:lnTo>
                    <a:pt x="11622" y="1915"/>
                  </a:lnTo>
                  <a:lnTo>
                    <a:pt x="11470" y="2059"/>
                  </a:lnTo>
                  <a:lnTo>
                    <a:pt x="11326" y="2096"/>
                  </a:lnTo>
                  <a:lnTo>
                    <a:pt x="11204" y="2078"/>
                  </a:lnTo>
                  <a:lnTo>
                    <a:pt x="10972" y="2003"/>
                  </a:lnTo>
                  <a:lnTo>
                    <a:pt x="10824" y="1959"/>
                  </a:lnTo>
                  <a:lnTo>
                    <a:pt x="10659" y="1903"/>
                  </a:lnTo>
                  <a:lnTo>
                    <a:pt x="10370" y="1872"/>
                  </a:lnTo>
                  <a:lnTo>
                    <a:pt x="10297" y="1768"/>
                  </a:lnTo>
                  <a:lnTo>
                    <a:pt x="10194" y="1639"/>
                  </a:lnTo>
                  <a:lnTo>
                    <a:pt x="10095" y="1497"/>
                  </a:lnTo>
                  <a:lnTo>
                    <a:pt x="9893" y="1403"/>
                  </a:lnTo>
                  <a:lnTo>
                    <a:pt x="9738" y="1384"/>
                  </a:lnTo>
                  <a:lnTo>
                    <a:pt x="9487" y="1311"/>
                  </a:lnTo>
                  <a:lnTo>
                    <a:pt x="9256" y="1311"/>
                  </a:lnTo>
                  <a:lnTo>
                    <a:pt x="9130" y="1305"/>
                  </a:lnTo>
                  <a:lnTo>
                    <a:pt x="9053" y="1242"/>
                  </a:lnTo>
                  <a:lnTo>
                    <a:pt x="8911" y="1116"/>
                  </a:lnTo>
                  <a:lnTo>
                    <a:pt x="8694" y="947"/>
                  </a:lnTo>
                  <a:lnTo>
                    <a:pt x="8636" y="849"/>
                  </a:lnTo>
                  <a:lnTo>
                    <a:pt x="8687" y="761"/>
                  </a:lnTo>
                  <a:lnTo>
                    <a:pt x="8783" y="636"/>
                  </a:lnTo>
                  <a:lnTo>
                    <a:pt x="8776" y="548"/>
                  </a:lnTo>
                  <a:lnTo>
                    <a:pt x="8704" y="440"/>
                  </a:lnTo>
                  <a:lnTo>
                    <a:pt x="8651" y="369"/>
                  </a:lnTo>
                  <a:lnTo>
                    <a:pt x="8694" y="263"/>
                  </a:lnTo>
                  <a:lnTo>
                    <a:pt x="8750" y="213"/>
                  </a:lnTo>
                  <a:lnTo>
                    <a:pt x="8706" y="120"/>
                  </a:lnTo>
                  <a:lnTo>
                    <a:pt x="8574" y="53"/>
                  </a:lnTo>
                  <a:lnTo>
                    <a:pt x="8473" y="0"/>
                  </a:lnTo>
                  <a:lnTo>
                    <a:pt x="8301" y="31"/>
                  </a:lnTo>
                  <a:lnTo>
                    <a:pt x="8038" y="123"/>
                  </a:lnTo>
                  <a:lnTo>
                    <a:pt x="7831" y="167"/>
                  </a:lnTo>
                  <a:lnTo>
                    <a:pt x="7542" y="204"/>
                  </a:lnTo>
                  <a:lnTo>
                    <a:pt x="7323" y="198"/>
                  </a:lnTo>
                  <a:lnTo>
                    <a:pt x="7098" y="173"/>
                  </a:lnTo>
                  <a:lnTo>
                    <a:pt x="6861" y="167"/>
                  </a:lnTo>
                  <a:lnTo>
                    <a:pt x="6735" y="117"/>
                  </a:lnTo>
                  <a:lnTo>
                    <a:pt x="6538" y="97"/>
                  </a:lnTo>
                  <a:lnTo>
                    <a:pt x="6405" y="145"/>
                  </a:lnTo>
                  <a:lnTo>
                    <a:pt x="6221" y="214"/>
                  </a:lnTo>
                  <a:lnTo>
                    <a:pt x="6040" y="224"/>
                  </a:lnTo>
                  <a:lnTo>
                    <a:pt x="5774" y="295"/>
                  </a:lnTo>
                  <a:lnTo>
                    <a:pt x="5503" y="389"/>
                  </a:lnTo>
                  <a:lnTo>
                    <a:pt x="5346" y="481"/>
                  </a:lnTo>
                  <a:lnTo>
                    <a:pt x="5159" y="600"/>
                  </a:lnTo>
                  <a:lnTo>
                    <a:pt x="4994" y="675"/>
                  </a:lnTo>
                  <a:cubicBezTo>
                    <a:pt x="4958" y="685"/>
                    <a:pt x="4920" y="693"/>
                    <a:pt x="4883" y="698"/>
                  </a:cubicBezTo>
                  <a:cubicBezTo>
                    <a:pt x="4849" y="702"/>
                    <a:pt x="4815" y="704"/>
                    <a:pt x="4781" y="704"/>
                  </a:cubicBezTo>
                  <a:lnTo>
                    <a:pt x="4638" y="679"/>
                  </a:lnTo>
                  <a:lnTo>
                    <a:pt x="4547" y="675"/>
                  </a:lnTo>
                  <a:lnTo>
                    <a:pt x="4417" y="656"/>
                  </a:lnTo>
                  <a:lnTo>
                    <a:pt x="4244" y="637"/>
                  </a:lnTo>
                  <a:lnTo>
                    <a:pt x="4107" y="562"/>
                  </a:lnTo>
                  <a:lnTo>
                    <a:pt x="3988" y="482"/>
                  </a:lnTo>
                  <a:lnTo>
                    <a:pt x="3873" y="464"/>
                  </a:lnTo>
                  <a:lnTo>
                    <a:pt x="3807" y="533"/>
                  </a:lnTo>
                  <a:lnTo>
                    <a:pt x="3751" y="608"/>
                  </a:lnTo>
                  <a:lnTo>
                    <a:pt x="3646" y="730"/>
                  </a:lnTo>
                  <a:lnTo>
                    <a:pt x="3580" y="822"/>
                  </a:lnTo>
                  <a:lnTo>
                    <a:pt x="3480" y="939"/>
                  </a:lnTo>
                  <a:lnTo>
                    <a:pt x="3212" y="1058"/>
                  </a:lnTo>
                  <a:lnTo>
                    <a:pt x="2961" y="1162"/>
                  </a:lnTo>
                  <a:lnTo>
                    <a:pt x="2882" y="1237"/>
                  </a:lnTo>
                  <a:lnTo>
                    <a:pt x="2746" y="1325"/>
                  </a:lnTo>
                  <a:lnTo>
                    <a:pt x="2704" y="1430"/>
                  </a:lnTo>
                  <a:lnTo>
                    <a:pt x="2576" y="1610"/>
                  </a:lnTo>
                  <a:lnTo>
                    <a:pt x="2532" y="1707"/>
                  </a:lnTo>
                  <a:lnTo>
                    <a:pt x="2566" y="1826"/>
                  </a:lnTo>
                  <a:lnTo>
                    <a:pt x="2573" y="1918"/>
                  </a:lnTo>
                  <a:lnTo>
                    <a:pt x="2559" y="2012"/>
                  </a:lnTo>
                  <a:lnTo>
                    <a:pt x="2544" y="2114"/>
                  </a:lnTo>
                  <a:lnTo>
                    <a:pt x="2436" y="2195"/>
                  </a:lnTo>
                  <a:lnTo>
                    <a:pt x="2269" y="2330"/>
                  </a:lnTo>
                  <a:lnTo>
                    <a:pt x="2091" y="2512"/>
                  </a:lnTo>
                  <a:lnTo>
                    <a:pt x="1925" y="2605"/>
                  </a:lnTo>
                  <a:lnTo>
                    <a:pt x="1797" y="2653"/>
                  </a:lnTo>
                  <a:lnTo>
                    <a:pt x="1647" y="2722"/>
                  </a:lnTo>
                  <a:lnTo>
                    <a:pt x="1528" y="2808"/>
                  </a:lnTo>
                  <a:lnTo>
                    <a:pt x="1447" y="2931"/>
                  </a:lnTo>
                  <a:lnTo>
                    <a:pt x="1332" y="3038"/>
                  </a:lnTo>
                  <a:lnTo>
                    <a:pt x="1173" y="3213"/>
                  </a:lnTo>
                  <a:lnTo>
                    <a:pt x="1030" y="3388"/>
                  </a:lnTo>
                  <a:lnTo>
                    <a:pt x="1001" y="3475"/>
                  </a:lnTo>
                  <a:lnTo>
                    <a:pt x="951" y="3585"/>
                  </a:lnTo>
                  <a:lnTo>
                    <a:pt x="845" y="3723"/>
                  </a:lnTo>
                  <a:lnTo>
                    <a:pt x="700" y="3911"/>
                  </a:lnTo>
                  <a:lnTo>
                    <a:pt x="650" y="4048"/>
                  </a:lnTo>
                  <a:lnTo>
                    <a:pt x="448" y="4221"/>
                  </a:lnTo>
                  <a:lnTo>
                    <a:pt x="410" y="4305"/>
                  </a:lnTo>
                  <a:lnTo>
                    <a:pt x="349" y="4386"/>
                  </a:lnTo>
                  <a:lnTo>
                    <a:pt x="269" y="4455"/>
                  </a:lnTo>
                  <a:lnTo>
                    <a:pt x="232" y="4555"/>
                  </a:lnTo>
                  <a:lnTo>
                    <a:pt x="226" y="4651"/>
                  </a:lnTo>
                  <a:lnTo>
                    <a:pt x="176" y="4751"/>
                  </a:lnTo>
                  <a:lnTo>
                    <a:pt x="156" y="4813"/>
                  </a:lnTo>
                  <a:lnTo>
                    <a:pt x="163" y="4888"/>
                  </a:lnTo>
                  <a:lnTo>
                    <a:pt x="220" y="5002"/>
                  </a:lnTo>
                  <a:lnTo>
                    <a:pt x="292" y="5121"/>
                  </a:lnTo>
                  <a:lnTo>
                    <a:pt x="355" y="5258"/>
                  </a:lnTo>
                  <a:lnTo>
                    <a:pt x="369" y="5453"/>
                  </a:lnTo>
                  <a:lnTo>
                    <a:pt x="413" y="5578"/>
                  </a:lnTo>
                  <a:lnTo>
                    <a:pt x="477" y="5695"/>
                  </a:lnTo>
                  <a:lnTo>
                    <a:pt x="477" y="5825"/>
                  </a:lnTo>
                  <a:lnTo>
                    <a:pt x="441" y="5944"/>
                  </a:lnTo>
                  <a:lnTo>
                    <a:pt x="405" y="6019"/>
                  </a:lnTo>
                  <a:lnTo>
                    <a:pt x="391" y="6138"/>
                  </a:lnTo>
                  <a:lnTo>
                    <a:pt x="355" y="6250"/>
                  </a:lnTo>
                  <a:lnTo>
                    <a:pt x="307" y="6323"/>
                  </a:lnTo>
                  <a:lnTo>
                    <a:pt x="280" y="6392"/>
                  </a:lnTo>
                  <a:lnTo>
                    <a:pt x="215" y="6459"/>
                  </a:lnTo>
                  <a:lnTo>
                    <a:pt x="80" y="6545"/>
                  </a:lnTo>
                  <a:lnTo>
                    <a:pt x="0" y="6592"/>
                  </a:lnTo>
                  <a:lnTo>
                    <a:pt x="0" y="6680"/>
                  </a:lnTo>
                  <a:lnTo>
                    <a:pt x="74" y="6761"/>
                  </a:lnTo>
                  <a:lnTo>
                    <a:pt x="110" y="6891"/>
                  </a:lnTo>
                  <a:lnTo>
                    <a:pt x="117" y="7009"/>
                  </a:lnTo>
                  <a:lnTo>
                    <a:pt x="117" y="7138"/>
                  </a:lnTo>
                  <a:lnTo>
                    <a:pt x="61" y="7213"/>
                  </a:lnTo>
                  <a:lnTo>
                    <a:pt x="54" y="7299"/>
                  </a:lnTo>
                  <a:lnTo>
                    <a:pt x="185" y="7447"/>
                  </a:lnTo>
                  <a:lnTo>
                    <a:pt x="278" y="7578"/>
                  </a:lnTo>
                  <a:lnTo>
                    <a:pt x="459" y="7641"/>
                  </a:lnTo>
                  <a:lnTo>
                    <a:pt x="564" y="7676"/>
                  </a:lnTo>
                  <a:lnTo>
                    <a:pt x="670" y="7805"/>
                  </a:lnTo>
                  <a:lnTo>
                    <a:pt x="779" y="7951"/>
                  </a:lnTo>
                  <a:lnTo>
                    <a:pt x="880" y="8070"/>
                  </a:lnTo>
                  <a:lnTo>
                    <a:pt x="1010" y="8216"/>
                  </a:lnTo>
                  <a:lnTo>
                    <a:pt x="1152" y="8321"/>
                  </a:lnTo>
                  <a:lnTo>
                    <a:pt x="1238" y="8546"/>
                  </a:lnTo>
                  <a:lnTo>
                    <a:pt x="1195" y="8652"/>
                  </a:lnTo>
                  <a:lnTo>
                    <a:pt x="1275" y="8822"/>
                  </a:lnTo>
                  <a:lnTo>
                    <a:pt x="1378" y="8876"/>
                  </a:lnTo>
                  <a:lnTo>
                    <a:pt x="1513" y="8970"/>
                  </a:lnTo>
                  <a:lnTo>
                    <a:pt x="1679" y="9195"/>
                  </a:lnTo>
                  <a:lnTo>
                    <a:pt x="1843" y="9284"/>
                  </a:lnTo>
                  <a:lnTo>
                    <a:pt x="1963" y="9393"/>
                  </a:lnTo>
                  <a:lnTo>
                    <a:pt x="2026" y="9468"/>
                  </a:lnTo>
                  <a:lnTo>
                    <a:pt x="2137" y="9480"/>
                  </a:lnTo>
                  <a:lnTo>
                    <a:pt x="2185" y="9549"/>
                  </a:lnTo>
                  <a:lnTo>
                    <a:pt x="2387" y="9655"/>
                  </a:lnTo>
                  <a:lnTo>
                    <a:pt x="2546" y="9722"/>
                  </a:lnTo>
                  <a:lnTo>
                    <a:pt x="2676" y="9747"/>
                  </a:lnTo>
                  <a:lnTo>
                    <a:pt x="2864" y="9801"/>
                  </a:lnTo>
                  <a:lnTo>
                    <a:pt x="3059" y="9868"/>
                  </a:lnTo>
                  <a:lnTo>
                    <a:pt x="3321" y="9803"/>
                  </a:lnTo>
                  <a:lnTo>
                    <a:pt x="3355" y="9741"/>
                  </a:lnTo>
                  <a:lnTo>
                    <a:pt x="3514" y="9656"/>
                  </a:lnTo>
                  <a:lnTo>
                    <a:pt x="3671" y="9656"/>
                  </a:lnTo>
                  <a:lnTo>
                    <a:pt x="3834" y="9668"/>
                  </a:lnTo>
                  <a:lnTo>
                    <a:pt x="3928" y="9618"/>
                  </a:lnTo>
                  <a:lnTo>
                    <a:pt x="4065" y="9568"/>
                  </a:lnTo>
                  <a:lnTo>
                    <a:pt x="4183" y="9562"/>
                  </a:lnTo>
                  <a:lnTo>
                    <a:pt x="4264" y="9614"/>
                  </a:lnTo>
                  <a:lnTo>
                    <a:pt x="4399" y="9656"/>
                  </a:lnTo>
                  <a:lnTo>
                    <a:pt x="4491" y="9685"/>
                  </a:lnTo>
                  <a:lnTo>
                    <a:pt x="4570" y="9697"/>
                  </a:lnTo>
                  <a:lnTo>
                    <a:pt x="4741" y="9672"/>
                  </a:lnTo>
                  <a:lnTo>
                    <a:pt x="4835" y="9629"/>
                  </a:lnTo>
                  <a:lnTo>
                    <a:pt x="5049" y="9541"/>
                  </a:lnTo>
                  <a:lnTo>
                    <a:pt x="5236" y="9504"/>
                  </a:lnTo>
                  <a:lnTo>
                    <a:pt x="5409" y="9560"/>
                  </a:lnTo>
                  <a:lnTo>
                    <a:pt x="5568" y="9456"/>
                  </a:lnTo>
                  <a:lnTo>
                    <a:pt x="5900" y="9362"/>
                  </a:lnTo>
                  <a:lnTo>
                    <a:pt x="6211" y="9231"/>
                  </a:lnTo>
                  <a:lnTo>
                    <a:pt x="6387" y="9206"/>
                  </a:lnTo>
                  <a:lnTo>
                    <a:pt x="6552" y="9212"/>
                  </a:lnTo>
                  <a:lnTo>
                    <a:pt x="6746" y="9256"/>
                  </a:lnTo>
                  <a:lnTo>
                    <a:pt x="6865" y="9309"/>
                  </a:lnTo>
                  <a:lnTo>
                    <a:pt x="6951" y="9353"/>
                  </a:lnTo>
                  <a:lnTo>
                    <a:pt x="7023" y="9409"/>
                  </a:lnTo>
                  <a:lnTo>
                    <a:pt x="7103" y="9497"/>
                  </a:lnTo>
                  <a:lnTo>
                    <a:pt x="7134" y="9626"/>
                  </a:lnTo>
                  <a:lnTo>
                    <a:pt x="7148" y="9713"/>
                  </a:lnTo>
                  <a:lnTo>
                    <a:pt x="7170" y="9786"/>
                  </a:lnTo>
                  <a:lnTo>
                    <a:pt x="7298" y="9829"/>
                  </a:lnTo>
                  <a:lnTo>
                    <a:pt x="7435" y="9842"/>
                  </a:lnTo>
                  <a:lnTo>
                    <a:pt x="7584" y="9786"/>
                  </a:lnTo>
                  <a:lnTo>
                    <a:pt x="7980" y="9786"/>
                  </a:lnTo>
                  <a:lnTo>
                    <a:pt x="8202" y="9831"/>
                  </a:lnTo>
                  <a:lnTo>
                    <a:pt x="8289" y="9968"/>
                  </a:lnTo>
                  <a:lnTo>
                    <a:pt x="8455" y="10087"/>
                  </a:lnTo>
                  <a:lnTo>
                    <a:pt x="8491" y="10175"/>
                  </a:lnTo>
                  <a:lnTo>
                    <a:pt x="8498" y="10323"/>
                  </a:lnTo>
                  <a:lnTo>
                    <a:pt x="8534" y="10455"/>
                  </a:lnTo>
                  <a:lnTo>
                    <a:pt x="8534" y="10567"/>
                  </a:lnTo>
                  <a:lnTo>
                    <a:pt x="8486" y="10709"/>
                  </a:lnTo>
                  <a:lnTo>
                    <a:pt x="8438" y="10877"/>
                  </a:lnTo>
                  <a:lnTo>
                    <a:pt x="8421" y="11008"/>
                  </a:lnTo>
                  <a:lnTo>
                    <a:pt x="8356" y="11171"/>
                  </a:lnTo>
                  <a:lnTo>
                    <a:pt x="8236" y="11348"/>
                  </a:lnTo>
                  <a:lnTo>
                    <a:pt x="8272" y="11458"/>
                  </a:lnTo>
                  <a:lnTo>
                    <a:pt x="8279" y="11545"/>
                  </a:lnTo>
                  <a:lnTo>
                    <a:pt x="8322" y="11649"/>
                  </a:lnTo>
                  <a:lnTo>
                    <a:pt x="8387" y="11749"/>
                  </a:lnTo>
                  <a:lnTo>
                    <a:pt x="8437" y="11849"/>
                  </a:lnTo>
                  <a:lnTo>
                    <a:pt x="8567" y="11936"/>
                  </a:lnTo>
                  <a:lnTo>
                    <a:pt x="8726" y="12086"/>
                  </a:lnTo>
                  <a:lnTo>
                    <a:pt x="8935" y="12257"/>
                  </a:lnTo>
                  <a:lnTo>
                    <a:pt x="9193" y="12538"/>
                  </a:lnTo>
                  <a:lnTo>
                    <a:pt x="9222" y="12667"/>
                  </a:lnTo>
                  <a:lnTo>
                    <a:pt x="9215" y="12761"/>
                  </a:lnTo>
                  <a:lnTo>
                    <a:pt x="9229" y="12888"/>
                  </a:lnTo>
                  <a:lnTo>
                    <a:pt x="9266" y="13018"/>
                  </a:lnTo>
                  <a:lnTo>
                    <a:pt x="9302" y="13097"/>
                  </a:lnTo>
                  <a:lnTo>
                    <a:pt x="9403" y="13235"/>
                  </a:lnTo>
                  <a:lnTo>
                    <a:pt x="9453" y="13316"/>
                  </a:lnTo>
                  <a:lnTo>
                    <a:pt x="9566" y="13451"/>
                  </a:lnTo>
                  <a:lnTo>
                    <a:pt x="9766" y="13633"/>
                  </a:lnTo>
                  <a:lnTo>
                    <a:pt x="9692" y="13770"/>
                  </a:lnTo>
                  <a:lnTo>
                    <a:pt x="9591" y="13864"/>
                  </a:lnTo>
                  <a:lnTo>
                    <a:pt x="9591" y="13962"/>
                  </a:lnTo>
                  <a:lnTo>
                    <a:pt x="9620" y="14068"/>
                  </a:lnTo>
                  <a:lnTo>
                    <a:pt x="9710" y="14197"/>
                  </a:lnTo>
                  <a:lnTo>
                    <a:pt x="9780" y="14370"/>
                  </a:lnTo>
                  <a:lnTo>
                    <a:pt x="9795" y="14482"/>
                  </a:lnTo>
                  <a:lnTo>
                    <a:pt x="9802" y="14588"/>
                  </a:lnTo>
                  <a:lnTo>
                    <a:pt x="9775" y="14690"/>
                  </a:lnTo>
                  <a:lnTo>
                    <a:pt x="9739" y="14790"/>
                  </a:lnTo>
                  <a:lnTo>
                    <a:pt x="9667" y="14915"/>
                  </a:lnTo>
                  <a:lnTo>
                    <a:pt x="9609" y="15021"/>
                  </a:lnTo>
                  <a:lnTo>
                    <a:pt x="9530" y="15132"/>
                  </a:lnTo>
                  <a:lnTo>
                    <a:pt x="9479" y="15276"/>
                  </a:lnTo>
                  <a:lnTo>
                    <a:pt x="9395" y="15443"/>
                  </a:lnTo>
                  <a:lnTo>
                    <a:pt x="9345" y="15586"/>
                  </a:lnTo>
                  <a:lnTo>
                    <a:pt x="9275" y="15726"/>
                  </a:lnTo>
                  <a:lnTo>
                    <a:pt x="9162" y="15929"/>
                  </a:lnTo>
                  <a:lnTo>
                    <a:pt x="9125" y="16060"/>
                  </a:lnTo>
                  <a:lnTo>
                    <a:pt x="9118" y="16204"/>
                  </a:lnTo>
                  <a:lnTo>
                    <a:pt x="9133" y="16366"/>
                  </a:lnTo>
                  <a:lnTo>
                    <a:pt x="9145" y="16558"/>
                  </a:lnTo>
                  <a:lnTo>
                    <a:pt x="9224" y="16671"/>
                  </a:lnTo>
                  <a:lnTo>
                    <a:pt x="9275" y="16808"/>
                  </a:lnTo>
                  <a:lnTo>
                    <a:pt x="9364" y="16942"/>
                  </a:lnTo>
                  <a:lnTo>
                    <a:pt x="9448" y="17105"/>
                  </a:lnTo>
                  <a:lnTo>
                    <a:pt x="9540" y="17211"/>
                  </a:lnTo>
                  <a:lnTo>
                    <a:pt x="9663" y="17399"/>
                  </a:lnTo>
                  <a:lnTo>
                    <a:pt x="9739" y="17522"/>
                  </a:lnTo>
                  <a:lnTo>
                    <a:pt x="9826" y="17703"/>
                  </a:lnTo>
                  <a:lnTo>
                    <a:pt x="9978" y="17846"/>
                  </a:lnTo>
                  <a:lnTo>
                    <a:pt x="9978" y="17984"/>
                  </a:lnTo>
                  <a:lnTo>
                    <a:pt x="10014" y="18084"/>
                  </a:lnTo>
                  <a:lnTo>
                    <a:pt x="10050" y="18240"/>
                  </a:lnTo>
                  <a:lnTo>
                    <a:pt x="10081" y="18371"/>
                  </a:lnTo>
                  <a:lnTo>
                    <a:pt x="10146" y="18518"/>
                  </a:lnTo>
                  <a:lnTo>
                    <a:pt x="10197" y="18674"/>
                  </a:lnTo>
                  <a:lnTo>
                    <a:pt x="10223" y="18828"/>
                  </a:lnTo>
                  <a:lnTo>
                    <a:pt x="10173" y="18905"/>
                  </a:lnTo>
                  <a:cubicBezTo>
                    <a:pt x="10161" y="18932"/>
                    <a:pt x="10154" y="18960"/>
                    <a:pt x="10154" y="18989"/>
                  </a:cubicBezTo>
                  <a:cubicBezTo>
                    <a:pt x="10153" y="19050"/>
                    <a:pt x="10179" y="19109"/>
                    <a:pt x="10226" y="19154"/>
                  </a:cubicBezTo>
                  <a:lnTo>
                    <a:pt x="10226" y="19319"/>
                  </a:lnTo>
                  <a:lnTo>
                    <a:pt x="10198" y="19438"/>
                  </a:lnTo>
                  <a:lnTo>
                    <a:pt x="10205" y="19569"/>
                  </a:lnTo>
                  <a:lnTo>
                    <a:pt x="10335" y="19657"/>
                  </a:lnTo>
                  <a:cubicBezTo>
                    <a:pt x="10390" y="19680"/>
                    <a:pt x="10437" y="19714"/>
                    <a:pt x="10472" y="19757"/>
                  </a:cubicBezTo>
                  <a:cubicBezTo>
                    <a:pt x="10520" y="19816"/>
                    <a:pt x="10543" y="19887"/>
                    <a:pt x="10537" y="19959"/>
                  </a:cubicBezTo>
                  <a:cubicBezTo>
                    <a:pt x="10582" y="19972"/>
                    <a:pt x="10624" y="19991"/>
                    <a:pt x="10662" y="20015"/>
                  </a:cubicBezTo>
                  <a:cubicBezTo>
                    <a:pt x="10709" y="20045"/>
                    <a:pt x="10748" y="20083"/>
                    <a:pt x="10778" y="20126"/>
                  </a:cubicBezTo>
                  <a:lnTo>
                    <a:pt x="10833" y="20258"/>
                  </a:lnTo>
                  <a:lnTo>
                    <a:pt x="10886" y="20443"/>
                  </a:lnTo>
                  <a:lnTo>
                    <a:pt x="10987" y="20518"/>
                  </a:lnTo>
                  <a:lnTo>
                    <a:pt x="11146" y="20643"/>
                  </a:lnTo>
                  <a:lnTo>
                    <a:pt x="11228" y="20767"/>
                  </a:lnTo>
                  <a:lnTo>
                    <a:pt x="11192" y="20929"/>
                  </a:lnTo>
                  <a:lnTo>
                    <a:pt x="11116" y="20979"/>
                  </a:lnTo>
                  <a:lnTo>
                    <a:pt x="11094" y="21129"/>
                  </a:lnTo>
                  <a:lnTo>
                    <a:pt x="11138" y="21216"/>
                  </a:lnTo>
                  <a:lnTo>
                    <a:pt x="11232" y="21323"/>
                  </a:lnTo>
                  <a:lnTo>
                    <a:pt x="11296" y="21404"/>
                  </a:lnTo>
                  <a:lnTo>
                    <a:pt x="11398" y="21485"/>
                  </a:lnTo>
                  <a:lnTo>
                    <a:pt x="11510" y="21554"/>
                  </a:lnTo>
                  <a:lnTo>
                    <a:pt x="11611" y="21600"/>
                  </a:lnTo>
                  <a:lnTo>
                    <a:pt x="11710" y="21587"/>
                  </a:lnTo>
                  <a:lnTo>
                    <a:pt x="11885" y="21519"/>
                  </a:lnTo>
                  <a:lnTo>
                    <a:pt x="12056" y="21494"/>
                  </a:lnTo>
                  <a:lnTo>
                    <a:pt x="12201" y="21481"/>
                  </a:lnTo>
                  <a:lnTo>
                    <a:pt x="12338" y="21418"/>
                  </a:lnTo>
                  <a:lnTo>
                    <a:pt x="12439" y="21389"/>
                  </a:lnTo>
                  <a:lnTo>
                    <a:pt x="12576" y="21408"/>
                  </a:lnTo>
                  <a:lnTo>
                    <a:pt x="12739" y="21426"/>
                  </a:lnTo>
                  <a:lnTo>
                    <a:pt x="12983" y="21499"/>
                  </a:lnTo>
                  <a:lnTo>
                    <a:pt x="13082" y="21535"/>
                  </a:lnTo>
                  <a:lnTo>
                    <a:pt x="13262" y="21478"/>
                  </a:lnTo>
                  <a:lnTo>
                    <a:pt x="13457" y="21372"/>
                  </a:lnTo>
                  <a:lnTo>
                    <a:pt x="13645" y="21293"/>
                  </a:lnTo>
                  <a:lnTo>
                    <a:pt x="13855" y="21184"/>
                  </a:lnTo>
                  <a:lnTo>
                    <a:pt x="13917" y="21124"/>
                  </a:lnTo>
                  <a:lnTo>
                    <a:pt x="14020" y="21112"/>
                  </a:lnTo>
                  <a:lnTo>
                    <a:pt x="14140" y="20918"/>
                  </a:lnTo>
                  <a:lnTo>
                    <a:pt x="14308" y="20841"/>
                  </a:lnTo>
                  <a:lnTo>
                    <a:pt x="14496" y="20735"/>
                  </a:lnTo>
                  <a:lnTo>
                    <a:pt x="14532" y="20631"/>
                  </a:lnTo>
                  <a:cubicBezTo>
                    <a:pt x="14523" y="20597"/>
                    <a:pt x="14526" y="20563"/>
                    <a:pt x="14539" y="20531"/>
                  </a:cubicBezTo>
                  <a:cubicBezTo>
                    <a:pt x="14575" y="20440"/>
                    <a:pt x="14682" y="20384"/>
                    <a:pt x="14791" y="20399"/>
                  </a:cubicBezTo>
                  <a:lnTo>
                    <a:pt x="14996" y="20260"/>
                  </a:lnTo>
                  <a:lnTo>
                    <a:pt x="15107" y="20110"/>
                  </a:lnTo>
                  <a:lnTo>
                    <a:pt x="15150" y="19997"/>
                  </a:lnTo>
                  <a:lnTo>
                    <a:pt x="15186" y="19891"/>
                  </a:lnTo>
                  <a:lnTo>
                    <a:pt x="15369" y="19792"/>
                  </a:lnTo>
                  <a:lnTo>
                    <a:pt x="15454" y="19676"/>
                  </a:lnTo>
                  <a:lnTo>
                    <a:pt x="15576" y="19632"/>
                  </a:lnTo>
                  <a:lnTo>
                    <a:pt x="15638" y="19549"/>
                  </a:lnTo>
                  <a:lnTo>
                    <a:pt x="15609" y="19482"/>
                  </a:lnTo>
                  <a:lnTo>
                    <a:pt x="15554" y="19391"/>
                  </a:lnTo>
                  <a:lnTo>
                    <a:pt x="15540" y="19247"/>
                  </a:lnTo>
                  <a:lnTo>
                    <a:pt x="15594" y="18994"/>
                  </a:lnTo>
                  <a:lnTo>
                    <a:pt x="15680" y="18888"/>
                  </a:lnTo>
                  <a:lnTo>
                    <a:pt x="15783" y="18803"/>
                  </a:lnTo>
                  <a:lnTo>
                    <a:pt x="16108" y="18703"/>
                  </a:lnTo>
                  <a:lnTo>
                    <a:pt x="16294" y="18563"/>
                  </a:lnTo>
                  <a:lnTo>
                    <a:pt x="16356" y="18482"/>
                  </a:lnTo>
                  <a:lnTo>
                    <a:pt x="16450" y="18419"/>
                  </a:lnTo>
                  <a:lnTo>
                    <a:pt x="16505" y="18325"/>
                  </a:lnTo>
                  <a:lnTo>
                    <a:pt x="16541" y="18156"/>
                  </a:lnTo>
                  <a:lnTo>
                    <a:pt x="16548" y="18043"/>
                  </a:lnTo>
                  <a:lnTo>
                    <a:pt x="16548" y="17943"/>
                  </a:lnTo>
                  <a:lnTo>
                    <a:pt x="16457" y="17826"/>
                  </a:lnTo>
                  <a:lnTo>
                    <a:pt x="16334" y="17670"/>
                  </a:lnTo>
                  <a:lnTo>
                    <a:pt x="16240" y="17538"/>
                  </a:lnTo>
                  <a:lnTo>
                    <a:pt x="16254" y="17449"/>
                  </a:lnTo>
                  <a:lnTo>
                    <a:pt x="16304" y="17342"/>
                  </a:lnTo>
                  <a:lnTo>
                    <a:pt x="16369" y="17186"/>
                  </a:lnTo>
                  <a:lnTo>
                    <a:pt x="16451" y="17084"/>
                  </a:lnTo>
                  <a:lnTo>
                    <a:pt x="16585" y="16986"/>
                  </a:lnTo>
                  <a:lnTo>
                    <a:pt x="16672" y="16904"/>
                  </a:lnTo>
                  <a:lnTo>
                    <a:pt x="16819" y="16806"/>
                  </a:lnTo>
                  <a:lnTo>
                    <a:pt x="16908" y="16667"/>
                  </a:lnTo>
                  <a:lnTo>
                    <a:pt x="17014" y="16561"/>
                  </a:lnTo>
                  <a:lnTo>
                    <a:pt x="17093" y="16492"/>
                  </a:lnTo>
                  <a:lnTo>
                    <a:pt x="17208" y="16417"/>
                  </a:lnTo>
                  <a:lnTo>
                    <a:pt x="17512" y="16298"/>
                  </a:lnTo>
                  <a:lnTo>
                    <a:pt x="17764" y="16173"/>
                  </a:lnTo>
                  <a:lnTo>
                    <a:pt x="17834" y="16130"/>
                  </a:lnTo>
                  <a:lnTo>
                    <a:pt x="18026" y="15990"/>
                  </a:lnTo>
                  <a:cubicBezTo>
                    <a:pt x="18082" y="15956"/>
                    <a:pt x="18127" y="15911"/>
                    <a:pt x="18157" y="15859"/>
                  </a:cubicBezTo>
                  <a:cubicBezTo>
                    <a:pt x="18188" y="15803"/>
                    <a:pt x="18203" y="15741"/>
                    <a:pt x="18198" y="15679"/>
                  </a:cubicBezTo>
                  <a:lnTo>
                    <a:pt x="18246" y="15583"/>
                  </a:lnTo>
                  <a:lnTo>
                    <a:pt x="18366" y="15487"/>
                  </a:lnTo>
                  <a:lnTo>
                    <a:pt x="18345" y="15404"/>
                  </a:lnTo>
                  <a:lnTo>
                    <a:pt x="18243" y="15335"/>
                  </a:lnTo>
                  <a:lnTo>
                    <a:pt x="18279" y="15179"/>
                  </a:lnTo>
                  <a:lnTo>
                    <a:pt x="18265" y="15022"/>
                  </a:lnTo>
                  <a:lnTo>
                    <a:pt x="18188" y="14962"/>
                  </a:lnTo>
                  <a:cubicBezTo>
                    <a:pt x="18199" y="14916"/>
                    <a:pt x="18210" y="14869"/>
                    <a:pt x="18222" y="14823"/>
                  </a:cubicBezTo>
                  <a:cubicBezTo>
                    <a:pt x="18246" y="14730"/>
                    <a:pt x="18271" y="14638"/>
                    <a:pt x="18299" y="14547"/>
                  </a:cubicBezTo>
                  <a:lnTo>
                    <a:pt x="18285" y="14483"/>
                  </a:lnTo>
                  <a:lnTo>
                    <a:pt x="18215" y="14353"/>
                  </a:lnTo>
                  <a:lnTo>
                    <a:pt x="18136" y="14247"/>
                  </a:lnTo>
                  <a:lnTo>
                    <a:pt x="18078" y="14173"/>
                  </a:lnTo>
                  <a:lnTo>
                    <a:pt x="18002" y="14079"/>
                  </a:lnTo>
                  <a:lnTo>
                    <a:pt x="17843" y="13717"/>
                  </a:lnTo>
                  <a:lnTo>
                    <a:pt x="17758" y="13550"/>
                  </a:lnTo>
                  <a:lnTo>
                    <a:pt x="17758" y="13409"/>
                  </a:lnTo>
                  <a:lnTo>
                    <a:pt x="17751" y="13334"/>
                  </a:lnTo>
                  <a:lnTo>
                    <a:pt x="17751" y="13215"/>
                  </a:lnTo>
                  <a:lnTo>
                    <a:pt x="17758" y="13096"/>
                  </a:lnTo>
                  <a:lnTo>
                    <a:pt x="17763" y="12990"/>
                  </a:lnTo>
                  <a:lnTo>
                    <a:pt x="17785" y="12871"/>
                  </a:lnTo>
                  <a:lnTo>
                    <a:pt x="17806" y="12777"/>
                  </a:lnTo>
                  <a:lnTo>
                    <a:pt x="17847" y="12656"/>
                  </a:lnTo>
                  <a:lnTo>
                    <a:pt x="17869" y="12508"/>
                  </a:lnTo>
                  <a:lnTo>
                    <a:pt x="17948" y="12397"/>
                  </a:lnTo>
                  <a:lnTo>
                    <a:pt x="17975" y="12341"/>
                  </a:lnTo>
                  <a:lnTo>
                    <a:pt x="18025" y="12266"/>
                  </a:lnTo>
                  <a:lnTo>
                    <a:pt x="18119" y="12160"/>
                  </a:lnTo>
                  <a:lnTo>
                    <a:pt x="18213" y="12103"/>
                  </a:lnTo>
                  <a:lnTo>
                    <a:pt x="18266" y="11989"/>
                  </a:lnTo>
                  <a:lnTo>
                    <a:pt x="18374" y="11916"/>
                  </a:lnTo>
                  <a:lnTo>
                    <a:pt x="18483" y="11840"/>
                  </a:lnTo>
                  <a:lnTo>
                    <a:pt x="18706" y="11666"/>
                  </a:lnTo>
                  <a:lnTo>
                    <a:pt x="18844" y="11494"/>
                  </a:lnTo>
                  <a:lnTo>
                    <a:pt x="18938" y="11331"/>
                  </a:lnTo>
                  <a:lnTo>
                    <a:pt x="19010" y="11281"/>
                  </a:lnTo>
                  <a:lnTo>
                    <a:pt x="19096" y="11194"/>
                  </a:lnTo>
                  <a:lnTo>
                    <a:pt x="19175" y="11131"/>
                  </a:lnTo>
                  <a:lnTo>
                    <a:pt x="19282" y="10996"/>
                  </a:lnTo>
                  <a:lnTo>
                    <a:pt x="19324" y="10940"/>
                  </a:lnTo>
                  <a:lnTo>
                    <a:pt x="19389" y="10872"/>
                  </a:lnTo>
                  <a:lnTo>
                    <a:pt x="19524" y="10799"/>
                  </a:lnTo>
                  <a:cubicBezTo>
                    <a:pt x="19560" y="10778"/>
                    <a:pt x="19596" y="10758"/>
                    <a:pt x="19632" y="10738"/>
                  </a:cubicBezTo>
                  <a:cubicBezTo>
                    <a:pt x="19704" y="10698"/>
                    <a:pt x="19777" y="10660"/>
                    <a:pt x="19849" y="10621"/>
                  </a:cubicBezTo>
                  <a:lnTo>
                    <a:pt x="20001" y="10465"/>
                  </a:lnTo>
                  <a:lnTo>
                    <a:pt x="20044" y="10396"/>
                  </a:lnTo>
                  <a:lnTo>
                    <a:pt x="20145" y="10315"/>
                  </a:lnTo>
                  <a:lnTo>
                    <a:pt x="20246" y="10299"/>
                  </a:lnTo>
                  <a:lnTo>
                    <a:pt x="20366" y="10226"/>
                  </a:lnTo>
                  <a:cubicBezTo>
                    <a:pt x="20392" y="10200"/>
                    <a:pt x="20416" y="10173"/>
                    <a:pt x="20438" y="10144"/>
                  </a:cubicBezTo>
                  <a:cubicBezTo>
                    <a:pt x="20479" y="10093"/>
                    <a:pt x="20513" y="10038"/>
                    <a:pt x="20540" y="9980"/>
                  </a:cubicBezTo>
                  <a:lnTo>
                    <a:pt x="20669" y="9713"/>
                  </a:lnTo>
                  <a:lnTo>
                    <a:pt x="20763" y="9627"/>
                  </a:lnTo>
                  <a:lnTo>
                    <a:pt x="20850" y="9427"/>
                  </a:lnTo>
                  <a:lnTo>
                    <a:pt x="21053" y="9218"/>
                  </a:lnTo>
                  <a:lnTo>
                    <a:pt x="21106" y="9101"/>
                  </a:lnTo>
                  <a:lnTo>
                    <a:pt x="21207" y="8920"/>
                  </a:lnTo>
                  <a:lnTo>
                    <a:pt x="21270" y="8773"/>
                  </a:lnTo>
                  <a:lnTo>
                    <a:pt x="21345" y="8665"/>
                  </a:lnTo>
                  <a:lnTo>
                    <a:pt x="21410" y="8525"/>
                  </a:lnTo>
                  <a:lnTo>
                    <a:pt x="21516" y="8371"/>
                  </a:lnTo>
                  <a:lnTo>
                    <a:pt x="21542" y="8283"/>
                  </a:lnTo>
                  <a:lnTo>
                    <a:pt x="21600" y="8133"/>
                  </a:lnTo>
                  <a:lnTo>
                    <a:pt x="21600" y="8003"/>
                  </a:lnTo>
                  <a:lnTo>
                    <a:pt x="21549" y="7866"/>
                  </a:lnTo>
                  <a:lnTo>
                    <a:pt x="21537" y="7747"/>
                  </a:lnTo>
                  <a:lnTo>
                    <a:pt x="21528" y="7674"/>
                  </a:lnTo>
                  <a:lnTo>
                    <a:pt x="21417" y="7699"/>
                  </a:lnTo>
                  <a:lnTo>
                    <a:pt x="21251" y="7784"/>
                  </a:lnTo>
                  <a:lnTo>
                    <a:pt x="20953" y="7845"/>
                  </a:lnTo>
                  <a:lnTo>
                    <a:pt x="20707" y="7931"/>
                  </a:lnTo>
                  <a:lnTo>
                    <a:pt x="20477" y="7987"/>
                  </a:lnTo>
                  <a:lnTo>
                    <a:pt x="20226" y="8018"/>
                  </a:lnTo>
                  <a:lnTo>
                    <a:pt x="19987" y="8056"/>
                  </a:lnTo>
                  <a:lnTo>
                    <a:pt x="19901" y="8080"/>
                  </a:lnTo>
                  <a:lnTo>
                    <a:pt x="19803" y="8110"/>
                  </a:lnTo>
                  <a:lnTo>
                    <a:pt x="19721" y="8116"/>
                  </a:lnTo>
                  <a:lnTo>
                    <a:pt x="19490" y="8053"/>
                  </a:lnTo>
                  <a:cubicBezTo>
                    <a:pt x="19444" y="8038"/>
                    <a:pt x="19398" y="8022"/>
                    <a:pt x="19353" y="8003"/>
                  </a:cubicBezTo>
                  <a:cubicBezTo>
                    <a:pt x="19301" y="7982"/>
                    <a:pt x="19251" y="7959"/>
                    <a:pt x="19202" y="7934"/>
                  </a:cubicBezTo>
                  <a:lnTo>
                    <a:pt x="19144" y="7826"/>
                  </a:lnTo>
                  <a:lnTo>
                    <a:pt x="19151" y="7733"/>
                  </a:lnTo>
                  <a:lnTo>
                    <a:pt x="19091" y="7614"/>
                  </a:lnTo>
                  <a:lnTo>
                    <a:pt x="19062" y="7518"/>
                  </a:lnTo>
                  <a:lnTo>
                    <a:pt x="19033" y="7385"/>
                  </a:lnTo>
                  <a:lnTo>
                    <a:pt x="18862" y="7343"/>
                  </a:lnTo>
                  <a:lnTo>
                    <a:pt x="18805" y="7243"/>
                  </a:lnTo>
                  <a:lnTo>
                    <a:pt x="18783" y="7166"/>
                  </a:lnTo>
                  <a:lnTo>
                    <a:pt x="18632" y="7073"/>
                  </a:lnTo>
                  <a:lnTo>
                    <a:pt x="18605" y="6906"/>
                  </a:lnTo>
                  <a:lnTo>
                    <a:pt x="18519" y="6897"/>
                  </a:lnTo>
                  <a:cubicBezTo>
                    <a:pt x="18492" y="6901"/>
                    <a:pt x="18465" y="6899"/>
                    <a:pt x="18439" y="6891"/>
                  </a:cubicBezTo>
                  <a:cubicBezTo>
                    <a:pt x="18366" y="6870"/>
                    <a:pt x="18317" y="6810"/>
                    <a:pt x="18316" y="6743"/>
                  </a:cubicBezTo>
                  <a:cubicBezTo>
                    <a:pt x="18302" y="6716"/>
                    <a:pt x="18283" y="6691"/>
                    <a:pt x="18261" y="6668"/>
                  </a:cubicBezTo>
                  <a:cubicBezTo>
                    <a:pt x="18230" y="6636"/>
                    <a:pt x="18191" y="6609"/>
                    <a:pt x="18148" y="6589"/>
                  </a:cubicBezTo>
                  <a:lnTo>
                    <a:pt x="18030" y="6579"/>
                  </a:lnTo>
                  <a:lnTo>
                    <a:pt x="17871" y="6463"/>
                  </a:lnTo>
                  <a:lnTo>
                    <a:pt x="17771" y="6355"/>
                  </a:lnTo>
                  <a:lnTo>
                    <a:pt x="17792" y="6247"/>
                  </a:lnTo>
                  <a:lnTo>
                    <a:pt x="17721" y="6185"/>
                  </a:lnTo>
                  <a:lnTo>
                    <a:pt x="17713" y="6087"/>
                  </a:lnTo>
                  <a:lnTo>
                    <a:pt x="17711" y="6006"/>
                  </a:lnTo>
                  <a:lnTo>
                    <a:pt x="17530" y="5908"/>
                  </a:lnTo>
                  <a:lnTo>
                    <a:pt x="17460" y="5774"/>
                  </a:lnTo>
                  <a:lnTo>
                    <a:pt x="17402" y="5680"/>
                  </a:lnTo>
                  <a:lnTo>
                    <a:pt x="17258" y="5530"/>
                  </a:lnTo>
                  <a:lnTo>
                    <a:pt x="17183" y="5451"/>
                  </a:lnTo>
                  <a:lnTo>
                    <a:pt x="17082" y="5351"/>
                  </a:lnTo>
                  <a:lnTo>
                    <a:pt x="17048" y="5222"/>
                  </a:lnTo>
                  <a:lnTo>
                    <a:pt x="17048" y="5089"/>
                  </a:lnTo>
                  <a:cubicBezTo>
                    <a:pt x="17065" y="5018"/>
                    <a:pt x="17060" y="4945"/>
                    <a:pt x="17034" y="4876"/>
                  </a:cubicBezTo>
                  <a:cubicBezTo>
                    <a:pt x="17013" y="4820"/>
                    <a:pt x="16978" y="4769"/>
                    <a:pt x="16933" y="4726"/>
                  </a:cubicBezTo>
                  <a:lnTo>
                    <a:pt x="16889" y="4630"/>
                  </a:lnTo>
                  <a:lnTo>
                    <a:pt x="16775" y="4458"/>
                  </a:lnTo>
                  <a:lnTo>
                    <a:pt x="16501" y="4341"/>
                  </a:lnTo>
                  <a:lnTo>
                    <a:pt x="16472" y="4199"/>
                  </a:lnTo>
                  <a:cubicBezTo>
                    <a:pt x="16470" y="4140"/>
                    <a:pt x="16461" y="4082"/>
                    <a:pt x="16443" y="4024"/>
                  </a:cubicBezTo>
                  <a:cubicBezTo>
                    <a:pt x="16425" y="3965"/>
                    <a:pt x="16398" y="3909"/>
                    <a:pt x="16363" y="3855"/>
                  </a:cubicBezTo>
                  <a:lnTo>
                    <a:pt x="16291" y="3674"/>
                  </a:lnTo>
                  <a:cubicBezTo>
                    <a:pt x="16289" y="3647"/>
                    <a:pt x="16285" y="3621"/>
                    <a:pt x="16277" y="3595"/>
                  </a:cubicBezTo>
                  <a:cubicBezTo>
                    <a:pt x="16256" y="3522"/>
                    <a:pt x="16213" y="3455"/>
                    <a:pt x="16154" y="3401"/>
                  </a:cubicBezTo>
                  <a:lnTo>
                    <a:pt x="16039" y="3250"/>
                  </a:lnTo>
                  <a:lnTo>
                    <a:pt x="15769" y="2894"/>
                  </a:lnTo>
                  <a:lnTo>
                    <a:pt x="15611" y="2670"/>
                  </a:lnTo>
                  <a:lnTo>
                    <a:pt x="15517" y="2564"/>
                  </a:lnTo>
                  <a:lnTo>
                    <a:pt x="15445" y="2442"/>
                  </a:lnTo>
                  <a:lnTo>
                    <a:pt x="15435" y="2351"/>
                  </a:lnTo>
                  <a:lnTo>
                    <a:pt x="15507" y="2268"/>
                  </a:lnTo>
                  <a:lnTo>
                    <a:pt x="15557" y="2174"/>
                  </a:lnTo>
                  <a:lnTo>
                    <a:pt x="15579" y="2095"/>
                  </a:lnTo>
                  <a:lnTo>
                    <a:pt x="15476" y="1983"/>
                  </a:lnTo>
                  <a:lnTo>
                    <a:pt x="15276" y="1854"/>
                  </a:lnTo>
                  <a:lnTo>
                    <a:pt x="15163" y="1798"/>
                  </a:lnTo>
                  <a:lnTo>
                    <a:pt x="15004" y="1798"/>
                  </a:lnTo>
                  <a:lnTo>
                    <a:pt x="14882" y="1810"/>
                  </a:lnTo>
                  <a:lnTo>
                    <a:pt x="14680" y="1867"/>
                  </a:lnTo>
                  <a:lnTo>
                    <a:pt x="14502" y="1898"/>
                  </a:lnTo>
                  <a:lnTo>
                    <a:pt x="14335" y="1902"/>
                  </a:lnTo>
                  <a:lnTo>
                    <a:pt x="14156" y="1858"/>
                  </a:lnTo>
                  <a:lnTo>
                    <a:pt x="13954" y="1827"/>
                  </a:lnTo>
                  <a:lnTo>
                    <a:pt x="13826" y="1795"/>
                  </a:lnTo>
                  <a:lnTo>
                    <a:pt x="13650" y="1741"/>
                  </a:lnTo>
                  <a:lnTo>
                    <a:pt x="13521" y="1716"/>
                  </a:lnTo>
                  <a:lnTo>
                    <a:pt x="13389" y="1716"/>
                  </a:lnTo>
                  <a:lnTo>
                    <a:pt x="13240" y="1681"/>
                  </a:lnTo>
                  <a:lnTo>
                    <a:pt x="13103" y="1668"/>
                  </a:lnTo>
                  <a:lnTo>
                    <a:pt x="12934" y="1606"/>
                  </a:lnTo>
                  <a:lnTo>
                    <a:pt x="12749" y="1481"/>
                  </a:lnTo>
                  <a:lnTo>
                    <a:pt x="12590" y="1418"/>
                  </a:lnTo>
                  <a:lnTo>
                    <a:pt x="12457" y="1374"/>
                  </a:lnTo>
                  <a:lnTo>
                    <a:pt x="12308" y="1331"/>
                  </a:lnTo>
                  <a:lnTo>
                    <a:pt x="12072" y="1318"/>
                  </a:lnTo>
                  <a:lnTo>
                    <a:pt x="11905" y="1298"/>
                  </a:lnTo>
                  <a:close/>
                </a:path>
              </a:pathLst>
            </a:custGeom>
            <a:grpFill/>
            <a:ln w="25400" cap="flat">
              <a:noFill/>
              <a:prstDash val="solid"/>
              <a:miter lim="400000"/>
            </a:ln>
            <a:effectLst/>
          </p:spPr>
          <p:txBody>
            <a:bodyPr anchor="ctr"/>
            <a:lstStyle/>
            <a:p>
              <a:pPr algn="ctr"/>
              <a:endParaRPr/>
            </a:p>
          </p:txBody>
        </p:sp>
        <p:sp>
          <p:nvSpPr>
            <p:cNvPr id="66" name="ïś1îḍê">
              <a:extLst>
                <a:ext uri="{FF2B5EF4-FFF2-40B4-BE49-F238E27FC236}">
                  <a16:creationId xmlns="" xmlns:p14="http://schemas.microsoft.com/office/powerpoint/2010/main" xmlns:a16="http://schemas.microsoft.com/office/drawing/2014/main" id="{09572E3C-9BDF-4868-87EB-48A0E0620BC3}"/>
                </a:ext>
              </a:extLst>
            </p:cNvPr>
            <p:cNvSpPr/>
            <p:nvPr/>
          </p:nvSpPr>
          <p:spPr>
            <a:xfrm>
              <a:off x="7392962" y="4263491"/>
              <a:ext cx="22472" cy="27321"/>
            </a:xfrm>
            <a:custGeom>
              <a:avLst/>
              <a:gdLst/>
              <a:ahLst/>
              <a:cxnLst>
                <a:cxn ang="0">
                  <a:pos x="wd2" y="hd2"/>
                </a:cxn>
                <a:cxn ang="5400000">
                  <a:pos x="wd2" y="hd2"/>
                </a:cxn>
                <a:cxn ang="10800000">
                  <a:pos x="wd2" y="hd2"/>
                </a:cxn>
                <a:cxn ang="16200000">
                  <a:pos x="wd2" y="hd2"/>
                </a:cxn>
              </a:cxnLst>
              <a:rect l="0" t="0" r="r" b="b"/>
              <a:pathLst>
                <a:path w="21600" h="21600" extrusionOk="0">
                  <a:moveTo>
                    <a:pt x="6326" y="0"/>
                  </a:moveTo>
                  <a:lnTo>
                    <a:pt x="0" y="9333"/>
                  </a:lnTo>
                  <a:lnTo>
                    <a:pt x="1832" y="16236"/>
                  </a:lnTo>
                  <a:lnTo>
                    <a:pt x="15030" y="21600"/>
                  </a:lnTo>
                  <a:lnTo>
                    <a:pt x="21600" y="15013"/>
                  </a:lnTo>
                  <a:lnTo>
                    <a:pt x="21600" y="3233"/>
                  </a:lnTo>
                  <a:lnTo>
                    <a:pt x="6326" y="0"/>
                  </a:lnTo>
                  <a:close/>
                </a:path>
              </a:pathLst>
            </a:custGeom>
            <a:grpFill/>
            <a:ln w="25400" cap="flat">
              <a:noFill/>
              <a:prstDash val="solid"/>
              <a:miter lim="400000"/>
            </a:ln>
            <a:effectLst/>
          </p:spPr>
          <p:txBody>
            <a:bodyPr anchor="ctr"/>
            <a:lstStyle/>
            <a:p>
              <a:pPr algn="ctr"/>
              <a:endParaRPr/>
            </a:p>
          </p:txBody>
        </p:sp>
        <p:sp>
          <p:nvSpPr>
            <p:cNvPr id="67" name="işlïḑe">
              <a:extLst>
                <a:ext uri="{FF2B5EF4-FFF2-40B4-BE49-F238E27FC236}">
                  <a16:creationId xmlns="" xmlns:p14="http://schemas.microsoft.com/office/powerpoint/2010/main" xmlns:a16="http://schemas.microsoft.com/office/drawing/2014/main" id="{FEA33E05-17F6-4BEA-9181-A0C3788CBFB6}"/>
                </a:ext>
              </a:extLst>
            </p:cNvPr>
            <p:cNvSpPr/>
            <p:nvPr/>
          </p:nvSpPr>
          <p:spPr>
            <a:xfrm>
              <a:off x="6950702" y="4538501"/>
              <a:ext cx="248466" cy="475742"/>
            </a:xfrm>
            <a:custGeom>
              <a:avLst/>
              <a:gdLst/>
              <a:ahLst/>
              <a:cxnLst>
                <a:cxn ang="0">
                  <a:pos x="wd2" y="hd2"/>
                </a:cxn>
                <a:cxn ang="5400000">
                  <a:pos x="wd2" y="hd2"/>
                </a:cxn>
                <a:cxn ang="10800000">
                  <a:pos x="wd2" y="hd2"/>
                </a:cxn>
                <a:cxn ang="16200000">
                  <a:pos x="wd2" y="hd2"/>
                </a:cxn>
              </a:cxnLst>
              <a:rect l="0" t="0" r="r" b="b"/>
              <a:pathLst>
                <a:path w="21600" h="21600" extrusionOk="0">
                  <a:moveTo>
                    <a:pt x="18696" y="0"/>
                  </a:moveTo>
                  <a:lnTo>
                    <a:pt x="19918" y="733"/>
                  </a:lnTo>
                  <a:lnTo>
                    <a:pt x="20738" y="1839"/>
                  </a:lnTo>
                  <a:lnTo>
                    <a:pt x="21268" y="2687"/>
                  </a:lnTo>
                  <a:lnTo>
                    <a:pt x="21600" y="3981"/>
                  </a:lnTo>
                  <a:lnTo>
                    <a:pt x="20826" y="5023"/>
                  </a:lnTo>
                  <a:cubicBezTo>
                    <a:pt x="20609" y="5376"/>
                    <a:pt x="20366" y="5724"/>
                    <a:pt x="20097" y="6066"/>
                  </a:cubicBezTo>
                  <a:cubicBezTo>
                    <a:pt x="19662" y="6621"/>
                    <a:pt x="19160" y="7160"/>
                    <a:pt x="18594" y="7681"/>
                  </a:cubicBezTo>
                  <a:lnTo>
                    <a:pt x="17802" y="9136"/>
                  </a:lnTo>
                  <a:lnTo>
                    <a:pt x="17031" y="10592"/>
                  </a:lnTo>
                  <a:cubicBezTo>
                    <a:pt x="16764" y="10920"/>
                    <a:pt x="16499" y="11249"/>
                    <a:pt x="16235" y="11578"/>
                  </a:cubicBezTo>
                  <a:cubicBezTo>
                    <a:pt x="15888" y="12012"/>
                    <a:pt x="15544" y="12446"/>
                    <a:pt x="15203" y="12881"/>
                  </a:cubicBezTo>
                  <a:lnTo>
                    <a:pt x="14606" y="13728"/>
                  </a:lnTo>
                  <a:lnTo>
                    <a:pt x="14010" y="14760"/>
                  </a:lnTo>
                  <a:lnTo>
                    <a:pt x="13215" y="16308"/>
                  </a:lnTo>
                  <a:lnTo>
                    <a:pt x="12950" y="17339"/>
                  </a:lnTo>
                  <a:lnTo>
                    <a:pt x="12553" y="18473"/>
                  </a:lnTo>
                  <a:lnTo>
                    <a:pt x="11359" y="19536"/>
                  </a:lnTo>
                  <a:lnTo>
                    <a:pt x="10161" y="20327"/>
                  </a:lnTo>
                  <a:lnTo>
                    <a:pt x="8567" y="20671"/>
                  </a:lnTo>
                  <a:lnTo>
                    <a:pt x="6435" y="21394"/>
                  </a:lnTo>
                  <a:lnTo>
                    <a:pt x="5446" y="21600"/>
                  </a:lnTo>
                  <a:cubicBezTo>
                    <a:pt x="4959" y="21573"/>
                    <a:pt x="4489" y="21491"/>
                    <a:pt x="4070" y="21359"/>
                  </a:cubicBezTo>
                  <a:cubicBezTo>
                    <a:pt x="3557" y="21198"/>
                    <a:pt x="3137" y="20969"/>
                    <a:pt x="2852" y="20696"/>
                  </a:cubicBezTo>
                  <a:cubicBezTo>
                    <a:pt x="2444" y="20653"/>
                    <a:pt x="2063" y="20558"/>
                    <a:pt x="1743" y="20420"/>
                  </a:cubicBezTo>
                  <a:cubicBezTo>
                    <a:pt x="1252" y="20209"/>
                    <a:pt x="932" y="19911"/>
                    <a:pt x="844" y="19584"/>
                  </a:cubicBezTo>
                  <a:cubicBezTo>
                    <a:pt x="905" y="19197"/>
                    <a:pt x="866" y="18807"/>
                    <a:pt x="730" y="18426"/>
                  </a:cubicBezTo>
                  <a:cubicBezTo>
                    <a:pt x="598" y="18058"/>
                    <a:pt x="376" y="17701"/>
                    <a:pt x="69" y="17362"/>
                  </a:cubicBezTo>
                  <a:lnTo>
                    <a:pt x="0" y="16892"/>
                  </a:lnTo>
                  <a:lnTo>
                    <a:pt x="534" y="16137"/>
                  </a:lnTo>
                  <a:lnTo>
                    <a:pt x="1656" y="15246"/>
                  </a:lnTo>
                  <a:lnTo>
                    <a:pt x="2695" y="14432"/>
                  </a:lnTo>
                  <a:lnTo>
                    <a:pt x="3422" y="13745"/>
                  </a:lnTo>
                  <a:lnTo>
                    <a:pt x="4350" y="12713"/>
                  </a:lnTo>
                  <a:cubicBezTo>
                    <a:pt x="4439" y="12532"/>
                    <a:pt x="4506" y="12348"/>
                    <a:pt x="4549" y="12163"/>
                  </a:cubicBezTo>
                  <a:cubicBezTo>
                    <a:pt x="4652" y="11728"/>
                    <a:pt x="4630" y="11288"/>
                    <a:pt x="4483" y="10857"/>
                  </a:cubicBezTo>
                  <a:lnTo>
                    <a:pt x="3687" y="9791"/>
                  </a:lnTo>
                  <a:cubicBezTo>
                    <a:pt x="3616" y="9483"/>
                    <a:pt x="3616" y="9171"/>
                    <a:pt x="3687" y="8862"/>
                  </a:cubicBezTo>
                  <a:cubicBezTo>
                    <a:pt x="3777" y="8475"/>
                    <a:pt x="3978" y="8097"/>
                    <a:pt x="4284" y="7740"/>
                  </a:cubicBezTo>
                  <a:lnTo>
                    <a:pt x="4594" y="6756"/>
                  </a:lnTo>
                  <a:lnTo>
                    <a:pt x="5588" y="5967"/>
                  </a:lnTo>
                  <a:cubicBezTo>
                    <a:pt x="5955" y="5974"/>
                    <a:pt x="6322" y="5974"/>
                    <a:pt x="6688" y="5967"/>
                  </a:cubicBezTo>
                  <a:cubicBezTo>
                    <a:pt x="7526" y="5953"/>
                    <a:pt x="8361" y="5907"/>
                    <a:pt x="9186" y="5830"/>
                  </a:cubicBezTo>
                  <a:lnTo>
                    <a:pt x="11131" y="5176"/>
                  </a:lnTo>
                  <a:lnTo>
                    <a:pt x="12454" y="4236"/>
                  </a:lnTo>
                  <a:cubicBezTo>
                    <a:pt x="12687" y="3853"/>
                    <a:pt x="13251" y="3548"/>
                    <a:pt x="13980" y="3411"/>
                  </a:cubicBezTo>
                  <a:cubicBezTo>
                    <a:pt x="14318" y="3347"/>
                    <a:pt x="14680" y="3324"/>
                    <a:pt x="15038" y="3342"/>
                  </a:cubicBezTo>
                  <a:cubicBezTo>
                    <a:pt x="15356" y="3221"/>
                    <a:pt x="15665" y="3095"/>
                    <a:pt x="15966" y="2964"/>
                  </a:cubicBezTo>
                  <a:cubicBezTo>
                    <a:pt x="16733" y="2629"/>
                    <a:pt x="17443" y="2261"/>
                    <a:pt x="18088" y="1863"/>
                  </a:cubicBezTo>
                  <a:lnTo>
                    <a:pt x="18685" y="866"/>
                  </a:lnTo>
                  <a:lnTo>
                    <a:pt x="18354" y="341"/>
                  </a:lnTo>
                  <a:lnTo>
                    <a:pt x="18696" y="0"/>
                  </a:lnTo>
                  <a:close/>
                </a:path>
              </a:pathLst>
            </a:custGeom>
            <a:grpFill/>
            <a:ln w="25400" cap="flat">
              <a:noFill/>
              <a:prstDash val="solid"/>
              <a:miter lim="400000"/>
            </a:ln>
            <a:effectLst/>
          </p:spPr>
          <p:txBody>
            <a:bodyPr anchor="ctr"/>
            <a:lstStyle/>
            <a:p>
              <a:pPr algn="ctr"/>
              <a:endParaRPr/>
            </a:p>
          </p:txBody>
        </p:sp>
        <p:sp>
          <p:nvSpPr>
            <p:cNvPr id="68" name="ísḷiḍè">
              <a:extLst>
                <a:ext uri="{FF2B5EF4-FFF2-40B4-BE49-F238E27FC236}">
                  <a16:creationId xmlns="" xmlns:p14="http://schemas.microsoft.com/office/powerpoint/2010/main" xmlns:a16="http://schemas.microsoft.com/office/drawing/2014/main" id="{CC360081-6648-4B77-A18E-4DDF72E46B00}"/>
                </a:ext>
              </a:extLst>
            </p:cNvPr>
            <p:cNvSpPr/>
            <p:nvPr/>
          </p:nvSpPr>
          <p:spPr>
            <a:xfrm>
              <a:off x="7015877" y="4582107"/>
              <a:ext cx="16360" cy="25666"/>
            </a:xfrm>
            <a:custGeom>
              <a:avLst/>
              <a:gdLst/>
              <a:ahLst/>
              <a:cxnLst>
                <a:cxn ang="0">
                  <a:pos x="wd2" y="hd2"/>
                </a:cxn>
                <a:cxn ang="5400000">
                  <a:pos x="wd2" y="hd2"/>
                </a:cxn>
                <a:cxn ang="10800000">
                  <a:pos x="wd2" y="hd2"/>
                </a:cxn>
                <a:cxn ang="16200000">
                  <a:pos x="wd2" y="hd2"/>
                </a:cxn>
              </a:cxnLst>
              <a:rect l="0" t="0" r="r" b="b"/>
              <a:pathLst>
                <a:path w="21600" h="21600" extrusionOk="0">
                  <a:moveTo>
                    <a:pt x="18802" y="0"/>
                  </a:moveTo>
                  <a:lnTo>
                    <a:pt x="4813" y="1913"/>
                  </a:lnTo>
                  <a:lnTo>
                    <a:pt x="0" y="12064"/>
                  </a:lnTo>
                  <a:lnTo>
                    <a:pt x="5083" y="21600"/>
                  </a:lnTo>
                  <a:lnTo>
                    <a:pt x="21600" y="9513"/>
                  </a:lnTo>
                  <a:lnTo>
                    <a:pt x="18802" y="0"/>
                  </a:lnTo>
                  <a:close/>
                </a:path>
              </a:pathLst>
            </a:custGeom>
            <a:grpFill/>
            <a:ln w="25400" cap="flat">
              <a:noFill/>
              <a:prstDash val="solid"/>
              <a:miter lim="400000"/>
            </a:ln>
            <a:effectLst/>
          </p:spPr>
          <p:txBody>
            <a:bodyPr anchor="ctr"/>
            <a:lstStyle/>
            <a:p>
              <a:pPr algn="ctr"/>
              <a:endParaRPr/>
            </a:p>
          </p:txBody>
        </p:sp>
        <p:sp>
          <p:nvSpPr>
            <p:cNvPr id="69" name="îŝlîḋê">
              <a:extLst>
                <a:ext uri="{FF2B5EF4-FFF2-40B4-BE49-F238E27FC236}">
                  <a16:creationId xmlns="" xmlns:p14="http://schemas.microsoft.com/office/powerpoint/2010/main" xmlns:a16="http://schemas.microsoft.com/office/drawing/2014/main" id="{95FEC11A-218E-4C2A-90F9-C8803C43E18A}"/>
                </a:ext>
              </a:extLst>
            </p:cNvPr>
            <p:cNvSpPr/>
            <p:nvPr/>
          </p:nvSpPr>
          <p:spPr>
            <a:xfrm>
              <a:off x="6990181" y="4542570"/>
              <a:ext cx="21071" cy="20646"/>
            </a:xfrm>
            <a:custGeom>
              <a:avLst/>
              <a:gdLst/>
              <a:ahLst/>
              <a:cxnLst>
                <a:cxn ang="0">
                  <a:pos x="wd2" y="hd2"/>
                </a:cxn>
                <a:cxn ang="5400000">
                  <a:pos x="wd2" y="hd2"/>
                </a:cxn>
                <a:cxn ang="10800000">
                  <a:pos x="wd2" y="hd2"/>
                </a:cxn>
                <a:cxn ang="16200000">
                  <a:pos x="wd2" y="hd2"/>
                </a:cxn>
              </a:cxnLst>
              <a:rect l="0" t="0" r="r" b="b"/>
              <a:pathLst>
                <a:path w="21600" h="21600" extrusionOk="0">
                  <a:moveTo>
                    <a:pt x="18128" y="8886"/>
                  </a:moveTo>
                  <a:lnTo>
                    <a:pt x="8318" y="0"/>
                  </a:lnTo>
                  <a:lnTo>
                    <a:pt x="0" y="6625"/>
                  </a:lnTo>
                  <a:lnTo>
                    <a:pt x="9071" y="16880"/>
                  </a:lnTo>
                  <a:lnTo>
                    <a:pt x="21600" y="21600"/>
                  </a:lnTo>
                  <a:lnTo>
                    <a:pt x="18128" y="8886"/>
                  </a:lnTo>
                  <a:close/>
                </a:path>
              </a:pathLst>
            </a:custGeom>
            <a:grpFill/>
            <a:ln w="25400" cap="flat">
              <a:noFill/>
              <a:prstDash val="solid"/>
              <a:miter lim="400000"/>
            </a:ln>
            <a:effectLst/>
          </p:spPr>
          <p:txBody>
            <a:bodyPr anchor="ctr"/>
            <a:lstStyle/>
            <a:p>
              <a:pPr algn="ctr"/>
              <a:endParaRPr/>
            </a:p>
          </p:txBody>
        </p:sp>
        <p:sp>
          <p:nvSpPr>
            <p:cNvPr id="70" name="iṡļiḍé">
              <a:extLst>
                <a:ext uri="{FF2B5EF4-FFF2-40B4-BE49-F238E27FC236}">
                  <a16:creationId xmlns="" xmlns:p14="http://schemas.microsoft.com/office/powerpoint/2010/main" xmlns:a16="http://schemas.microsoft.com/office/drawing/2014/main" id="{26FA9890-11A2-4F95-A711-F43FC5389616}"/>
                </a:ext>
              </a:extLst>
            </p:cNvPr>
            <p:cNvSpPr/>
            <p:nvPr/>
          </p:nvSpPr>
          <p:spPr>
            <a:xfrm>
              <a:off x="6964606" y="4555580"/>
              <a:ext cx="20339" cy="16639"/>
            </a:xfrm>
            <a:custGeom>
              <a:avLst/>
              <a:gdLst/>
              <a:ahLst/>
              <a:cxnLst>
                <a:cxn ang="0">
                  <a:pos x="wd2" y="hd2"/>
                </a:cxn>
                <a:cxn ang="5400000">
                  <a:pos x="wd2" y="hd2"/>
                </a:cxn>
                <a:cxn ang="10800000">
                  <a:pos x="wd2" y="hd2"/>
                </a:cxn>
                <a:cxn ang="16200000">
                  <a:pos x="wd2" y="hd2"/>
                </a:cxn>
              </a:cxnLst>
              <a:rect l="0" t="0" r="r" b="b"/>
              <a:pathLst>
                <a:path w="21600" h="21600" extrusionOk="0">
                  <a:moveTo>
                    <a:pt x="7800" y="0"/>
                  </a:moveTo>
                  <a:lnTo>
                    <a:pt x="0" y="2623"/>
                  </a:lnTo>
                  <a:lnTo>
                    <a:pt x="9524" y="21600"/>
                  </a:lnTo>
                  <a:lnTo>
                    <a:pt x="21600" y="20616"/>
                  </a:lnTo>
                  <a:lnTo>
                    <a:pt x="19979" y="3243"/>
                  </a:lnTo>
                  <a:lnTo>
                    <a:pt x="7800" y="0"/>
                  </a:lnTo>
                  <a:close/>
                </a:path>
              </a:pathLst>
            </a:custGeom>
            <a:grpFill/>
            <a:ln w="25400" cap="flat">
              <a:noFill/>
              <a:prstDash val="solid"/>
              <a:miter lim="400000"/>
            </a:ln>
            <a:effectLst/>
          </p:spPr>
          <p:txBody>
            <a:bodyPr anchor="ctr"/>
            <a:lstStyle/>
            <a:p>
              <a:pPr algn="ctr"/>
              <a:endParaRPr/>
            </a:p>
          </p:txBody>
        </p:sp>
        <p:sp>
          <p:nvSpPr>
            <p:cNvPr id="71" name="íś1iḍé">
              <a:extLst>
                <a:ext uri="{FF2B5EF4-FFF2-40B4-BE49-F238E27FC236}">
                  <a16:creationId xmlns="" xmlns:p14="http://schemas.microsoft.com/office/powerpoint/2010/main" xmlns:a16="http://schemas.microsoft.com/office/drawing/2014/main" id="{09C28A2E-2F3D-49D8-AEE9-012B2A0C1AE9}"/>
                </a:ext>
              </a:extLst>
            </p:cNvPr>
            <p:cNvSpPr/>
            <p:nvPr/>
          </p:nvSpPr>
          <p:spPr>
            <a:xfrm>
              <a:off x="6946134" y="4515244"/>
              <a:ext cx="16360" cy="24039"/>
            </a:xfrm>
            <a:custGeom>
              <a:avLst/>
              <a:gdLst/>
              <a:ahLst/>
              <a:cxnLst>
                <a:cxn ang="0">
                  <a:pos x="wd2" y="hd2"/>
                </a:cxn>
                <a:cxn ang="5400000">
                  <a:pos x="wd2" y="hd2"/>
                </a:cxn>
                <a:cxn ang="10800000">
                  <a:pos x="wd2" y="hd2"/>
                </a:cxn>
                <a:cxn ang="16200000">
                  <a:pos x="wd2" y="hd2"/>
                </a:cxn>
              </a:cxnLst>
              <a:rect l="0" t="0" r="r" b="b"/>
              <a:pathLst>
                <a:path w="21600" h="21600" extrusionOk="0">
                  <a:moveTo>
                    <a:pt x="13062" y="0"/>
                  </a:moveTo>
                  <a:lnTo>
                    <a:pt x="3048" y="6808"/>
                  </a:lnTo>
                  <a:lnTo>
                    <a:pt x="0" y="16890"/>
                  </a:lnTo>
                  <a:lnTo>
                    <a:pt x="17411" y="21600"/>
                  </a:lnTo>
                  <a:lnTo>
                    <a:pt x="21600" y="12326"/>
                  </a:lnTo>
                  <a:lnTo>
                    <a:pt x="13062" y="0"/>
                  </a:lnTo>
                  <a:close/>
                </a:path>
              </a:pathLst>
            </a:custGeom>
            <a:grpFill/>
            <a:ln w="25400" cap="flat">
              <a:noFill/>
              <a:prstDash val="solid"/>
              <a:miter lim="400000"/>
            </a:ln>
            <a:effectLst/>
          </p:spPr>
          <p:txBody>
            <a:bodyPr anchor="ctr"/>
            <a:lstStyle/>
            <a:p>
              <a:pPr algn="ctr"/>
              <a:endParaRPr/>
            </a:p>
          </p:txBody>
        </p:sp>
        <p:sp>
          <p:nvSpPr>
            <p:cNvPr id="72" name="íšľíḑe">
              <a:extLst>
                <a:ext uri="{FF2B5EF4-FFF2-40B4-BE49-F238E27FC236}">
                  <a16:creationId xmlns="" xmlns:p14="http://schemas.microsoft.com/office/powerpoint/2010/main" xmlns:a16="http://schemas.microsoft.com/office/drawing/2014/main" id="{D555090D-8483-4166-8A7F-EF392C5F23FA}"/>
                </a:ext>
              </a:extLst>
            </p:cNvPr>
            <p:cNvSpPr/>
            <p:nvPr/>
          </p:nvSpPr>
          <p:spPr>
            <a:xfrm>
              <a:off x="7355849" y="4831107"/>
              <a:ext cx="26760" cy="35791"/>
            </a:xfrm>
            <a:custGeom>
              <a:avLst/>
              <a:gdLst/>
              <a:ahLst/>
              <a:cxnLst>
                <a:cxn ang="0">
                  <a:pos x="wd2" y="hd2"/>
                </a:cxn>
                <a:cxn ang="5400000">
                  <a:pos x="wd2" y="hd2"/>
                </a:cxn>
                <a:cxn ang="10800000">
                  <a:pos x="wd2" y="hd2"/>
                </a:cxn>
                <a:cxn ang="16200000">
                  <a:pos x="wd2" y="hd2"/>
                </a:cxn>
              </a:cxnLst>
              <a:rect l="0" t="0" r="r" b="b"/>
              <a:pathLst>
                <a:path w="21600" h="21600" extrusionOk="0">
                  <a:moveTo>
                    <a:pt x="9532" y="0"/>
                  </a:moveTo>
                  <a:lnTo>
                    <a:pt x="1397" y="5278"/>
                  </a:lnTo>
                  <a:lnTo>
                    <a:pt x="0" y="13559"/>
                  </a:lnTo>
                  <a:lnTo>
                    <a:pt x="6822" y="21600"/>
                  </a:lnTo>
                  <a:lnTo>
                    <a:pt x="21600" y="17485"/>
                  </a:lnTo>
                  <a:lnTo>
                    <a:pt x="21600" y="7445"/>
                  </a:lnTo>
                  <a:lnTo>
                    <a:pt x="9532" y="0"/>
                  </a:lnTo>
                  <a:close/>
                </a:path>
              </a:pathLst>
            </a:custGeom>
            <a:grpFill/>
            <a:ln w="25400" cap="flat">
              <a:noFill/>
              <a:prstDash val="solid"/>
              <a:miter lim="400000"/>
            </a:ln>
            <a:effectLst/>
          </p:spPr>
          <p:txBody>
            <a:bodyPr anchor="ctr"/>
            <a:lstStyle/>
            <a:p>
              <a:pPr algn="ctr"/>
              <a:endParaRPr/>
            </a:p>
          </p:txBody>
        </p:sp>
        <p:sp>
          <p:nvSpPr>
            <p:cNvPr id="73" name="îşľíḍe">
              <a:extLst>
                <a:ext uri="{FF2B5EF4-FFF2-40B4-BE49-F238E27FC236}">
                  <a16:creationId xmlns="" xmlns:p14="http://schemas.microsoft.com/office/powerpoint/2010/main" xmlns:a16="http://schemas.microsoft.com/office/drawing/2014/main" id="{51FF9CC3-B1D1-4023-8D77-5B0521C6472D}"/>
                </a:ext>
              </a:extLst>
            </p:cNvPr>
            <p:cNvSpPr/>
            <p:nvPr/>
          </p:nvSpPr>
          <p:spPr>
            <a:xfrm>
              <a:off x="7418815" y="4803555"/>
              <a:ext cx="16360" cy="23507"/>
            </a:xfrm>
            <a:custGeom>
              <a:avLst/>
              <a:gdLst/>
              <a:ahLst/>
              <a:cxnLst>
                <a:cxn ang="0">
                  <a:pos x="wd2" y="hd2"/>
                </a:cxn>
                <a:cxn ang="5400000">
                  <a:pos x="wd2" y="hd2"/>
                </a:cxn>
                <a:cxn ang="10800000">
                  <a:pos x="wd2" y="hd2"/>
                </a:cxn>
                <a:cxn ang="16200000">
                  <a:pos x="wd2" y="hd2"/>
                </a:cxn>
              </a:cxnLst>
              <a:rect l="0" t="0" r="r" b="b"/>
              <a:pathLst>
                <a:path w="21600" h="21600" extrusionOk="0">
                  <a:moveTo>
                    <a:pt x="17956" y="0"/>
                  </a:moveTo>
                  <a:lnTo>
                    <a:pt x="1750" y="4177"/>
                  </a:lnTo>
                  <a:lnTo>
                    <a:pt x="0" y="18148"/>
                  </a:lnTo>
                  <a:lnTo>
                    <a:pt x="21600" y="21600"/>
                  </a:lnTo>
                  <a:lnTo>
                    <a:pt x="21555" y="10257"/>
                  </a:lnTo>
                  <a:lnTo>
                    <a:pt x="17956" y="0"/>
                  </a:lnTo>
                  <a:close/>
                </a:path>
              </a:pathLst>
            </a:custGeom>
            <a:grpFill/>
            <a:ln w="25400" cap="flat">
              <a:noFill/>
              <a:prstDash val="solid"/>
              <a:miter lim="400000"/>
            </a:ln>
            <a:effectLst/>
          </p:spPr>
          <p:txBody>
            <a:bodyPr anchor="ctr"/>
            <a:lstStyle/>
            <a:p>
              <a:pPr algn="ctr"/>
              <a:endParaRPr/>
            </a:p>
          </p:txBody>
        </p:sp>
        <p:sp>
          <p:nvSpPr>
            <p:cNvPr id="74" name="ïşḻîḑe">
              <a:extLst>
                <a:ext uri="{FF2B5EF4-FFF2-40B4-BE49-F238E27FC236}">
                  <a16:creationId xmlns="" xmlns:p14="http://schemas.microsoft.com/office/powerpoint/2010/main" xmlns:a16="http://schemas.microsoft.com/office/drawing/2014/main" id="{774ADA82-E7CA-4CB4-9DC7-165D99591ACC}"/>
                </a:ext>
              </a:extLst>
            </p:cNvPr>
            <p:cNvSpPr/>
            <p:nvPr/>
          </p:nvSpPr>
          <p:spPr>
            <a:xfrm>
              <a:off x="5322768" y="4656828"/>
              <a:ext cx="31865" cy="30264"/>
            </a:xfrm>
            <a:custGeom>
              <a:avLst/>
              <a:gdLst/>
              <a:ahLst/>
              <a:cxnLst>
                <a:cxn ang="0">
                  <a:pos x="wd2" y="hd2"/>
                </a:cxn>
                <a:cxn ang="5400000">
                  <a:pos x="wd2" y="hd2"/>
                </a:cxn>
                <a:cxn ang="10800000">
                  <a:pos x="wd2" y="hd2"/>
                </a:cxn>
                <a:cxn ang="16200000">
                  <a:pos x="wd2" y="hd2"/>
                </a:cxn>
              </a:cxnLst>
              <a:rect l="0" t="0" r="r" b="b"/>
              <a:pathLst>
                <a:path w="21600" h="21600" extrusionOk="0">
                  <a:moveTo>
                    <a:pt x="9397" y="0"/>
                  </a:moveTo>
                  <a:lnTo>
                    <a:pt x="0" y="19826"/>
                  </a:lnTo>
                  <a:lnTo>
                    <a:pt x="21600" y="21600"/>
                  </a:lnTo>
                  <a:lnTo>
                    <a:pt x="9397" y="0"/>
                  </a:lnTo>
                  <a:close/>
                </a:path>
              </a:pathLst>
            </a:custGeom>
            <a:grpFill/>
            <a:ln w="25400" cap="flat">
              <a:noFill/>
              <a:prstDash val="solid"/>
              <a:miter lim="400000"/>
            </a:ln>
            <a:effectLst/>
          </p:spPr>
          <p:txBody>
            <a:bodyPr anchor="ctr"/>
            <a:lstStyle/>
            <a:p>
              <a:pPr algn="ctr"/>
              <a:endParaRPr/>
            </a:p>
          </p:txBody>
        </p:sp>
        <p:sp>
          <p:nvSpPr>
            <p:cNvPr id="75" name="ïsḻiḑe">
              <a:extLst>
                <a:ext uri="{FF2B5EF4-FFF2-40B4-BE49-F238E27FC236}">
                  <a16:creationId xmlns="" xmlns:p14="http://schemas.microsoft.com/office/powerpoint/2010/main" xmlns:a16="http://schemas.microsoft.com/office/drawing/2014/main" id="{E0EE81C5-A223-45AF-9DDE-BFB9E557B615}"/>
                </a:ext>
              </a:extLst>
            </p:cNvPr>
            <p:cNvSpPr/>
            <p:nvPr/>
          </p:nvSpPr>
          <p:spPr>
            <a:xfrm>
              <a:off x="5724659" y="4042992"/>
              <a:ext cx="23245" cy="2134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4824" y="4121"/>
                  </a:lnTo>
                  <a:lnTo>
                    <a:pt x="0" y="11667"/>
                  </a:lnTo>
                  <a:lnTo>
                    <a:pt x="9389" y="21600"/>
                  </a:lnTo>
                  <a:lnTo>
                    <a:pt x="20674" y="10869"/>
                  </a:lnTo>
                  <a:lnTo>
                    <a:pt x="21600" y="0"/>
                  </a:lnTo>
                  <a:close/>
                </a:path>
              </a:pathLst>
            </a:custGeom>
            <a:grpFill/>
            <a:ln w="25400" cap="flat">
              <a:noFill/>
              <a:prstDash val="solid"/>
              <a:miter lim="400000"/>
            </a:ln>
            <a:effectLst/>
          </p:spPr>
          <p:txBody>
            <a:bodyPr anchor="ctr"/>
            <a:lstStyle/>
            <a:p>
              <a:pPr algn="ctr"/>
              <a:endParaRPr/>
            </a:p>
          </p:txBody>
        </p:sp>
        <p:sp>
          <p:nvSpPr>
            <p:cNvPr id="76" name="iSľîḍe">
              <a:extLst>
                <a:ext uri="{FF2B5EF4-FFF2-40B4-BE49-F238E27FC236}">
                  <a16:creationId xmlns="" xmlns:p14="http://schemas.microsoft.com/office/powerpoint/2010/main" xmlns:a16="http://schemas.microsoft.com/office/drawing/2014/main" id="{9F0F42ED-3F48-4ECA-BB6E-1153E157B0F5}"/>
                </a:ext>
              </a:extLst>
            </p:cNvPr>
            <p:cNvSpPr/>
            <p:nvPr/>
          </p:nvSpPr>
          <p:spPr>
            <a:xfrm>
              <a:off x="5797850" y="3949493"/>
              <a:ext cx="20701" cy="16360"/>
            </a:xfrm>
            <a:custGeom>
              <a:avLst/>
              <a:gdLst/>
              <a:ahLst/>
              <a:cxnLst>
                <a:cxn ang="0">
                  <a:pos x="wd2" y="hd2"/>
                </a:cxn>
                <a:cxn ang="5400000">
                  <a:pos x="wd2" y="hd2"/>
                </a:cxn>
                <a:cxn ang="10800000">
                  <a:pos x="wd2" y="hd2"/>
                </a:cxn>
                <a:cxn ang="16200000">
                  <a:pos x="wd2" y="hd2"/>
                </a:cxn>
              </a:cxnLst>
              <a:rect l="0" t="0" r="r" b="b"/>
              <a:pathLst>
                <a:path w="21600" h="21600" extrusionOk="0">
                  <a:moveTo>
                    <a:pt x="11047" y="0"/>
                  </a:moveTo>
                  <a:lnTo>
                    <a:pt x="0" y="5982"/>
                  </a:lnTo>
                  <a:lnTo>
                    <a:pt x="2019" y="20443"/>
                  </a:lnTo>
                  <a:lnTo>
                    <a:pt x="15499" y="21600"/>
                  </a:lnTo>
                  <a:lnTo>
                    <a:pt x="21600" y="4412"/>
                  </a:lnTo>
                  <a:lnTo>
                    <a:pt x="11047" y="0"/>
                  </a:lnTo>
                  <a:close/>
                </a:path>
              </a:pathLst>
            </a:custGeom>
            <a:grpFill/>
            <a:ln w="25400" cap="flat">
              <a:noFill/>
              <a:prstDash val="solid"/>
              <a:miter lim="400000"/>
            </a:ln>
            <a:effectLst/>
          </p:spPr>
          <p:txBody>
            <a:bodyPr anchor="ctr"/>
            <a:lstStyle/>
            <a:p>
              <a:pPr algn="ctr"/>
              <a:endParaRPr/>
            </a:p>
          </p:txBody>
        </p:sp>
        <p:sp>
          <p:nvSpPr>
            <p:cNvPr id="77" name="isḷiďé">
              <a:extLst>
                <a:ext uri="{FF2B5EF4-FFF2-40B4-BE49-F238E27FC236}">
                  <a16:creationId xmlns="" xmlns:p14="http://schemas.microsoft.com/office/powerpoint/2010/main" xmlns:a16="http://schemas.microsoft.com/office/drawing/2014/main" id="{3359BDA6-8C8F-4517-948B-8A13D6F52B9D}"/>
                </a:ext>
              </a:extLst>
            </p:cNvPr>
            <p:cNvSpPr/>
            <p:nvPr/>
          </p:nvSpPr>
          <p:spPr>
            <a:xfrm>
              <a:off x="5771093" y="4007307"/>
              <a:ext cx="16360" cy="16360"/>
            </a:xfrm>
            <a:custGeom>
              <a:avLst/>
              <a:gdLst/>
              <a:ahLst/>
              <a:cxnLst>
                <a:cxn ang="0">
                  <a:pos x="wd2" y="hd2"/>
                </a:cxn>
                <a:cxn ang="5400000">
                  <a:pos x="wd2" y="hd2"/>
                </a:cxn>
                <a:cxn ang="10800000">
                  <a:pos x="wd2" y="hd2"/>
                </a:cxn>
                <a:cxn ang="16200000">
                  <a:pos x="wd2" y="hd2"/>
                </a:cxn>
              </a:cxnLst>
              <a:rect l="0" t="0" r="r" b="b"/>
              <a:pathLst>
                <a:path w="21600" h="21600" extrusionOk="0">
                  <a:moveTo>
                    <a:pt x="7211" y="0"/>
                  </a:moveTo>
                  <a:lnTo>
                    <a:pt x="0" y="9014"/>
                  </a:lnTo>
                  <a:lnTo>
                    <a:pt x="7385" y="21600"/>
                  </a:lnTo>
                  <a:lnTo>
                    <a:pt x="21600" y="12069"/>
                  </a:lnTo>
                  <a:lnTo>
                    <a:pt x="17567" y="1769"/>
                  </a:lnTo>
                  <a:lnTo>
                    <a:pt x="7211" y="0"/>
                  </a:lnTo>
                  <a:close/>
                </a:path>
              </a:pathLst>
            </a:custGeom>
            <a:grpFill/>
            <a:ln w="25400" cap="flat">
              <a:noFill/>
              <a:prstDash val="solid"/>
              <a:miter lim="400000"/>
            </a:ln>
            <a:effectLst/>
          </p:spPr>
          <p:txBody>
            <a:bodyPr anchor="ctr"/>
            <a:lstStyle/>
            <a:p>
              <a:pPr algn="ctr"/>
              <a:endParaRPr/>
            </a:p>
          </p:txBody>
        </p:sp>
        <p:sp>
          <p:nvSpPr>
            <p:cNvPr id="78" name="ïṡ1idè">
              <a:extLst>
                <a:ext uri="{FF2B5EF4-FFF2-40B4-BE49-F238E27FC236}">
                  <a16:creationId xmlns="" xmlns:p14="http://schemas.microsoft.com/office/powerpoint/2010/main" xmlns:a16="http://schemas.microsoft.com/office/drawing/2014/main" id="{860FB713-F1A8-4858-BF64-7D3114261159}"/>
                </a:ext>
              </a:extLst>
            </p:cNvPr>
            <p:cNvSpPr/>
            <p:nvPr/>
          </p:nvSpPr>
          <p:spPr>
            <a:xfrm>
              <a:off x="4744799" y="3515700"/>
              <a:ext cx="23569" cy="20839"/>
            </a:xfrm>
            <a:custGeom>
              <a:avLst/>
              <a:gdLst/>
              <a:ahLst/>
              <a:cxnLst>
                <a:cxn ang="0">
                  <a:pos x="wd2" y="hd2"/>
                </a:cxn>
                <a:cxn ang="5400000">
                  <a:pos x="wd2" y="hd2"/>
                </a:cxn>
                <a:cxn ang="10800000">
                  <a:pos x="wd2" y="hd2"/>
                </a:cxn>
                <a:cxn ang="16200000">
                  <a:pos x="wd2" y="hd2"/>
                </a:cxn>
              </a:cxnLst>
              <a:rect l="0" t="0" r="r" b="b"/>
              <a:pathLst>
                <a:path w="21600" h="21600" extrusionOk="0">
                  <a:moveTo>
                    <a:pt x="18240" y="3109"/>
                  </a:moveTo>
                  <a:lnTo>
                    <a:pt x="7082" y="0"/>
                  </a:lnTo>
                  <a:lnTo>
                    <a:pt x="0" y="4651"/>
                  </a:lnTo>
                  <a:lnTo>
                    <a:pt x="2157" y="15611"/>
                  </a:lnTo>
                  <a:lnTo>
                    <a:pt x="14637" y="21600"/>
                  </a:lnTo>
                  <a:lnTo>
                    <a:pt x="21600" y="17214"/>
                  </a:lnTo>
                  <a:lnTo>
                    <a:pt x="18240" y="3109"/>
                  </a:lnTo>
                  <a:close/>
                </a:path>
              </a:pathLst>
            </a:custGeom>
            <a:grpFill/>
            <a:ln w="25400" cap="flat">
              <a:noFill/>
              <a:prstDash val="solid"/>
              <a:miter lim="400000"/>
            </a:ln>
            <a:effectLst/>
          </p:spPr>
          <p:txBody>
            <a:bodyPr anchor="ctr"/>
            <a:lstStyle/>
            <a:p>
              <a:pPr algn="ctr"/>
              <a:endParaRPr/>
            </a:p>
          </p:txBody>
        </p:sp>
        <p:sp>
          <p:nvSpPr>
            <p:cNvPr id="79" name="íṧ1îḍè">
              <a:extLst>
                <a:ext uri="{FF2B5EF4-FFF2-40B4-BE49-F238E27FC236}">
                  <a16:creationId xmlns="" xmlns:p14="http://schemas.microsoft.com/office/powerpoint/2010/main" xmlns:a16="http://schemas.microsoft.com/office/drawing/2014/main" id="{5D329FF6-8679-44A3-8636-FF8B3625E482}"/>
                </a:ext>
              </a:extLst>
            </p:cNvPr>
            <p:cNvSpPr/>
            <p:nvPr/>
          </p:nvSpPr>
          <p:spPr>
            <a:xfrm>
              <a:off x="4718288" y="3519867"/>
              <a:ext cx="18421" cy="17929"/>
            </a:xfrm>
            <a:custGeom>
              <a:avLst/>
              <a:gdLst/>
              <a:ahLst/>
              <a:cxnLst>
                <a:cxn ang="0">
                  <a:pos x="wd2" y="hd2"/>
                </a:cxn>
                <a:cxn ang="5400000">
                  <a:pos x="wd2" y="hd2"/>
                </a:cxn>
                <a:cxn ang="10800000">
                  <a:pos x="wd2" y="hd2"/>
                </a:cxn>
                <a:cxn ang="16200000">
                  <a:pos x="wd2" y="hd2"/>
                </a:cxn>
              </a:cxnLst>
              <a:rect l="0" t="0" r="r" b="b"/>
              <a:pathLst>
                <a:path w="21600" h="21600" extrusionOk="0">
                  <a:moveTo>
                    <a:pt x="10002" y="0"/>
                  </a:moveTo>
                  <a:lnTo>
                    <a:pt x="2249" y="4561"/>
                  </a:lnTo>
                  <a:lnTo>
                    <a:pt x="0" y="15210"/>
                  </a:lnTo>
                  <a:lnTo>
                    <a:pt x="16269" y="21600"/>
                  </a:lnTo>
                  <a:lnTo>
                    <a:pt x="21600" y="9771"/>
                  </a:lnTo>
                  <a:lnTo>
                    <a:pt x="10002" y="0"/>
                  </a:lnTo>
                  <a:close/>
                </a:path>
              </a:pathLst>
            </a:custGeom>
            <a:grpFill/>
            <a:ln w="25400" cap="flat">
              <a:noFill/>
              <a:prstDash val="solid"/>
              <a:miter lim="400000"/>
            </a:ln>
            <a:effectLst/>
          </p:spPr>
          <p:txBody>
            <a:bodyPr anchor="ctr"/>
            <a:lstStyle/>
            <a:p>
              <a:pPr algn="ctr"/>
              <a:endParaRPr/>
            </a:p>
          </p:txBody>
        </p:sp>
        <p:sp>
          <p:nvSpPr>
            <p:cNvPr id="80" name="îšḷiḋè">
              <a:extLst>
                <a:ext uri="{FF2B5EF4-FFF2-40B4-BE49-F238E27FC236}">
                  <a16:creationId xmlns="" xmlns:p14="http://schemas.microsoft.com/office/powerpoint/2010/main" xmlns:a16="http://schemas.microsoft.com/office/drawing/2014/main" id="{BE5382E5-0F88-4E80-BCBD-5FA251E05BBC}"/>
                </a:ext>
              </a:extLst>
            </p:cNvPr>
            <p:cNvSpPr/>
            <p:nvPr/>
          </p:nvSpPr>
          <p:spPr>
            <a:xfrm>
              <a:off x="4711539" y="3478504"/>
              <a:ext cx="16360" cy="16360"/>
            </a:xfrm>
            <a:custGeom>
              <a:avLst/>
              <a:gdLst/>
              <a:ahLst/>
              <a:cxnLst>
                <a:cxn ang="0">
                  <a:pos x="wd2" y="hd2"/>
                </a:cxn>
                <a:cxn ang="5400000">
                  <a:pos x="wd2" y="hd2"/>
                </a:cxn>
                <a:cxn ang="10800000">
                  <a:pos x="wd2" y="hd2"/>
                </a:cxn>
                <a:cxn ang="16200000">
                  <a:pos x="wd2" y="hd2"/>
                </a:cxn>
              </a:cxnLst>
              <a:rect l="0" t="0" r="r" b="b"/>
              <a:pathLst>
                <a:path w="21600" h="21600" extrusionOk="0">
                  <a:moveTo>
                    <a:pt x="15567" y="0"/>
                  </a:moveTo>
                  <a:lnTo>
                    <a:pt x="0" y="5790"/>
                  </a:lnTo>
                  <a:lnTo>
                    <a:pt x="269" y="21257"/>
                  </a:lnTo>
                  <a:lnTo>
                    <a:pt x="21600" y="21600"/>
                  </a:lnTo>
                  <a:lnTo>
                    <a:pt x="15567" y="0"/>
                  </a:lnTo>
                  <a:close/>
                </a:path>
              </a:pathLst>
            </a:custGeom>
            <a:grpFill/>
            <a:ln w="25400" cap="flat">
              <a:noFill/>
              <a:prstDash val="solid"/>
              <a:miter lim="400000"/>
            </a:ln>
            <a:effectLst/>
          </p:spPr>
          <p:txBody>
            <a:bodyPr anchor="ctr"/>
            <a:lstStyle/>
            <a:p>
              <a:pPr algn="ctr"/>
              <a:endParaRPr/>
            </a:p>
          </p:txBody>
        </p:sp>
        <p:sp>
          <p:nvSpPr>
            <p:cNvPr id="81" name="îslídé">
              <a:extLst>
                <a:ext uri="{FF2B5EF4-FFF2-40B4-BE49-F238E27FC236}">
                  <a16:creationId xmlns="" xmlns:p14="http://schemas.microsoft.com/office/powerpoint/2010/main" xmlns:a16="http://schemas.microsoft.com/office/drawing/2014/main" id="{095FF3B2-3D26-4220-A4B6-B1B8D6A0B25C}"/>
                </a:ext>
              </a:extLst>
            </p:cNvPr>
            <p:cNvSpPr/>
            <p:nvPr/>
          </p:nvSpPr>
          <p:spPr>
            <a:xfrm>
              <a:off x="4753604" y="3480420"/>
              <a:ext cx="16360" cy="1636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788" y="13213"/>
                  </a:lnTo>
                  <a:lnTo>
                    <a:pt x="15312" y="21600"/>
                  </a:lnTo>
                  <a:lnTo>
                    <a:pt x="21600" y="1906"/>
                  </a:lnTo>
                  <a:lnTo>
                    <a:pt x="0" y="0"/>
                  </a:lnTo>
                  <a:close/>
                </a:path>
              </a:pathLst>
            </a:custGeom>
            <a:grpFill/>
            <a:ln w="25400" cap="flat">
              <a:noFill/>
              <a:prstDash val="solid"/>
              <a:miter lim="400000"/>
            </a:ln>
            <a:effectLst/>
          </p:spPr>
          <p:txBody>
            <a:bodyPr anchor="ctr"/>
            <a:lstStyle/>
            <a:p>
              <a:pPr algn="ctr"/>
              <a:endParaRPr/>
            </a:p>
          </p:txBody>
        </p:sp>
        <p:sp>
          <p:nvSpPr>
            <p:cNvPr id="82" name="îşļiḋe">
              <a:extLst>
                <a:ext uri="{FF2B5EF4-FFF2-40B4-BE49-F238E27FC236}">
                  <a16:creationId xmlns="" xmlns:p14="http://schemas.microsoft.com/office/powerpoint/2010/main" xmlns:a16="http://schemas.microsoft.com/office/drawing/2014/main" id="{3F263E55-A643-4934-B6F1-8809CBCD73D2}"/>
                </a:ext>
              </a:extLst>
            </p:cNvPr>
            <p:cNvSpPr/>
            <p:nvPr/>
          </p:nvSpPr>
          <p:spPr>
            <a:xfrm>
              <a:off x="4664619" y="3447009"/>
              <a:ext cx="16360" cy="22098"/>
            </a:xfrm>
            <a:custGeom>
              <a:avLst/>
              <a:gdLst/>
              <a:ahLst/>
              <a:cxnLst>
                <a:cxn ang="0">
                  <a:pos x="wd2" y="hd2"/>
                </a:cxn>
                <a:cxn ang="5400000">
                  <a:pos x="wd2" y="hd2"/>
                </a:cxn>
                <a:cxn ang="10800000">
                  <a:pos x="wd2" y="hd2"/>
                </a:cxn>
                <a:cxn ang="16200000">
                  <a:pos x="wd2" y="hd2"/>
                </a:cxn>
              </a:cxnLst>
              <a:rect l="0" t="0" r="r" b="b"/>
              <a:pathLst>
                <a:path w="21600" h="21600" extrusionOk="0">
                  <a:moveTo>
                    <a:pt x="0" y="3742"/>
                  </a:moveTo>
                  <a:lnTo>
                    <a:pt x="4329" y="14327"/>
                  </a:lnTo>
                  <a:lnTo>
                    <a:pt x="16819" y="21600"/>
                  </a:lnTo>
                  <a:lnTo>
                    <a:pt x="21600" y="10493"/>
                  </a:lnTo>
                  <a:lnTo>
                    <a:pt x="13195" y="0"/>
                  </a:lnTo>
                  <a:lnTo>
                    <a:pt x="0" y="3742"/>
                  </a:lnTo>
                  <a:close/>
                </a:path>
              </a:pathLst>
            </a:custGeom>
            <a:grpFill/>
            <a:ln w="25400" cap="flat">
              <a:noFill/>
              <a:prstDash val="solid"/>
              <a:miter lim="400000"/>
            </a:ln>
            <a:effectLst/>
          </p:spPr>
          <p:txBody>
            <a:bodyPr anchor="ctr"/>
            <a:lstStyle/>
            <a:p>
              <a:pPr algn="ctr"/>
              <a:endParaRPr/>
            </a:p>
          </p:txBody>
        </p:sp>
        <p:sp>
          <p:nvSpPr>
            <p:cNvPr id="83" name="íṣ1íḓe">
              <a:extLst>
                <a:ext uri="{FF2B5EF4-FFF2-40B4-BE49-F238E27FC236}">
                  <a16:creationId xmlns="" xmlns:p14="http://schemas.microsoft.com/office/powerpoint/2010/main" xmlns:a16="http://schemas.microsoft.com/office/drawing/2014/main" id="{74457F3C-0191-4467-9DEF-C33DA91672AF}"/>
                </a:ext>
              </a:extLst>
            </p:cNvPr>
            <p:cNvSpPr/>
            <p:nvPr/>
          </p:nvSpPr>
          <p:spPr>
            <a:xfrm>
              <a:off x="6355015" y="1385657"/>
              <a:ext cx="4055030" cy="2652259"/>
            </a:xfrm>
            <a:custGeom>
              <a:avLst/>
              <a:gdLst/>
              <a:ahLst/>
              <a:cxnLst>
                <a:cxn ang="0">
                  <a:pos x="wd2" y="hd2"/>
                </a:cxn>
                <a:cxn ang="5400000">
                  <a:pos x="wd2" y="hd2"/>
                </a:cxn>
                <a:cxn ang="10800000">
                  <a:pos x="wd2" y="hd2"/>
                </a:cxn>
                <a:cxn ang="16200000">
                  <a:pos x="wd2" y="hd2"/>
                </a:cxn>
              </a:cxnLst>
              <a:rect l="0" t="0" r="r" b="b"/>
              <a:pathLst>
                <a:path w="21600" h="21600" extrusionOk="0">
                  <a:moveTo>
                    <a:pt x="3888" y="10223"/>
                  </a:moveTo>
                  <a:lnTo>
                    <a:pt x="3759" y="10132"/>
                  </a:lnTo>
                  <a:lnTo>
                    <a:pt x="3569" y="10003"/>
                  </a:lnTo>
                  <a:lnTo>
                    <a:pt x="3374" y="9884"/>
                  </a:lnTo>
                  <a:lnTo>
                    <a:pt x="3246" y="9786"/>
                  </a:lnTo>
                  <a:lnTo>
                    <a:pt x="3076" y="9629"/>
                  </a:lnTo>
                  <a:lnTo>
                    <a:pt x="2911" y="9493"/>
                  </a:lnTo>
                  <a:lnTo>
                    <a:pt x="2761" y="9429"/>
                  </a:lnTo>
                  <a:lnTo>
                    <a:pt x="2496" y="9413"/>
                  </a:lnTo>
                  <a:lnTo>
                    <a:pt x="2488" y="9536"/>
                  </a:lnTo>
                  <a:lnTo>
                    <a:pt x="2488" y="9685"/>
                  </a:lnTo>
                  <a:lnTo>
                    <a:pt x="2440" y="9710"/>
                  </a:lnTo>
                  <a:lnTo>
                    <a:pt x="2438" y="9806"/>
                  </a:lnTo>
                  <a:lnTo>
                    <a:pt x="2404" y="9868"/>
                  </a:lnTo>
                  <a:lnTo>
                    <a:pt x="2281" y="9898"/>
                  </a:lnTo>
                  <a:lnTo>
                    <a:pt x="2204" y="9935"/>
                  </a:lnTo>
                  <a:lnTo>
                    <a:pt x="2136" y="9972"/>
                  </a:lnTo>
                  <a:lnTo>
                    <a:pt x="2027" y="9972"/>
                  </a:lnTo>
                  <a:lnTo>
                    <a:pt x="2002" y="9923"/>
                  </a:lnTo>
                  <a:lnTo>
                    <a:pt x="1910" y="9911"/>
                  </a:lnTo>
                  <a:lnTo>
                    <a:pt x="1838" y="9882"/>
                  </a:lnTo>
                  <a:lnTo>
                    <a:pt x="1737" y="9753"/>
                  </a:lnTo>
                  <a:lnTo>
                    <a:pt x="1662" y="9674"/>
                  </a:lnTo>
                  <a:lnTo>
                    <a:pt x="1566" y="9632"/>
                  </a:lnTo>
                  <a:lnTo>
                    <a:pt x="1456" y="9632"/>
                  </a:lnTo>
                  <a:lnTo>
                    <a:pt x="1311" y="9556"/>
                  </a:lnTo>
                  <a:lnTo>
                    <a:pt x="1142" y="9550"/>
                  </a:lnTo>
                  <a:lnTo>
                    <a:pt x="1029" y="9601"/>
                  </a:lnTo>
                  <a:lnTo>
                    <a:pt x="892" y="9755"/>
                  </a:lnTo>
                  <a:lnTo>
                    <a:pt x="746" y="9853"/>
                  </a:lnTo>
                  <a:lnTo>
                    <a:pt x="686" y="9775"/>
                  </a:lnTo>
                  <a:lnTo>
                    <a:pt x="637" y="9781"/>
                  </a:lnTo>
                  <a:lnTo>
                    <a:pt x="517" y="9840"/>
                  </a:lnTo>
                  <a:lnTo>
                    <a:pt x="497" y="9942"/>
                  </a:lnTo>
                  <a:lnTo>
                    <a:pt x="434" y="10016"/>
                  </a:lnTo>
                  <a:lnTo>
                    <a:pt x="372" y="10094"/>
                  </a:lnTo>
                  <a:lnTo>
                    <a:pt x="333" y="10172"/>
                  </a:lnTo>
                  <a:lnTo>
                    <a:pt x="266" y="10168"/>
                  </a:lnTo>
                  <a:lnTo>
                    <a:pt x="217" y="10086"/>
                  </a:lnTo>
                  <a:lnTo>
                    <a:pt x="134" y="10086"/>
                  </a:lnTo>
                  <a:lnTo>
                    <a:pt x="77" y="10159"/>
                  </a:lnTo>
                  <a:lnTo>
                    <a:pt x="17" y="10178"/>
                  </a:lnTo>
                  <a:lnTo>
                    <a:pt x="0" y="10303"/>
                  </a:lnTo>
                  <a:lnTo>
                    <a:pt x="78" y="10326"/>
                  </a:lnTo>
                  <a:lnTo>
                    <a:pt x="133" y="10326"/>
                  </a:lnTo>
                  <a:lnTo>
                    <a:pt x="213" y="10443"/>
                  </a:lnTo>
                  <a:lnTo>
                    <a:pt x="190" y="10662"/>
                  </a:lnTo>
                  <a:lnTo>
                    <a:pt x="231" y="10788"/>
                  </a:lnTo>
                  <a:lnTo>
                    <a:pt x="262" y="10847"/>
                  </a:lnTo>
                  <a:lnTo>
                    <a:pt x="282" y="10968"/>
                  </a:lnTo>
                  <a:lnTo>
                    <a:pt x="337" y="11040"/>
                  </a:lnTo>
                  <a:lnTo>
                    <a:pt x="424" y="11071"/>
                  </a:lnTo>
                  <a:lnTo>
                    <a:pt x="465" y="11186"/>
                  </a:lnTo>
                  <a:lnTo>
                    <a:pt x="540" y="11180"/>
                  </a:lnTo>
                  <a:lnTo>
                    <a:pt x="596" y="11201"/>
                  </a:lnTo>
                  <a:lnTo>
                    <a:pt x="645" y="11223"/>
                  </a:lnTo>
                  <a:lnTo>
                    <a:pt x="735" y="11198"/>
                  </a:lnTo>
                  <a:lnTo>
                    <a:pt x="776" y="11089"/>
                  </a:lnTo>
                  <a:lnTo>
                    <a:pt x="857" y="11047"/>
                  </a:lnTo>
                  <a:lnTo>
                    <a:pt x="954" y="11071"/>
                  </a:lnTo>
                  <a:lnTo>
                    <a:pt x="993" y="11139"/>
                  </a:lnTo>
                  <a:lnTo>
                    <a:pt x="1119" y="11238"/>
                  </a:lnTo>
                  <a:lnTo>
                    <a:pt x="1269" y="11219"/>
                  </a:lnTo>
                  <a:lnTo>
                    <a:pt x="1313" y="11207"/>
                  </a:lnTo>
                  <a:lnTo>
                    <a:pt x="1390" y="11119"/>
                  </a:lnTo>
                  <a:lnTo>
                    <a:pt x="1486" y="11040"/>
                  </a:lnTo>
                  <a:lnTo>
                    <a:pt x="1581" y="11016"/>
                  </a:lnTo>
                  <a:lnTo>
                    <a:pt x="1654" y="11065"/>
                  </a:lnTo>
                  <a:lnTo>
                    <a:pt x="1739" y="11096"/>
                  </a:lnTo>
                  <a:lnTo>
                    <a:pt x="1739" y="11260"/>
                  </a:lnTo>
                  <a:lnTo>
                    <a:pt x="1702" y="11340"/>
                  </a:lnTo>
                  <a:lnTo>
                    <a:pt x="1719" y="11558"/>
                  </a:lnTo>
                  <a:lnTo>
                    <a:pt x="1711" y="11714"/>
                  </a:lnTo>
                  <a:lnTo>
                    <a:pt x="1701" y="11890"/>
                  </a:lnTo>
                  <a:lnTo>
                    <a:pt x="1645" y="12051"/>
                  </a:lnTo>
                  <a:lnTo>
                    <a:pt x="1657" y="12205"/>
                  </a:lnTo>
                  <a:cubicBezTo>
                    <a:pt x="1663" y="12254"/>
                    <a:pt x="1664" y="12305"/>
                    <a:pt x="1661" y="12355"/>
                  </a:cubicBezTo>
                  <a:cubicBezTo>
                    <a:pt x="1657" y="12420"/>
                    <a:pt x="1645" y="12483"/>
                    <a:pt x="1626" y="12542"/>
                  </a:cubicBezTo>
                  <a:lnTo>
                    <a:pt x="1585" y="12622"/>
                  </a:lnTo>
                  <a:lnTo>
                    <a:pt x="1546" y="12708"/>
                  </a:lnTo>
                  <a:lnTo>
                    <a:pt x="1479" y="12732"/>
                  </a:lnTo>
                  <a:lnTo>
                    <a:pt x="1386" y="12744"/>
                  </a:lnTo>
                  <a:lnTo>
                    <a:pt x="1285" y="12855"/>
                  </a:lnTo>
                  <a:lnTo>
                    <a:pt x="1201" y="12825"/>
                  </a:lnTo>
                  <a:lnTo>
                    <a:pt x="1164" y="12855"/>
                  </a:lnTo>
                  <a:lnTo>
                    <a:pt x="1228" y="12954"/>
                  </a:lnTo>
                  <a:lnTo>
                    <a:pt x="1263" y="13016"/>
                  </a:lnTo>
                  <a:lnTo>
                    <a:pt x="1239" y="13122"/>
                  </a:lnTo>
                  <a:lnTo>
                    <a:pt x="1307" y="13243"/>
                  </a:lnTo>
                  <a:lnTo>
                    <a:pt x="1359" y="13286"/>
                  </a:lnTo>
                  <a:lnTo>
                    <a:pt x="1408" y="13345"/>
                  </a:lnTo>
                  <a:lnTo>
                    <a:pt x="1404" y="13429"/>
                  </a:lnTo>
                  <a:lnTo>
                    <a:pt x="1404" y="13509"/>
                  </a:lnTo>
                  <a:lnTo>
                    <a:pt x="1481" y="13572"/>
                  </a:lnTo>
                  <a:lnTo>
                    <a:pt x="1558" y="13731"/>
                  </a:lnTo>
                  <a:lnTo>
                    <a:pt x="1602" y="13657"/>
                  </a:lnTo>
                  <a:lnTo>
                    <a:pt x="1602" y="13398"/>
                  </a:lnTo>
                  <a:lnTo>
                    <a:pt x="1659" y="13331"/>
                  </a:lnTo>
                  <a:lnTo>
                    <a:pt x="1705" y="13420"/>
                  </a:lnTo>
                  <a:lnTo>
                    <a:pt x="1741" y="13555"/>
                  </a:lnTo>
                  <a:lnTo>
                    <a:pt x="1778" y="13837"/>
                  </a:lnTo>
                  <a:lnTo>
                    <a:pt x="1857" y="13946"/>
                  </a:lnTo>
                  <a:lnTo>
                    <a:pt x="1897" y="14113"/>
                  </a:lnTo>
                  <a:lnTo>
                    <a:pt x="1945" y="14215"/>
                  </a:lnTo>
                  <a:lnTo>
                    <a:pt x="1995" y="14373"/>
                  </a:lnTo>
                  <a:lnTo>
                    <a:pt x="2107" y="14477"/>
                  </a:lnTo>
                  <a:lnTo>
                    <a:pt x="2161" y="14557"/>
                  </a:lnTo>
                  <a:lnTo>
                    <a:pt x="2205" y="14753"/>
                  </a:lnTo>
                  <a:lnTo>
                    <a:pt x="2226" y="14836"/>
                  </a:lnTo>
                  <a:lnTo>
                    <a:pt x="2263" y="14879"/>
                  </a:lnTo>
                  <a:lnTo>
                    <a:pt x="2376" y="14996"/>
                  </a:lnTo>
                  <a:cubicBezTo>
                    <a:pt x="2426" y="15014"/>
                    <a:pt x="2466" y="15070"/>
                    <a:pt x="2482" y="15144"/>
                  </a:cubicBezTo>
                  <a:cubicBezTo>
                    <a:pt x="2497" y="15214"/>
                    <a:pt x="2488" y="15290"/>
                    <a:pt x="2459" y="15348"/>
                  </a:cubicBezTo>
                  <a:lnTo>
                    <a:pt x="2471" y="15538"/>
                  </a:lnTo>
                  <a:lnTo>
                    <a:pt x="2507" y="15643"/>
                  </a:lnTo>
                  <a:lnTo>
                    <a:pt x="2572" y="15815"/>
                  </a:lnTo>
                  <a:lnTo>
                    <a:pt x="2569" y="15885"/>
                  </a:lnTo>
                  <a:lnTo>
                    <a:pt x="2642" y="16007"/>
                  </a:lnTo>
                  <a:lnTo>
                    <a:pt x="2642" y="16132"/>
                  </a:lnTo>
                  <a:lnTo>
                    <a:pt x="2752" y="16182"/>
                  </a:lnTo>
                  <a:lnTo>
                    <a:pt x="2832" y="16227"/>
                  </a:lnTo>
                  <a:lnTo>
                    <a:pt x="2913" y="16387"/>
                  </a:lnTo>
                  <a:lnTo>
                    <a:pt x="2927" y="16529"/>
                  </a:lnTo>
                  <a:lnTo>
                    <a:pt x="2966" y="16723"/>
                  </a:lnTo>
                  <a:lnTo>
                    <a:pt x="3043" y="16785"/>
                  </a:lnTo>
                  <a:lnTo>
                    <a:pt x="3087" y="16846"/>
                  </a:lnTo>
                  <a:lnTo>
                    <a:pt x="3139" y="16957"/>
                  </a:lnTo>
                  <a:lnTo>
                    <a:pt x="3191" y="17089"/>
                  </a:lnTo>
                  <a:lnTo>
                    <a:pt x="3118" y="17304"/>
                  </a:lnTo>
                  <a:lnTo>
                    <a:pt x="3139" y="17419"/>
                  </a:lnTo>
                  <a:lnTo>
                    <a:pt x="3194" y="17508"/>
                  </a:lnTo>
                  <a:lnTo>
                    <a:pt x="3227" y="17680"/>
                  </a:lnTo>
                  <a:lnTo>
                    <a:pt x="3227" y="17814"/>
                  </a:lnTo>
                  <a:lnTo>
                    <a:pt x="3293" y="17911"/>
                  </a:lnTo>
                  <a:lnTo>
                    <a:pt x="3336" y="18030"/>
                  </a:lnTo>
                  <a:lnTo>
                    <a:pt x="3409" y="18178"/>
                  </a:lnTo>
                  <a:lnTo>
                    <a:pt x="3565" y="18190"/>
                  </a:lnTo>
                  <a:lnTo>
                    <a:pt x="3748" y="18135"/>
                  </a:lnTo>
                  <a:lnTo>
                    <a:pt x="3935" y="18014"/>
                  </a:lnTo>
                  <a:lnTo>
                    <a:pt x="4073" y="17896"/>
                  </a:lnTo>
                  <a:lnTo>
                    <a:pt x="4184" y="17812"/>
                  </a:lnTo>
                  <a:cubicBezTo>
                    <a:pt x="4199" y="17796"/>
                    <a:pt x="4214" y="17780"/>
                    <a:pt x="4230" y="17765"/>
                  </a:cubicBezTo>
                  <a:cubicBezTo>
                    <a:pt x="4287" y="17711"/>
                    <a:pt x="4350" y="17669"/>
                    <a:pt x="4415" y="17640"/>
                  </a:cubicBezTo>
                  <a:lnTo>
                    <a:pt x="4544" y="17598"/>
                  </a:lnTo>
                  <a:lnTo>
                    <a:pt x="4658" y="17456"/>
                  </a:lnTo>
                  <a:lnTo>
                    <a:pt x="4758" y="17382"/>
                  </a:lnTo>
                  <a:lnTo>
                    <a:pt x="4839" y="17253"/>
                  </a:lnTo>
                  <a:lnTo>
                    <a:pt x="4875" y="17128"/>
                  </a:lnTo>
                  <a:lnTo>
                    <a:pt x="4961" y="17019"/>
                  </a:lnTo>
                  <a:cubicBezTo>
                    <a:pt x="4995" y="16986"/>
                    <a:pt x="5032" y="16960"/>
                    <a:pt x="5070" y="16941"/>
                  </a:cubicBezTo>
                  <a:cubicBezTo>
                    <a:pt x="5110" y="16921"/>
                    <a:pt x="5151" y="16908"/>
                    <a:pt x="5192" y="16903"/>
                  </a:cubicBezTo>
                  <a:cubicBezTo>
                    <a:pt x="5225" y="16899"/>
                    <a:pt x="5257" y="16887"/>
                    <a:pt x="5288" y="16869"/>
                  </a:cubicBezTo>
                  <a:cubicBezTo>
                    <a:pt x="5328" y="16844"/>
                    <a:pt x="5365" y="16809"/>
                    <a:pt x="5396" y="16764"/>
                  </a:cubicBezTo>
                  <a:lnTo>
                    <a:pt x="5451" y="16651"/>
                  </a:lnTo>
                  <a:lnTo>
                    <a:pt x="5538" y="16468"/>
                  </a:lnTo>
                  <a:lnTo>
                    <a:pt x="5657" y="16322"/>
                  </a:lnTo>
                  <a:cubicBezTo>
                    <a:pt x="5670" y="16286"/>
                    <a:pt x="5682" y="16249"/>
                    <a:pt x="5694" y="16212"/>
                  </a:cubicBezTo>
                  <a:cubicBezTo>
                    <a:pt x="5710" y="16157"/>
                    <a:pt x="5726" y="16102"/>
                    <a:pt x="5740" y="16045"/>
                  </a:cubicBezTo>
                  <a:lnTo>
                    <a:pt x="5776" y="15879"/>
                  </a:lnTo>
                  <a:cubicBezTo>
                    <a:pt x="5808" y="15838"/>
                    <a:pt x="5839" y="15797"/>
                    <a:pt x="5869" y="15756"/>
                  </a:cubicBezTo>
                  <a:cubicBezTo>
                    <a:pt x="5901" y="15713"/>
                    <a:pt x="5933" y="15670"/>
                    <a:pt x="5964" y="15626"/>
                  </a:cubicBezTo>
                  <a:lnTo>
                    <a:pt x="6029" y="15553"/>
                  </a:lnTo>
                  <a:lnTo>
                    <a:pt x="6063" y="15485"/>
                  </a:lnTo>
                  <a:lnTo>
                    <a:pt x="6063" y="15401"/>
                  </a:lnTo>
                  <a:lnTo>
                    <a:pt x="5965" y="15268"/>
                  </a:lnTo>
                  <a:lnTo>
                    <a:pt x="5871" y="15159"/>
                  </a:lnTo>
                  <a:lnTo>
                    <a:pt x="5830" y="15003"/>
                  </a:lnTo>
                  <a:lnTo>
                    <a:pt x="5748" y="14940"/>
                  </a:lnTo>
                  <a:lnTo>
                    <a:pt x="5631" y="14861"/>
                  </a:lnTo>
                  <a:lnTo>
                    <a:pt x="5505" y="14786"/>
                  </a:lnTo>
                  <a:lnTo>
                    <a:pt x="5437" y="14638"/>
                  </a:lnTo>
                  <a:lnTo>
                    <a:pt x="5414" y="14547"/>
                  </a:lnTo>
                  <a:lnTo>
                    <a:pt x="5434" y="14455"/>
                  </a:lnTo>
                  <a:lnTo>
                    <a:pt x="5487" y="14377"/>
                  </a:lnTo>
                  <a:lnTo>
                    <a:pt x="5436" y="14294"/>
                  </a:lnTo>
                  <a:lnTo>
                    <a:pt x="5436" y="14214"/>
                  </a:lnTo>
                  <a:lnTo>
                    <a:pt x="5394" y="14183"/>
                  </a:lnTo>
                  <a:lnTo>
                    <a:pt x="5375" y="14243"/>
                  </a:lnTo>
                  <a:lnTo>
                    <a:pt x="5340" y="14329"/>
                  </a:lnTo>
                  <a:lnTo>
                    <a:pt x="5256" y="14499"/>
                  </a:lnTo>
                  <a:lnTo>
                    <a:pt x="5091" y="14727"/>
                  </a:lnTo>
                  <a:lnTo>
                    <a:pt x="5056" y="14801"/>
                  </a:lnTo>
                  <a:lnTo>
                    <a:pt x="4994" y="14801"/>
                  </a:lnTo>
                  <a:lnTo>
                    <a:pt x="4947" y="14807"/>
                  </a:lnTo>
                  <a:lnTo>
                    <a:pt x="4906" y="14856"/>
                  </a:lnTo>
                  <a:lnTo>
                    <a:pt x="4740" y="14875"/>
                  </a:lnTo>
                  <a:lnTo>
                    <a:pt x="4692" y="14807"/>
                  </a:lnTo>
                  <a:lnTo>
                    <a:pt x="4634" y="14766"/>
                  </a:lnTo>
                  <a:lnTo>
                    <a:pt x="4581" y="14679"/>
                  </a:lnTo>
                  <a:lnTo>
                    <a:pt x="4674" y="14568"/>
                  </a:lnTo>
                  <a:lnTo>
                    <a:pt x="4648" y="14475"/>
                  </a:lnTo>
                  <a:lnTo>
                    <a:pt x="4550" y="14438"/>
                  </a:lnTo>
                  <a:lnTo>
                    <a:pt x="4562" y="14367"/>
                  </a:lnTo>
                  <a:lnTo>
                    <a:pt x="4522" y="14348"/>
                  </a:lnTo>
                  <a:lnTo>
                    <a:pt x="4490" y="14410"/>
                  </a:lnTo>
                  <a:lnTo>
                    <a:pt x="4462" y="14502"/>
                  </a:lnTo>
                  <a:lnTo>
                    <a:pt x="4337" y="14533"/>
                  </a:lnTo>
                  <a:cubicBezTo>
                    <a:pt x="4331" y="14498"/>
                    <a:pt x="4323" y="14463"/>
                    <a:pt x="4314" y="14428"/>
                  </a:cubicBezTo>
                  <a:cubicBezTo>
                    <a:pt x="4298" y="14362"/>
                    <a:pt x="4278" y="14299"/>
                    <a:pt x="4255" y="14237"/>
                  </a:cubicBezTo>
                  <a:lnTo>
                    <a:pt x="4234" y="14018"/>
                  </a:lnTo>
                  <a:lnTo>
                    <a:pt x="4191" y="13904"/>
                  </a:lnTo>
                  <a:lnTo>
                    <a:pt x="4136" y="13783"/>
                  </a:lnTo>
                  <a:lnTo>
                    <a:pt x="4036" y="13581"/>
                  </a:lnTo>
                  <a:lnTo>
                    <a:pt x="3967" y="13457"/>
                  </a:lnTo>
                  <a:lnTo>
                    <a:pt x="3917" y="13357"/>
                  </a:lnTo>
                  <a:lnTo>
                    <a:pt x="3910" y="13265"/>
                  </a:lnTo>
                  <a:lnTo>
                    <a:pt x="3970" y="13125"/>
                  </a:lnTo>
                  <a:lnTo>
                    <a:pt x="3985" y="13013"/>
                  </a:lnTo>
                  <a:lnTo>
                    <a:pt x="4029" y="12939"/>
                  </a:lnTo>
                  <a:lnTo>
                    <a:pt x="4100" y="12939"/>
                  </a:lnTo>
                  <a:lnTo>
                    <a:pt x="4187" y="12956"/>
                  </a:lnTo>
                  <a:lnTo>
                    <a:pt x="4248" y="13017"/>
                  </a:lnTo>
                  <a:lnTo>
                    <a:pt x="4344" y="13091"/>
                  </a:lnTo>
                  <a:lnTo>
                    <a:pt x="4365" y="13162"/>
                  </a:lnTo>
                  <a:lnTo>
                    <a:pt x="4421" y="13266"/>
                  </a:lnTo>
                  <a:cubicBezTo>
                    <a:pt x="4450" y="13317"/>
                    <a:pt x="4470" y="13379"/>
                    <a:pt x="4479" y="13445"/>
                  </a:cubicBezTo>
                  <a:cubicBezTo>
                    <a:pt x="4485" y="13493"/>
                    <a:pt x="4485" y="13543"/>
                    <a:pt x="4479" y="13591"/>
                  </a:cubicBezTo>
                  <a:lnTo>
                    <a:pt x="4511" y="13696"/>
                  </a:lnTo>
                  <a:lnTo>
                    <a:pt x="4660" y="13788"/>
                  </a:lnTo>
                  <a:lnTo>
                    <a:pt x="4794" y="13899"/>
                  </a:lnTo>
                  <a:lnTo>
                    <a:pt x="4994" y="14024"/>
                  </a:lnTo>
                  <a:lnTo>
                    <a:pt x="5100" y="14092"/>
                  </a:lnTo>
                  <a:lnTo>
                    <a:pt x="5224" y="14082"/>
                  </a:lnTo>
                  <a:lnTo>
                    <a:pt x="5261" y="14033"/>
                  </a:lnTo>
                  <a:lnTo>
                    <a:pt x="5374" y="13959"/>
                  </a:lnTo>
                  <a:lnTo>
                    <a:pt x="5431" y="13947"/>
                  </a:lnTo>
                  <a:lnTo>
                    <a:pt x="5522" y="14062"/>
                  </a:lnTo>
                  <a:cubicBezTo>
                    <a:pt x="5537" y="14073"/>
                    <a:pt x="5550" y="14086"/>
                    <a:pt x="5562" y="14103"/>
                  </a:cubicBezTo>
                  <a:cubicBezTo>
                    <a:pt x="5586" y="14136"/>
                    <a:pt x="5605" y="14180"/>
                    <a:pt x="5614" y="14228"/>
                  </a:cubicBezTo>
                  <a:lnTo>
                    <a:pt x="5643" y="14331"/>
                  </a:lnTo>
                  <a:lnTo>
                    <a:pt x="5698" y="14433"/>
                  </a:lnTo>
                  <a:lnTo>
                    <a:pt x="5848" y="14477"/>
                  </a:lnTo>
                  <a:lnTo>
                    <a:pt x="6003" y="14470"/>
                  </a:lnTo>
                  <a:cubicBezTo>
                    <a:pt x="6040" y="14472"/>
                    <a:pt x="6077" y="14481"/>
                    <a:pt x="6112" y="14497"/>
                  </a:cubicBezTo>
                  <a:cubicBezTo>
                    <a:pt x="6145" y="14512"/>
                    <a:pt x="6176" y="14533"/>
                    <a:pt x="6206" y="14559"/>
                  </a:cubicBezTo>
                  <a:lnTo>
                    <a:pt x="6303" y="14547"/>
                  </a:lnTo>
                  <a:lnTo>
                    <a:pt x="6419" y="14487"/>
                  </a:lnTo>
                  <a:lnTo>
                    <a:pt x="6603" y="14487"/>
                  </a:lnTo>
                  <a:lnTo>
                    <a:pt x="6724" y="14567"/>
                  </a:lnTo>
                  <a:lnTo>
                    <a:pt x="6879" y="14555"/>
                  </a:lnTo>
                  <a:lnTo>
                    <a:pt x="6977" y="14489"/>
                  </a:lnTo>
                  <a:lnTo>
                    <a:pt x="7070" y="14403"/>
                  </a:lnTo>
                  <a:lnTo>
                    <a:pt x="7147" y="14409"/>
                  </a:lnTo>
                  <a:lnTo>
                    <a:pt x="7209" y="14502"/>
                  </a:lnTo>
                  <a:lnTo>
                    <a:pt x="7315" y="14543"/>
                  </a:lnTo>
                  <a:lnTo>
                    <a:pt x="7340" y="14604"/>
                  </a:lnTo>
                  <a:lnTo>
                    <a:pt x="7368" y="14721"/>
                  </a:lnTo>
                  <a:lnTo>
                    <a:pt x="7407" y="14857"/>
                  </a:lnTo>
                  <a:lnTo>
                    <a:pt x="7550" y="14913"/>
                  </a:lnTo>
                  <a:lnTo>
                    <a:pt x="7601" y="14995"/>
                  </a:lnTo>
                  <a:lnTo>
                    <a:pt x="7666" y="15131"/>
                  </a:lnTo>
                  <a:lnTo>
                    <a:pt x="7730" y="15227"/>
                  </a:lnTo>
                  <a:lnTo>
                    <a:pt x="7824" y="15221"/>
                  </a:lnTo>
                  <a:lnTo>
                    <a:pt x="7928" y="15166"/>
                  </a:lnTo>
                  <a:lnTo>
                    <a:pt x="7948" y="15245"/>
                  </a:lnTo>
                  <a:lnTo>
                    <a:pt x="7920" y="15356"/>
                  </a:lnTo>
                  <a:lnTo>
                    <a:pt x="7861" y="15391"/>
                  </a:lnTo>
                  <a:lnTo>
                    <a:pt x="7781" y="15366"/>
                  </a:lnTo>
                  <a:lnTo>
                    <a:pt x="7730" y="15391"/>
                  </a:lnTo>
                  <a:lnTo>
                    <a:pt x="7758" y="15489"/>
                  </a:lnTo>
                  <a:lnTo>
                    <a:pt x="7847" y="15538"/>
                  </a:lnTo>
                  <a:lnTo>
                    <a:pt x="7873" y="15682"/>
                  </a:lnTo>
                  <a:lnTo>
                    <a:pt x="7941" y="15770"/>
                  </a:lnTo>
                  <a:lnTo>
                    <a:pt x="8042" y="15801"/>
                  </a:lnTo>
                  <a:lnTo>
                    <a:pt x="8140" y="15801"/>
                  </a:lnTo>
                  <a:lnTo>
                    <a:pt x="8215" y="15735"/>
                  </a:lnTo>
                  <a:lnTo>
                    <a:pt x="8215" y="15647"/>
                  </a:lnTo>
                  <a:lnTo>
                    <a:pt x="8207" y="15558"/>
                  </a:lnTo>
                  <a:lnTo>
                    <a:pt x="8244" y="15441"/>
                  </a:lnTo>
                  <a:cubicBezTo>
                    <a:pt x="8257" y="15421"/>
                    <a:pt x="8274" y="15406"/>
                    <a:pt x="8293" y="15398"/>
                  </a:cubicBezTo>
                  <a:cubicBezTo>
                    <a:pt x="8324" y="15385"/>
                    <a:pt x="8357" y="15392"/>
                    <a:pt x="8385" y="15417"/>
                  </a:cubicBezTo>
                  <a:lnTo>
                    <a:pt x="8429" y="15521"/>
                  </a:lnTo>
                  <a:lnTo>
                    <a:pt x="8417" y="15693"/>
                  </a:lnTo>
                  <a:lnTo>
                    <a:pt x="8397" y="15792"/>
                  </a:lnTo>
                  <a:lnTo>
                    <a:pt x="8386" y="15933"/>
                  </a:lnTo>
                  <a:lnTo>
                    <a:pt x="8386" y="16079"/>
                  </a:lnTo>
                  <a:lnTo>
                    <a:pt x="8398" y="16182"/>
                  </a:lnTo>
                  <a:lnTo>
                    <a:pt x="8473" y="16441"/>
                  </a:lnTo>
                  <a:lnTo>
                    <a:pt x="8502" y="16728"/>
                  </a:lnTo>
                  <a:lnTo>
                    <a:pt x="8510" y="16868"/>
                  </a:lnTo>
                  <a:lnTo>
                    <a:pt x="8607" y="17022"/>
                  </a:lnTo>
                  <a:lnTo>
                    <a:pt x="8663" y="17133"/>
                  </a:lnTo>
                  <a:lnTo>
                    <a:pt x="8679" y="17303"/>
                  </a:lnTo>
                  <a:lnTo>
                    <a:pt x="8703" y="17418"/>
                  </a:lnTo>
                  <a:lnTo>
                    <a:pt x="8759" y="17603"/>
                  </a:lnTo>
                  <a:lnTo>
                    <a:pt x="8799" y="17688"/>
                  </a:lnTo>
                  <a:lnTo>
                    <a:pt x="8858" y="17815"/>
                  </a:lnTo>
                  <a:lnTo>
                    <a:pt x="8894" y="17957"/>
                  </a:lnTo>
                  <a:lnTo>
                    <a:pt x="8919" y="18076"/>
                  </a:lnTo>
                  <a:lnTo>
                    <a:pt x="8963" y="18226"/>
                  </a:lnTo>
                  <a:lnTo>
                    <a:pt x="9034" y="18456"/>
                  </a:lnTo>
                  <a:lnTo>
                    <a:pt x="9088" y="18673"/>
                  </a:lnTo>
                  <a:lnTo>
                    <a:pt x="9120" y="18766"/>
                  </a:lnTo>
                  <a:lnTo>
                    <a:pt x="9157" y="18876"/>
                  </a:lnTo>
                  <a:lnTo>
                    <a:pt x="9165" y="18992"/>
                  </a:lnTo>
                  <a:lnTo>
                    <a:pt x="9224" y="19229"/>
                  </a:lnTo>
                  <a:lnTo>
                    <a:pt x="9265" y="19340"/>
                  </a:lnTo>
                  <a:lnTo>
                    <a:pt x="9335" y="19401"/>
                  </a:lnTo>
                  <a:lnTo>
                    <a:pt x="9398" y="19455"/>
                  </a:lnTo>
                  <a:lnTo>
                    <a:pt x="9435" y="19534"/>
                  </a:lnTo>
                  <a:lnTo>
                    <a:pt x="9499" y="19529"/>
                  </a:lnTo>
                  <a:cubicBezTo>
                    <a:pt x="9505" y="19494"/>
                    <a:pt x="9512" y="19459"/>
                    <a:pt x="9519" y="19424"/>
                  </a:cubicBezTo>
                  <a:cubicBezTo>
                    <a:pt x="9525" y="19391"/>
                    <a:pt x="9532" y="19357"/>
                    <a:pt x="9539" y="19324"/>
                  </a:cubicBezTo>
                  <a:cubicBezTo>
                    <a:pt x="9570" y="19289"/>
                    <a:pt x="9599" y="19249"/>
                    <a:pt x="9625" y="19204"/>
                  </a:cubicBezTo>
                  <a:cubicBezTo>
                    <a:pt x="9647" y="19167"/>
                    <a:pt x="9667" y="19127"/>
                    <a:pt x="9684" y="19085"/>
                  </a:cubicBezTo>
                  <a:cubicBezTo>
                    <a:pt x="9697" y="19045"/>
                    <a:pt x="9711" y="19006"/>
                    <a:pt x="9726" y="18966"/>
                  </a:cubicBezTo>
                  <a:cubicBezTo>
                    <a:pt x="9741" y="18924"/>
                    <a:pt x="9756" y="18882"/>
                    <a:pt x="9772" y="18841"/>
                  </a:cubicBezTo>
                  <a:cubicBezTo>
                    <a:pt x="9774" y="18775"/>
                    <a:pt x="9777" y="18710"/>
                    <a:pt x="9780" y="18644"/>
                  </a:cubicBezTo>
                  <a:cubicBezTo>
                    <a:pt x="9783" y="18560"/>
                    <a:pt x="9787" y="18477"/>
                    <a:pt x="9791" y="18393"/>
                  </a:cubicBezTo>
                  <a:lnTo>
                    <a:pt x="9799" y="18288"/>
                  </a:lnTo>
                  <a:cubicBezTo>
                    <a:pt x="9805" y="18246"/>
                    <a:pt x="9812" y="18203"/>
                    <a:pt x="9819" y="18161"/>
                  </a:cubicBezTo>
                  <a:cubicBezTo>
                    <a:pt x="9829" y="18099"/>
                    <a:pt x="9840" y="18037"/>
                    <a:pt x="9852" y="17976"/>
                  </a:cubicBezTo>
                  <a:lnTo>
                    <a:pt x="9839" y="17816"/>
                  </a:lnTo>
                  <a:lnTo>
                    <a:pt x="9791" y="17643"/>
                  </a:lnTo>
                  <a:lnTo>
                    <a:pt x="9831" y="17391"/>
                  </a:lnTo>
                  <a:lnTo>
                    <a:pt x="9876" y="17301"/>
                  </a:lnTo>
                  <a:lnTo>
                    <a:pt x="10002" y="17165"/>
                  </a:lnTo>
                  <a:lnTo>
                    <a:pt x="10132" y="17023"/>
                  </a:lnTo>
                  <a:lnTo>
                    <a:pt x="10237" y="16902"/>
                  </a:lnTo>
                  <a:lnTo>
                    <a:pt x="10262" y="16723"/>
                  </a:lnTo>
                  <a:lnTo>
                    <a:pt x="10286" y="16610"/>
                  </a:lnTo>
                  <a:lnTo>
                    <a:pt x="10412" y="16555"/>
                  </a:lnTo>
                  <a:lnTo>
                    <a:pt x="10492" y="16493"/>
                  </a:lnTo>
                  <a:lnTo>
                    <a:pt x="10549" y="16327"/>
                  </a:lnTo>
                  <a:cubicBezTo>
                    <a:pt x="10554" y="16271"/>
                    <a:pt x="10568" y="16218"/>
                    <a:pt x="10590" y="16173"/>
                  </a:cubicBezTo>
                  <a:cubicBezTo>
                    <a:pt x="10626" y="16098"/>
                    <a:pt x="10680" y="16049"/>
                    <a:pt x="10740" y="16037"/>
                  </a:cubicBezTo>
                  <a:lnTo>
                    <a:pt x="10874" y="15975"/>
                  </a:lnTo>
                  <a:lnTo>
                    <a:pt x="10909" y="15840"/>
                  </a:lnTo>
                  <a:lnTo>
                    <a:pt x="10885" y="15717"/>
                  </a:lnTo>
                  <a:lnTo>
                    <a:pt x="10892" y="15606"/>
                  </a:lnTo>
                  <a:lnTo>
                    <a:pt x="11030" y="15483"/>
                  </a:lnTo>
                  <a:lnTo>
                    <a:pt x="11172" y="15422"/>
                  </a:lnTo>
                  <a:lnTo>
                    <a:pt x="11283" y="15422"/>
                  </a:lnTo>
                  <a:lnTo>
                    <a:pt x="11432" y="15358"/>
                  </a:lnTo>
                  <a:cubicBezTo>
                    <a:pt x="11441" y="15314"/>
                    <a:pt x="11462" y="15277"/>
                    <a:pt x="11490" y="15257"/>
                  </a:cubicBezTo>
                  <a:cubicBezTo>
                    <a:pt x="11517" y="15237"/>
                    <a:pt x="11549" y="15235"/>
                    <a:pt x="11578" y="15251"/>
                  </a:cubicBezTo>
                  <a:lnTo>
                    <a:pt x="11664" y="15279"/>
                  </a:lnTo>
                  <a:cubicBezTo>
                    <a:pt x="11683" y="15305"/>
                    <a:pt x="11699" y="15334"/>
                    <a:pt x="11713" y="15365"/>
                  </a:cubicBezTo>
                  <a:cubicBezTo>
                    <a:pt x="11732" y="15408"/>
                    <a:pt x="11745" y="15456"/>
                    <a:pt x="11753" y="15507"/>
                  </a:cubicBezTo>
                  <a:lnTo>
                    <a:pt x="11800" y="15701"/>
                  </a:lnTo>
                  <a:lnTo>
                    <a:pt x="11828" y="15833"/>
                  </a:lnTo>
                  <a:cubicBezTo>
                    <a:pt x="11839" y="15860"/>
                    <a:pt x="11854" y="15883"/>
                    <a:pt x="11872" y="15899"/>
                  </a:cubicBezTo>
                  <a:cubicBezTo>
                    <a:pt x="11906" y="15927"/>
                    <a:pt x="11947" y="15931"/>
                    <a:pt x="11982" y="15909"/>
                  </a:cubicBezTo>
                  <a:lnTo>
                    <a:pt x="12043" y="15981"/>
                  </a:lnTo>
                  <a:lnTo>
                    <a:pt x="12197" y="16141"/>
                  </a:lnTo>
                  <a:cubicBezTo>
                    <a:pt x="12217" y="16216"/>
                    <a:pt x="12238" y="16289"/>
                    <a:pt x="12262" y="16361"/>
                  </a:cubicBezTo>
                  <a:cubicBezTo>
                    <a:pt x="12295" y="16459"/>
                    <a:pt x="12331" y="16555"/>
                    <a:pt x="12368" y="16650"/>
                  </a:cubicBezTo>
                  <a:cubicBezTo>
                    <a:pt x="12386" y="16699"/>
                    <a:pt x="12405" y="16748"/>
                    <a:pt x="12423" y="16798"/>
                  </a:cubicBezTo>
                  <a:lnTo>
                    <a:pt x="12395" y="16894"/>
                  </a:lnTo>
                  <a:lnTo>
                    <a:pt x="12331" y="16954"/>
                  </a:lnTo>
                  <a:lnTo>
                    <a:pt x="12335" y="17094"/>
                  </a:lnTo>
                  <a:cubicBezTo>
                    <a:pt x="12355" y="17119"/>
                    <a:pt x="12375" y="17144"/>
                    <a:pt x="12396" y="17168"/>
                  </a:cubicBezTo>
                  <a:cubicBezTo>
                    <a:pt x="12423" y="17200"/>
                    <a:pt x="12450" y="17230"/>
                    <a:pt x="12478" y="17260"/>
                  </a:cubicBezTo>
                  <a:lnTo>
                    <a:pt x="12575" y="17255"/>
                  </a:lnTo>
                  <a:lnTo>
                    <a:pt x="12636" y="17120"/>
                  </a:lnTo>
                  <a:lnTo>
                    <a:pt x="12693" y="16980"/>
                  </a:lnTo>
                  <a:lnTo>
                    <a:pt x="12800" y="16904"/>
                  </a:lnTo>
                  <a:lnTo>
                    <a:pt x="12877" y="17115"/>
                  </a:lnTo>
                  <a:lnTo>
                    <a:pt x="12945" y="17317"/>
                  </a:lnTo>
                  <a:lnTo>
                    <a:pt x="12957" y="17518"/>
                  </a:lnTo>
                  <a:lnTo>
                    <a:pt x="13008" y="17691"/>
                  </a:lnTo>
                  <a:lnTo>
                    <a:pt x="13054" y="17855"/>
                  </a:lnTo>
                  <a:lnTo>
                    <a:pt x="13127" y="18014"/>
                  </a:lnTo>
                  <a:lnTo>
                    <a:pt x="13171" y="18203"/>
                  </a:lnTo>
                  <a:lnTo>
                    <a:pt x="13183" y="18371"/>
                  </a:lnTo>
                  <a:lnTo>
                    <a:pt x="13148" y="18675"/>
                  </a:lnTo>
                  <a:lnTo>
                    <a:pt x="13144" y="18870"/>
                  </a:lnTo>
                  <a:lnTo>
                    <a:pt x="13159" y="19080"/>
                  </a:lnTo>
                  <a:lnTo>
                    <a:pt x="13159" y="19174"/>
                  </a:lnTo>
                  <a:lnTo>
                    <a:pt x="13117" y="19238"/>
                  </a:lnTo>
                  <a:lnTo>
                    <a:pt x="13113" y="19347"/>
                  </a:lnTo>
                  <a:lnTo>
                    <a:pt x="13125" y="19507"/>
                  </a:lnTo>
                  <a:lnTo>
                    <a:pt x="13186" y="19549"/>
                  </a:lnTo>
                  <a:cubicBezTo>
                    <a:pt x="13215" y="19555"/>
                    <a:pt x="13242" y="19574"/>
                    <a:pt x="13263" y="19604"/>
                  </a:cubicBezTo>
                  <a:cubicBezTo>
                    <a:pt x="13285" y="19635"/>
                    <a:pt x="13300" y="19676"/>
                    <a:pt x="13306" y="19721"/>
                  </a:cubicBezTo>
                  <a:lnTo>
                    <a:pt x="13420" y="19817"/>
                  </a:lnTo>
                  <a:lnTo>
                    <a:pt x="13492" y="19981"/>
                  </a:lnTo>
                  <a:lnTo>
                    <a:pt x="13536" y="20099"/>
                  </a:lnTo>
                  <a:lnTo>
                    <a:pt x="13550" y="20266"/>
                  </a:lnTo>
                  <a:lnTo>
                    <a:pt x="13596" y="20554"/>
                  </a:lnTo>
                  <a:lnTo>
                    <a:pt x="13625" y="20775"/>
                  </a:lnTo>
                  <a:lnTo>
                    <a:pt x="13682" y="20923"/>
                  </a:lnTo>
                  <a:lnTo>
                    <a:pt x="13714" y="21021"/>
                  </a:lnTo>
                  <a:lnTo>
                    <a:pt x="13772" y="21189"/>
                  </a:lnTo>
                  <a:lnTo>
                    <a:pt x="13829" y="21220"/>
                  </a:lnTo>
                  <a:lnTo>
                    <a:pt x="13914" y="21327"/>
                  </a:lnTo>
                  <a:lnTo>
                    <a:pt x="13982" y="21385"/>
                  </a:lnTo>
                  <a:lnTo>
                    <a:pt x="14071" y="21477"/>
                  </a:lnTo>
                  <a:lnTo>
                    <a:pt x="14136" y="21600"/>
                  </a:lnTo>
                  <a:lnTo>
                    <a:pt x="14168" y="21558"/>
                  </a:lnTo>
                  <a:lnTo>
                    <a:pt x="14144" y="21461"/>
                  </a:lnTo>
                  <a:lnTo>
                    <a:pt x="14220" y="21456"/>
                  </a:lnTo>
                  <a:lnTo>
                    <a:pt x="14242" y="21376"/>
                  </a:lnTo>
                  <a:lnTo>
                    <a:pt x="14195" y="21227"/>
                  </a:lnTo>
                  <a:lnTo>
                    <a:pt x="14149" y="21028"/>
                  </a:lnTo>
                  <a:lnTo>
                    <a:pt x="14121" y="20856"/>
                  </a:lnTo>
                  <a:lnTo>
                    <a:pt x="14064" y="20706"/>
                  </a:lnTo>
                  <a:cubicBezTo>
                    <a:pt x="14060" y="20650"/>
                    <a:pt x="14051" y="20596"/>
                    <a:pt x="14037" y="20544"/>
                  </a:cubicBezTo>
                  <a:cubicBezTo>
                    <a:pt x="14023" y="20489"/>
                    <a:pt x="14004" y="20437"/>
                    <a:pt x="13980" y="20389"/>
                  </a:cubicBezTo>
                  <a:lnTo>
                    <a:pt x="13916" y="20256"/>
                  </a:lnTo>
                  <a:lnTo>
                    <a:pt x="13796" y="20153"/>
                  </a:lnTo>
                  <a:lnTo>
                    <a:pt x="13711" y="20030"/>
                  </a:lnTo>
                  <a:lnTo>
                    <a:pt x="13609" y="19920"/>
                  </a:lnTo>
                  <a:cubicBezTo>
                    <a:pt x="13556" y="19920"/>
                    <a:pt x="13507" y="19872"/>
                    <a:pt x="13485" y="19798"/>
                  </a:cubicBezTo>
                  <a:cubicBezTo>
                    <a:pt x="13470" y="19751"/>
                    <a:pt x="13469" y="19697"/>
                    <a:pt x="13481" y="19648"/>
                  </a:cubicBezTo>
                  <a:lnTo>
                    <a:pt x="13460" y="19495"/>
                  </a:lnTo>
                  <a:lnTo>
                    <a:pt x="13452" y="19396"/>
                  </a:lnTo>
                  <a:lnTo>
                    <a:pt x="13387" y="19310"/>
                  </a:lnTo>
                  <a:lnTo>
                    <a:pt x="13305" y="19191"/>
                  </a:lnTo>
                  <a:lnTo>
                    <a:pt x="13276" y="19059"/>
                  </a:lnTo>
                  <a:cubicBezTo>
                    <a:pt x="13277" y="19012"/>
                    <a:pt x="13280" y="18965"/>
                    <a:pt x="13285" y="18918"/>
                  </a:cubicBezTo>
                  <a:cubicBezTo>
                    <a:pt x="13292" y="18843"/>
                    <a:pt x="13304" y="18769"/>
                    <a:pt x="13320" y="18698"/>
                  </a:cubicBezTo>
                  <a:lnTo>
                    <a:pt x="13344" y="18550"/>
                  </a:lnTo>
                  <a:lnTo>
                    <a:pt x="13373" y="18396"/>
                  </a:lnTo>
                  <a:lnTo>
                    <a:pt x="13344" y="18289"/>
                  </a:lnTo>
                  <a:lnTo>
                    <a:pt x="13320" y="18141"/>
                  </a:lnTo>
                  <a:lnTo>
                    <a:pt x="13317" y="18024"/>
                  </a:lnTo>
                  <a:lnTo>
                    <a:pt x="13378" y="17962"/>
                  </a:lnTo>
                  <a:lnTo>
                    <a:pt x="13468" y="17956"/>
                  </a:lnTo>
                  <a:lnTo>
                    <a:pt x="13512" y="18073"/>
                  </a:lnTo>
                  <a:lnTo>
                    <a:pt x="13562" y="18139"/>
                  </a:lnTo>
                  <a:lnTo>
                    <a:pt x="13671" y="18279"/>
                  </a:lnTo>
                  <a:lnTo>
                    <a:pt x="13730" y="18310"/>
                  </a:lnTo>
                  <a:lnTo>
                    <a:pt x="13812" y="18382"/>
                  </a:lnTo>
                  <a:lnTo>
                    <a:pt x="13875" y="18423"/>
                  </a:lnTo>
                  <a:lnTo>
                    <a:pt x="13920" y="18490"/>
                  </a:lnTo>
                  <a:lnTo>
                    <a:pt x="13956" y="18648"/>
                  </a:lnTo>
                  <a:lnTo>
                    <a:pt x="14008" y="18743"/>
                  </a:lnTo>
                  <a:lnTo>
                    <a:pt x="14063" y="18771"/>
                  </a:lnTo>
                  <a:lnTo>
                    <a:pt x="14091" y="18862"/>
                  </a:lnTo>
                  <a:lnTo>
                    <a:pt x="14107" y="18940"/>
                  </a:lnTo>
                  <a:lnTo>
                    <a:pt x="14172" y="18933"/>
                  </a:lnTo>
                  <a:lnTo>
                    <a:pt x="14221" y="18872"/>
                  </a:lnTo>
                  <a:lnTo>
                    <a:pt x="14260" y="18826"/>
                  </a:lnTo>
                  <a:lnTo>
                    <a:pt x="14320" y="18833"/>
                  </a:lnTo>
                  <a:lnTo>
                    <a:pt x="14345" y="18921"/>
                  </a:lnTo>
                  <a:lnTo>
                    <a:pt x="14360" y="19056"/>
                  </a:lnTo>
                  <a:lnTo>
                    <a:pt x="14331" y="19130"/>
                  </a:lnTo>
                  <a:lnTo>
                    <a:pt x="14319" y="19343"/>
                  </a:lnTo>
                  <a:lnTo>
                    <a:pt x="14412" y="19408"/>
                  </a:lnTo>
                  <a:lnTo>
                    <a:pt x="14456" y="19286"/>
                  </a:lnTo>
                  <a:lnTo>
                    <a:pt x="14548" y="19241"/>
                  </a:lnTo>
                  <a:lnTo>
                    <a:pt x="14577" y="19051"/>
                  </a:lnTo>
                  <a:lnTo>
                    <a:pt x="14624" y="18944"/>
                  </a:lnTo>
                  <a:lnTo>
                    <a:pt x="14784" y="18882"/>
                  </a:lnTo>
                  <a:lnTo>
                    <a:pt x="14859" y="18791"/>
                  </a:lnTo>
                  <a:lnTo>
                    <a:pt x="15001" y="18675"/>
                  </a:lnTo>
                  <a:lnTo>
                    <a:pt x="15018" y="18428"/>
                  </a:lnTo>
                  <a:cubicBezTo>
                    <a:pt x="15027" y="18358"/>
                    <a:pt x="15029" y="18286"/>
                    <a:pt x="15026" y="18214"/>
                  </a:cubicBezTo>
                  <a:cubicBezTo>
                    <a:pt x="15023" y="18158"/>
                    <a:pt x="15016" y="18102"/>
                    <a:pt x="15005" y="18048"/>
                  </a:cubicBezTo>
                  <a:lnTo>
                    <a:pt x="14951" y="17795"/>
                  </a:lnTo>
                  <a:lnTo>
                    <a:pt x="14866" y="17561"/>
                  </a:lnTo>
                  <a:lnTo>
                    <a:pt x="14850" y="17352"/>
                  </a:lnTo>
                  <a:lnTo>
                    <a:pt x="14784" y="17141"/>
                  </a:lnTo>
                  <a:lnTo>
                    <a:pt x="14703" y="17036"/>
                  </a:lnTo>
                  <a:lnTo>
                    <a:pt x="14574" y="16931"/>
                  </a:lnTo>
                  <a:lnTo>
                    <a:pt x="14515" y="16866"/>
                  </a:lnTo>
                  <a:lnTo>
                    <a:pt x="14356" y="16669"/>
                  </a:lnTo>
                  <a:lnTo>
                    <a:pt x="14313" y="16504"/>
                  </a:lnTo>
                  <a:lnTo>
                    <a:pt x="14270" y="16280"/>
                  </a:lnTo>
                  <a:lnTo>
                    <a:pt x="14249" y="16054"/>
                  </a:lnTo>
                  <a:lnTo>
                    <a:pt x="14249" y="15855"/>
                  </a:lnTo>
                  <a:lnTo>
                    <a:pt x="14310" y="15701"/>
                  </a:lnTo>
                  <a:lnTo>
                    <a:pt x="14404" y="15603"/>
                  </a:lnTo>
                  <a:lnTo>
                    <a:pt x="14539" y="15572"/>
                  </a:lnTo>
                  <a:lnTo>
                    <a:pt x="14646" y="15529"/>
                  </a:lnTo>
                  <a:lnTo>
                    <a:pt x="14709" y="15498"/>
                  </a:lnTo>
                  <a:lnTo>
                    <a:pt x="14801" y="15566"/>
                  </a:lnTo>
                  <a:lnTo>
                    <a:pt x="14849" y="15613"/>
                  </a:lnTo>
                  <a:lnTo>
                    <a:pt x="14905" y="15711"/>
                  </a:lnTo>
                  <a:lnTo>
                    <a:pt x="14913" y="15816"/>
                  </a:lnTo>
                  <a:lnTo>
                    <a:pt x="14978" y="15932"/>
                  </a:lnTo>
                  <a:lnTo>
                    <a:pt x="15034" y="15903"/>
                  </a:lnTo>
                  <a:lnTo>
                    <a:pt x="15067" y="15749"/>
                  </a:lnTo>
                  <a:lnTo>
                    <a:pt x="15119" y="15621"/>
                  </a:lnTo>
                  <a:lnTo>
                    <a:pt x="15197" y="15541"/>
                  </a:lnTo>
                  <a:lnTo>
                    <a:pt x="15236" y="15492"/>
                  </a:lnTo>
                  <a:lnTo>
                    <a:pt x="15356" y="15426"/>
                  </a:lnTo>
                  <a:lnTo>
                    <a:pt x="15409" y="15420"/>
                  </a:lnTo>
                  <a:lnTo>
                    <a:pt x="15506" y="15420"/>
                  </a:lnTo>
                  <a:cubicBezTo>
                    <a:pt x="15541" y="15410"/>
                    <a:pt x="15576" y="15402"/>
                    <a:pt x="15611" y="15395"/>
                  </a:cubicBezTo>
                  <a:cubicBezTo>
                    <a:pt x="15656" y="15387"/>
                    <a:pt x="15702" y="15382"/>
                    <a:pt x="15748" y="15381"/>
                  </a:cubicBezTo>
                  <a:lnTo>
                    <a:pt x="15797" y="15264"/>
                  </a:lnTo>
                  <a:lnTo>
                    <a:pt x="15824" y="15215"/>
                  </a:lnTo>
                  <a:lnTo>
                    <a:pt x="15922" y="15247"/>
                  </a:lnTo>
                  <a:lnTo>
                    <a:pt x="16095" y="15132"/>
                  </a:lnTo>
                  <a:lnTo>
                    <a:pt x="16192" y="15009"/>
                  </a:lnTo>
                  <a:lnTo>
                    <a:pt x="16270" y="14854"/>
                  </a:lnTo>
                  <a:lnTo>
                    <a:pt x="16310" y="14737"/>
                  </a:lnTo>
                  <a:lnTo>
                    <a:pt x="16407" y="14620"/>
                  </a:lnTo>
                  <a:lnTo>
                    <a:pt x="16439" y="14464"/>
                  </a:lnTo>
                  <a:lnTo>
                    <a:pt x="16441" y="14274"/>
                  </a:lnTo>
                  <a:lnTo>
                    <a:pt x="16474" y="14063"/>
                  </a:lnTo>
                  <a:lnTo>
                    <a:pt x="16523" y="13908"/>
                  </a:lnTo>
                  <a:cubicBezTo>
                    <a:pt x="16537" y="13860"/>
                    <a:pt x="16549" y="13811"/>
                    <a:pt x="16559" y="13760"/>
                  </a:cubicBezTo>
                  <a:cubicBezTo>
                    <a:pt x="16573" y="13694"/>
                    <a:pt x="16583" y="13626"/>
                    <a:pt x="16590" y="13557"/>
                  </a:cubicBezTo>
                  <a:lnTo>
                    <a:pt x="16618" y="13434"/>
                  </a:lnTo>
                  <a:lnTo>
                    <a:pt x="16612" y="13238"/>
                  </a:lnTo>
                  <a:lnTo>
                    <a:pt x="16579" y="13087"/>
                  </a:lnTo>
                  <a:lnTo>
                    <a:pt x="16463" y="13118"/>
                  </a:lnTo>
                  <a:lnTo>
                    <a:pt x="16401" y="13023"/>
                  </a:lnTo>
                  <a:lnTo>
                    <a:pt x="16404" y="12902"/>
                  </a:lnTo>
                  <a:lnTo>
                    <a:pt x="16500" y="12877"/>
                  </a:lnTo>
                  <a:lnTo>
                    <a:pt x="16499" y="12711"/>
                  </a:lnTo>
                  <a:lnTo>
                    <a:pt x="16452" y="12608"/>
                  </a:lnTo>
                  <a:lnTo>
                    <a:pt x="16290" y="12516"/>
                  </a:lnTo>
                  <a:lnTo>
                    <a:pt x="16202" y="12414"/>
                  </a:lnTo>
                  <a:lnTo>
                    <a:pt x="16127" y="12274"/>
                  </a:lnTo>
                  <a:lnTo>
                    <a:pt x="16079" y="12031"/>
                  </a:lnTo>
                  <a:lnTo>
                    <a:pt x="16006" y="11871"/>
                  </a:lnTo>
                  <a:lnTo>
                    <a:pt x="15922" y="11816"/>
                  </a:lnTo>
                  <a:lnTo>
                    <a:pt x="15808" y="11687"/>
                  </a:lnTo>
                  <a:lnTo>
                    <a:pt x="15821" y="11475"/>
                  </a:lnTo>
                  <a:lnTo>
                    <a:pt x="15861" y="11346"/>
                  </a:lnTo>
                  <a:lnTo>
                    <a:pt x="15955" y="11253"/>
                  </a:lnTo>
                  <a:lnTo>
                    <a:pt x="16048" y="11167"/>
                  </a:lnTo>
                  <a:lnTo>
                    <a:pt x="16158" y="11093"/>
                  </a:lnTo>
                  <a:lnTo>
                    <a:pt x="16213" y="11001"/>
                  </a:lnTo>
                  <a:lnTo>
                    <a:pt x="16121" y="10906"/>
                  </a:lnTo>
                  <a:lnTo>
                    <a:pt x="16057" y="10878"/>
                  </a:lnTo>
                  <a:lnTo>
                    <a:pt x="15876" y="10796"/>
                  </a:lnTo>
                  <a:lnTo>
                    <a:pt x="15787" y="10913"/>
                  </a:lnTo>
                  <a:lnTo>
                    <a:pt x="15726" y="10986"/>
                  </a:lnTo>
                  <a:lnTo>
                    <a:pt x="15616" y="10898"/>
                  </a:lnTo>
                  <a:lnTo>
                    <a:pt x="15572" y="10814"/>
                  </a:lnTo>
                  <a:lnTo>
                    <a:pt x="15466" y="10773"/>
                  </a:lnTo>
                  <a:lnTo>
                    <a:pt x="15240" y="10656"/>
                  </a:lnTo>
                  <a:lnTo>
                    <a:pt x="15246" y="10486"/>
                  </a:lnTo>
                  <a:lnTo>
                    <a:pt x="15242" y="10361"/>
                  </a:lnTo>
                  <a:lnTo>
                    <a:pt x="15301" y="10324"/>
                  </a:lnTo>
                  <a:lnTo>
                    <a:pt x="15407" y="10336"/>
                  </a:lnTo>
                  <a:lnTo>
                    <a:pt x="15531" y="10149"/>
                  </a:lnTo>
                  <a:lnTo>
                    <a:pt x="15564" y="10015"/>
                  </a:lnTo>
                  <a:lnTo>
                    <a:pt x="15631" y="9837"/>
                  </a:lnTo>
                  <a:lnTo>
                    <a:pt x="15707" y="9806"/>
                  </a:lnTo>
                  <a:lnTo>
                    <a:pt x="15791" y="9837"/>
                  </a:lnTo>
                  <a:lnTo>
                    <a:pt x="15841" y="9943"/>
                  </a:lnTo>
                  <a:lnTo>
                    <a:pt x="15848" y="10050"/>
                  </a:lnTo>
                  <a:lnTo>
                    <a:pt x="15863" y="10231"/>
                  </a:lnTo>
                  <a:lnTo>
                    <a:pt x="15907" y="10340"/>
                  </a:lnTo>
                  <a:lnTo>
                    <a:pt x="15948" y="10401"/>
                  </a:lnTo>
                  <a:lnTo>
                    <a:pt x="16001" y="10382"/>
                  </a:lnTo>
                  <a:lnTo>
                    <a:pt x="16072" y="10288"/>
                  </a:lnTo>
                  <a:lnTo>
                    <a:pt x="16148" y="10200"/>
                  </a:lnTo>
                  <a:lnTo>
                    <a:pt x="16274" y="10150"/>
                  </a:lnTo>
                  <a:lnTo>
                    <a:pt x="16333" y="10181"/>
                  </a:lnTo>
                  <a:lnTo>
                    <a:pt x="16409" y="10234"/>
                  </a:lnTo>
                  <a:lnTo>
                    <a:pt x="16525" y="10312"/>
                  </a:lnTo>
                  <a:lnTo>
                    <a:pt x="16590" y="10442"/>
                  </a:lnTo>
                  <a:lnTo>
                    <a:pt x="16527" y="10497"/>
                  </a:lnTo>
                  <a:lnTo>
                    <a:pt x="16523" y="10644"/>
                  </a:lnTo>
                  <a:lnTo>
                    <a:pt x="16588" y="10729"/>
                  </a:lnTo>
                  <a:lnTo>
                    <a:pt x="16695" y="10722"/>
                  </a:lnTo>
                  <a:lnTo>
                    <a:pt x="16853" y="10809"/>
                  </a:lnTo>
                  <a:lnTo>
                    <a:pt x="16926" y="10987"/>
                  </a:lnTo>
                  <a:lnTo>
                    <a:pt x="16986" y="11078"/>
                  </a:lnTo>
                  <a:lnTo>
                    <a:pt x="17010" y="11232"/>
                  </a:lnTo>
                  <a:lnTo>
                    <a:pt x="17031" y="11349"/>
                  </a:lnTo>
                  <a:lnTo>
                    <a:pt x="17059" y="11498"/>
                  </a:lnTo>
                  <a:lnTo>
                    <a:pt x="17071" y="11651"/>
                  </a:lnTo>
                  <a:lnTo>
                    <a:pt x="17130" y="11766"/>
                  </a:lnTo>
                  <a:lnTo>
                    <a:pt x="17195" y="11815"/>
                  </a:lnTo>
                  <a:lnTo>
                    <a:pt x="17296" y="11702"/>
                  </a:lnTo>
                  <a:lnTo>
                    <a:pt x="17415" y="11614"/>
                  </a:lnTo>
                  <a:lnTo>
                    <a:pt x="17496" y="11558"/>
                  </a:lnTo>
                  <a:lnTo>
                    <a:pt x="17559" y="11499"/>
                  </a:lnTo>
                  <a:cubicBezTo>
                    <a:pt x="17562" y="11433"/>
                    <a:pt x="17556" y="11367"/>
                    <a:pt x="17540" y="11306"/>
                  </a:cubicBezTo>
                  <a:cubicBezTo>
                    <a:pt x="17525" y="11249"/>
                    <a:pt x="17502" y="11197"/>
                    <a:pt x="17473" y="11154"/>
                  </a:cubicBezTo>
                  <a:lnTo>
                    <a:pt x="17400" y="10964"/>
                  </a:lnTo>
                  <a:lnTo>
                    <a:pt x="17298" y="10799"/>
                  </a:lnTo>
                  <a:lnTo>
                    <a:pt x="17248" y="10793"/>
                  </a:lnTo>
                  <a:lnTo>
                    <a:pt x="17072" y="10623"/>
                  </a:lnTo>
                  <a:lnTo>
                    <a:pt x="16989" y="10544"/>
                  </a:lnTo>
                  <a:lnTo>
                    <a:pt x="16900" y="10423"/>
                  </a:lnTo>
                  <a:lnTo>
                    <a:pt x="16820" y="10351"/>
                  </a:lnTo>
                  <a:lnTo>
                    <a:pt x="16820" y="10220"/>
                  </a:lnTo>
                  <a:lnTo>
                    <a:pt x="16933" y="10133"/>
                  </a:lnTo>
                  <a:lnTo>
                    <a:pt x="17068" y="10029"/>
                  </a:lnTo>
                  <a:lnTo>
                    <a:pt x="17083" y="9914"/>
                  </a:lnTo>
                  <a:lnTo>
                    <a:pt x="17049" y="9761"/>
                  </a:lnTo>
                  <a:lnTo>
                    <a:pt x="16957" y="9770"/>
                  </a:lnTo>
                  <a:cubicBezTo>
                    <a:pt x="16942" y="9699"/>
                    <a:pt x="16956" y="9621"/>
                    <a:pt x="16992" y="9571"/>
                  </a:cubicBezTo>
                  <a:cubicBezTo>
                    <a:pt x="17020" y="9533"/>
                    <a:pt x="17058" y="9517"/>
                    <a:pt x="17095" y="9528"/>
                  </a:cubicBezTo>
                  <a:cubicBezTo>
                    <a:pt x="17106" y="9498"/>
                    <a:pt x="17116" y="9467"/>
                    <a:pt x="17123" y="9435"/>
                  </a:cubicBezTo>
                  <a:cubicBezTo>
                    <a:pt x="17139" y="9373"/>
                    <a:pt x="17147" y="9308"/>
                    <a:pt x="17149" y="9242"/>
                  </a:cubicBezTo>
                  <a:lnTo>
                    <a:pt x="17174" y="9110"/>
                  </a:lnTo>
                  <a:lnTo>
                    <a:pt x="17248" y="9178"/>
                  </a:lnTo>
                  <a:lnTo>
                    <a:pt x="17347" y="9270"/>
                  </a:lnTo>
                  <a:lnTo>
                    <a:pt x="17392" y="9297"/>
                  </a:lnTo>
                  <a:lnTo>
                    <a:pt x="17514" y="9286"/>
                  </a:lnTo>
                  <a:lnTo>
                    <a:pt x="17568" y="9177"/>
                  </a:lnTo>
                  <a:cubicBezTo>
                    <a:pt x="17590" y="9119"/>
                    <a:pt x="17610" y="9059"/>
                    <a:pt x="17626" y="8997"/>
                  </a:cubicBezTo>
                  <a:cubicBezTo>
                    <a:pt x="17641" y="8944"/>
                    <a:pt x="17653" y="8890"/>
                    <a:pt x="17663" y="8835"/>
                  </a:cubicBezTo>
                  <a:lnTo>
                    <a:pt x="17709" y="8691"/>
                  </a:lnTo>
                  <a:lnTo>
                    <a:pt x="17732" y="8540"/>
                  </a:lnTo>
                  <a:lnTo>
                    <a:pt x="17783" y="8406"/>
                  </a:lnTo>
                  <a:lnTo>
                    <a:pt x="17835" y="8208"/>
                  </a:lnTo>
                  <a:lnTo>
                    <a:pt x="17770" y="8060"/>
                  </a:lnTo>
                  <a:lnTo>
                    <a:pt x="17770" y="7890"/>
                  </a:lnTo>
                  <a:lnTo>
                    <a:pt x="17823" y="7767"/>
                  </a:lnTo>
                  <a:lnTo>
                    <a:pt x="17830" y="7600"/>
                  </a:lnTo>
                  <a:cubicBezTo>
                    <a:pt x="17813" y="7554"/>
                    <a:pt x="17796" y="7509"/>
                    <a:pt x="17778" y="7463"/>
                  </a:cubicBezTo>
                  <a:cubicBezTo>
                    <a:pt x="17763" y="7423"/>
                    <a:pt x="17747" y="7384"/>
                    <a:pt x="17735" y="7341"/>
                  </a:cubicBezTo>
                  <a:cubicBezTo>
                    <a:pt x="17715" y="7271"/>
                    <a:pt x="17705" y="7195"/>
                    <a:pt x="17707" y="7119"/>
                  </a:cubicBezTo>
                  <a:lnTo>
                    <a:pt x="17634" y="7044"/>
                  </a:lnTo>
                  <a:lnTo>
                    <a:pt x="17580" y="7052"/>
                  </a:lnTo>
                  <a:lnTo>
                    <a:pt x="17503" y="6849"/>
                  </a:lnTo>
                  <a:lnTo>
                    <a:pt x="17459" y="6758"/>
                  </a:lnTo>
                  <a:lnTo>
                    <a:pt x="17435" y="6611"/>
                  </a:lnTo>
                  <a:lnTo>
                    <a:pt x="17373" y="6495"/>
                  </a:lnTo>
                  <a:lnTo>
                    <a:pt x="17240" y="6324"/>
                  </a:lnTo>
                  <a:lnTo>
                    <a:pt x="17132" y="6263"/>
                  </a:lnTo>
                  <a:lnTo>
                    <a:pt x="17059" y="6103"/>
                  </a:lnTo>
                  <a:lnTo>
                    <a:pt x="16962" y="6028"/>
                  </a:lnTo>
                  <a:lnTo>
                    <a:pt x="16881" y="6047"/>
                  </a:lnTo>
                  <a:lnTo>
                    <a:pt x="16783" y="6115"/>
                  </a:lnTo>
                  <a:lnTo>
                    <a:pt x="16687" y="6140"/>
                  </a:lnTo>
                  <a:lnTo>
                    <a:pt x="16607" y="6103"/>
                  </a:lnTo>
                  <a:lnTo>
                    <a:pt x="16460" y="6072"/>
                  </a:lnTo>
                  <a:lnTo>
                    <a:pt x="16403" y="6004"/>
                  </a:lnTo>
                  <a:lnTo>
                    <a:pt x="16326" y="5924"/>
                  </a:lnTo>
                  <a:lnTo>
                    <a:pt x="16206" y="5924"/>
                  </a:lnTo>
                  <a:lnTo>
                    <a:pt x="16146" y="5807"/>
                  </a:lnTo>
                  <a:lnTo>
                    <a:pt x="16226" y="5720"/>
                  </a:lnTo>
                  <a:lnTo>
                    <a:pt x="16275" y="5634"/>
                  </a:lnTo>
                  <a:lnTo>
                    <a:pt x="16349" y="5282"/>
                  </a:lnTo>
                  <a:lnTo>
                    <a:pt x="16330" y="5106"/>
                  </a:lnTo>
                  <a:lnTo>
                    <a:pt x="16362" y="4989"/>
                  </a:lnTo>
                  <a:lnTo>
                    <a:pt x="16434" y="4856"/>
                  </a:lnTo>
                  <a:lnTo>
                    <a:pt x="16537" y="4743"/>
                  </a:lnTo>
                  <a:lnTo>
                    <a:pt x="16606" y="4658"/>
                  </a:lnTo>
                  <a:lnTo>
                    <a:pt x="16694" y="4611"/>
                  </a:lnTo>
                  <a:lnTo>
                    <a:pt x="16817" y="4582"/>
                  </a:lnTo>
                  <a:lnTo>
                    <a:pt x="16917" y="4582"/>
                  </a:lnTo>
                  <a:lnTo>
                    <a:pt x="17020" y="4619"/>
                  </a:lnTo>
                  <a:lnTo>
                    <a:pt x="17129" y="4632"/>
                  </a:lnTo>
                  <a:lnTo>
                    <a:pt x="17261" y="4626"/>
                  </a:lnTo>
                  <a:lnTo>
                    <a:pt x="17398" y="4558"/>
                  </a:lnTo>
                  <a:lnTo>
                    <a:pt x="17471" y="4527"/>
                  </a:lnTo>
                  <a:lnTo>
                    <a:pt x="17580" y="4490"/>
                  </a:lnTo>
                  <a:lnTo>
                    <a:pt x="17633" y="4527"/>
                  </a:lnTo>
                  <a:lnTo>
                    <a:pt x="17686" y="4607"/>
                  </a:lnTo>
                  <a:lnTo>
                    <a:pt x="17787" y="4674"/>
                  </a:lnTo>
                  <a:lnTo>
                    <a:pt x="17836" y="4724"/>
                  </a:lnTo>
                  <a:lnTo>
                    <a:pt x="17952" y="4730"/>
                  </a:lnTo>
                  <a:lnTo>
                    <a:pt x="18081" y="4644"/>
                  </a:lnTo>
                  <a:lnTo>
                    <a:pt x="18189" y="4625"/>
                  </a:lnTo>
                  <a:lnTo>
                    <a:pt x="18143" y="4366"/>
                  </a:lnTo>
                  <a:cubicBezTo>
                    <a:pt x="18105" y="4367"/>
                    <a:pt x="18070" y="4330"/>
                    <a:pt x="18058" y="4274"/>
                  </a:cubicBezTo>
                  <a:cubicBezTo>
                    <a:pt x="18044" y="4208"/>
                    <a:pt x="18064" y="4136"/>
                    <a:pt x="18106" y="4107"/>
                  </a:cubicBezTo>
                  <a:cubicBezTo>
                    <a:pt x="18105" y="4044"/>
                    <a:pt x="18122" y="3983"/>
                    <a:pt x="18153" y="3941"/>
                  </a:cubicBezTo>
                  <a:cubicBezTo>
                    <a:pt x="18184" y="3898"/>
                    <a:pt x="18225" y="3878"/>
                    <a:pt x="18266" y="3886"/>
                  </a:cubicBezTo>
                  <a:lnTo>
                    <a:pt x="18388" y="3912"/>
                  </a:lnTo>
                  <a:lnTo>
                    <a:pt x="18433" y="3986"/>
                  </a:lnTo>
                  <a:lnTo>
                    <a:pt x="18561" y="3941"/>
                  </a:lnTo>
                  <a:lnTo>
                    <a:pt x="18622" y="4058"/>
                  </a:lnTo>
                  <a:lnTo>
                    <a:pt x="18642" y="4156"/>
                  </a:lnTo>
                  <a:lnTo>
                    <a:pt x="18742" y="4173"/>
                  </a:lnTo>
                  <a:lnTo>
                    <a:pt x="18819" y="4105"/>
                  </a:lnTo>
                  <a:lnTo>
                    <a:pt x="18815" y="3967"/>
                  </a:lnTo>
                  <a:lnTo>
                    <a:pt x="18815" y="3844"/>
                  </a:lnTo>
                  <a:lnTo>
                    <a:pt x="18867" y="3773"/>
                  </a:lnTo>
                  <a:lnTo>
                    <a:pt x="18940" y="3726"/>
                  </a:lnTo>
                  <a:lnTo>
                    <a:pt x="19014" y="3739"/>
                  </a:lnTo>
                  <a:lnTo>
                    <a:pt x="19059" y="3881"/>
                  </a:lnTo>
                  <a:lnTo>
                    <a:pt x="19100" y="4056"/>
                  </a:lnTo>
                  <a:lnTo>
                    <a:pt x="19170" y="4183"/>
                  </a:lnTo>
                  <a:lnTo>
                    <a:pt x="19186" y="4282"/>
                  </a:lnTo>
                  <a:lnTo>
                    <a:pt x="19098" y="4430"/>
                  </a:lnTo>
                  <a:lnTo>
                    <a:pt x="19067" y="4607"/>
                  </a:lnTo>
                  <a:lnTo>
                    <a:pt x="19096" y="4814"/>
                  </a:lnTo>
                  <a:lnTo>
                    <a:pt x="19031" y="4991"/>
                  </a:lnTo>
                  <a:lnTo>
                    <a:pt x="18966" y="5108"/>
                  </a:lnTo>
                  <a:cubicBezTo>
                    <a:pt x="18954" y="5143"/>
                    <a:pt x="18950" y="5183"/>
                    <a:pt x="18953" y="5223"/>
                  </a:cubicBezTo>
                  <a:cubicBezTo>
                    <a:pt x="18962" y="5311"/>
                    <a:pt x="19008" y="5380"/>
                    <a:pt x="19066" y="5393"/>
                  </a:cubicBezTo>
                  <a:lnTo>
                    <a:pt x="19082" y="5556"/>
                  </a:lnTo>
                  <a:lnTo>
                    <a:pt x="19157" y="5665"/>
                  </a:lnTo>
                  <a:lnTo>
                    <a:pt x="19206" y="5747"/>
                  </a:lnTo>
                  <a:lnTo>
                    <a:pt x="19243" y="5909"/>
                  </a:lnTo>
                  <a:lnTo>
                    <a:pt x="19298" y="5952"/>
                  </a:lnTo>
                  <a:lnTo>
                    <a:pt x="19402" y="6100"/>
                  </a:lnTo>
                  <a:lnTo>
                    <a:pt x="19470" y="6174"/>
                  </a:lnTo>
                  <a:lnTo>
                    <a:pt x="19527" y="6193"/>
                  </a:lnTo>
                  <a:lnTo>
                    <a:pt x="19531" y="6369"/>
                  </a:lnTo>
                  <a:lnTo>
                    <a:pt x="19624" y="6357"/>
                  </a:lnTo>
                  <a:lnTo>
                    <a:pt x="19673" y="6369"/>
                  </a:lnTo>
                  <a:lnTo>
                    <a:pt x="19721" y="6499"/>
                  </a:lnTo>
                  <a:lnTo>
                    <a:pt x="19782" y="6579"/>
                  </a:lnTo>
                  <a:lnTo>
                    <a:pt x="19822" y="6747"/>
                  </a:lnTo>
                  <a:lnTo>
                    <a:pt x="19922" y="6825"/>
                  </a:lnTo>
                  <a:lnTo>
                    <a:pt x="19989" y="6912"/>
                  </a:lnTo>
                  <a:lnTo>
                    <a:pt x="20047" y="6840"/>
                  </a:lnTo>
                  <a:lnTo>
                    <a:pt x="20095" y="6770"/>
                  </a:lnTo>
                  <a:lnTo>
                    <a:pt x="20141" y="6776"/>
                  </a:lnTo>
                  <a:lnTo>
                    <a:pt x="20122" y="6661"/>
                  </a:lnTo>
                  <a:cubicBezTo>
                    <a:pt x="20096" y="6629"/>
                    <a:pt x="20076" y="6588"/>
                    <a:pt x="20063" y="6541"/>
                  </a:cubicBezTo>
                  <a:cubicBezTo>
                    <a:pt x="20048" y="6486"/>
                    <a:pt x="20044" y="6426"/>
                    <a:pt x="20051" y="6368"/>
                  </a:cubicBezTo>
                  <a:lnTo>
                    <a:pt x="20097" y="6333"/>
                  </a:lnTo>
                  <a:lnTo>
                    <a:pt x="20060" y="6229"/>
                  </a:lnTo>
                  <a:lnTo>
                    <a:pt x="20028" y="6130"/>
                  </a:lnTo>
                  <a:cubicBezTo>
                    <a:pt x="20017" y="6102"/>
                    <a:pt x="20015" y="6068"/>
                    <a:pt x="20024" y="6038"/>
                  </a:cubicBezTo>
                  <a:cubicBezTo>
                    <a:pt x="20032" y="6008"/>
                    <a:pt x="20050" y="5987"/>
                    <a:pt x="20071" y="5981"/>
                  </a:cubicBezTo>
                  <a:lnTo>
                    <a:pt x="20148" y="5952"/>
                  </a:lnTo>
                  <a:lnTo>
                    <a:pt x="20116" y="5824"/>
                  </a:lnTo>
                  <a:lnTo>
                    <a:pt x="20073" y="5726"/>
                  </a:lnTo>
                  <a:lnTo>
                    <a:pt x="20027" y="5675"/>
                  </a:lnTo>
                  <a:lnTo>
                    <a:pt x="19988" y="5459"/>
                  </a:lnTo>
                  <a:lnTo>
                    <a:pt x="19971" y="5357"/>
                  </a:lnTo>
                  <a:lnTo>
                    <a:pt x="19889" y="5276"/>
                  </a:lnTo>
                  <a:cubicBezTo>
                    <a:pt x="19848" y="5275"/>
                    <a:pt x="19809" y="5248"/>
                    <a:pt x="19781" y="5203"/>
                  </a:cubicBezTo>
                  <a:cubicBezTo>
                    <a:pt x="19758" y="5165"/>
                    <a:pt x="19743" y="5118"/>
                    <a:pt x="19740" y="5067"/>
                  </a:cubicBezTo>
                  <a:lnTo>
                    <a:pt x="19649" y="5030"/>
                  </a:lnTo>
                  <a:lnTo>
                    <a:pt x="19552" y="5065"/>
                  </a:lnTo>
                  <a:lnTo>
                    <a:pt x="19499" y="4954"/>
                  </a:lnTo>
                  <a:lnTo>
                    <a:pt x="19530" y="4815"/>
                  </a:lnTo>
                  <a:lnTo>
                    <a:pt x="19474" y="4739"/>
                  </a:lnTo>
                  <a:lnTo>
                    <a:pt x="19445" y="4653"/>
                  </a:lnTo>
                  <a:lnTo>
                    <a:pt x="19429" y="4566"/>
                  </a:lnTo>
                  <a:lnTo>
                    <a:pt x="19532" y="4463"/>
                  </a:lnTo>
                  <a:lnTo>
                    <a:pt x="19674" y="4445"/>
                  </a:lnTo>
                  <a:lnTo>
                    <a:pt x="19757" y="4410"/>
                  </a:lnTo>
                  <a:lnTo>
                    <a:pt x="19810" y="4391"/>
                  </a:lnTo>
                  <a:lnTo>
                    <a:pt x="19862" y="4330"/>
                  </a:lnTo>
                  <a:lnTo>
                    <a:pt x="19913" y="4237"/>
                  </a:lnTo>
                  <a:lnTo>
                    <a:pt x="19960" y="4135"/>
                  </a:lnTo>
                  <a:lnTo>
                    <a:pt x="20017" y="4135"/>
                  </a:lnTo>
                  <a:lnTo>
                    <a:pt x="20052" y="4258"/>
                  </a:lnTo>
                  <a:lnTo>
                    <a:pt x="20103" y="4307"/>
                  </a:lnTo>
                  <a:lnTo>
                    <a:pt x="20167" y="4360"/>
                  </a:lnTo>
                  <a:lnTo>
                    <a:pt x="20240" y="4360"/>
                  </a:lnTo>
                  <a:lnTo>
                    <a:pt x="20330" y="4258"/>
                  </a:lnTo>
                  <a:lnTo>
                    <a:pt x="20441" y="4155"/>
                  </a:lnTo>
                  <a:lnTo>
                    <a:pt x="20460" y="4007"/>
                  </a:lnTo>
                  <a:lnTo>
                    <a:pt x="20532" y="3897"/>
                  </a:lnTo>
                  <a:lnTo>
                    <a:pt x="20647" y="3796"/>
                  </a:lnTo>
                  <a:lnTo>
                    <a:pt x="20690" y="3796"/>
                  </a:lnTo>
                  <a:lnTo>
                    <a:pt x="20798" y="3815"/>
                  </a:lnTo>
                  <a:lnTo>
                    <a:pt x="20974" y="3825"/>
                  </a:lnTo>
                  <a:lnTo>
                    <a:pt x="21043" y="3689"/>
                  </a:lnTo>
                  <a:lnTo>
                    <a:pt x="20828" y="3616"/>
                  </a:lnTo>
                  <a:lnTo>
                    <a:pt x="20699" y="3488"/>
                  </a:lnTo>
                  <a:cubicBezTo>
                    <a:pt x="20651" y="3440"/>
                    <a:pt x="20598" y="3408"/>
                    <a:pt x="20541" y="3395"/>
                  </a:cubicBezTo>
                  <a:cubicBezTo>
                    <a:pt x="20487" y="3382"/>
                    <a:pt x="20431" y="3387"/>
                    <a:pt x="20377" y="3369"/>
                  </a:cubicBezTo>
                  <a:cubicBezTo>
                    <a:pt x="20319" y="3349"/>
                    <a:pt x="20265" y="3304"/>
                    <a:pt x="20223" y="3239"/>
                  </a:cubicBezTo>
                  <a:lnTo>
                    <a:pt x="20154" y="3103"/>
                  </a:lnTo>
                  <a:lnTo>
                    <a:pt x="20236" y="3024"/>
                  </a:lnTo>
                  <a:lnTo>
                    <a:pt x="20355" y="3107"/>
                  </a:lnTo>
                  <a:lnTo>
                    <a:pt x="20443" y="3134"/>
                  </a:lnTo>
                  <a:lnTo>
                    <a:pt x="20540" y="3140"/>
                  </a:lnTo>
                  <a:lnTo>
                    <a:pt x="20552" y="3056"/>
                  </a:lnTo>
                  <a:lnTo>
                    <a:pt x="20456" y="2990"/>
                  </a:lnTo>
                  <a:lnTo>
                    <a:pt x="20365" y="2851"/>
                  </a:lnTo>
                  <a:lnTo>
                    <a:pt x="20463" y="2783"/>
                  </a:lnTo>
                  <a:lnTo>
                    <a:pt x="20569" y="2870"/>
                  </a:lnTo>
                  <a:lnTo>
                    <a:pt x="20686" y="2876"/>
                  </a:lnTo>
                  <a:lnTo>
                    <a:pt x="20806" y="2925"/>
                  </a:lnTo>
                  <a:lnTo>
                    <a:pt x="20940" y="2947"/>
                  </a:lnTo>
                  <a:lnTo>
                    <a:pt x="21026" y="2924"/>
                  </a:lnTo>
                  <a:lnTo>
                    <a:pt x="21094" y="3032"/>
                  </a:lnTo>
                  <a:lnTo>
                    <a:pt x="21270" y="3145"/>
                  </a:lnTo>
                  <a:lnTo>
                    <a:pt x="21423" y="3219"/>
                  </a:lnTo>
                  <a:lnTo>
                    <a:pt x="21566" y="3127"/>
                  </a:lnTo>
                  <a:lnTo>
                    <a:pt x="21600" y="3078"/>
                  </a:lnTo>
                  <a:lnTo>
                    <a:pt x="21527" y="3010"/>
                  </a:lnTo>
                  <a:lnTo>
                    <a:pt x="21426" y="2891"/>
                  </a:lnTo>
                  <a:lnTo>
                    <a:pt x="21301" y="2737"/>
                  </a:lnTo>
                  <a:lnTo>
                    <a:pt x="21190" y="2630"/>
                  </a:lnTo>
                  <a:lnTo>
                    <a:pt x="21119" y="2630"/>
                  </a:lnTo>
                  <a:lnTo>
                    <a:pt x="21030" y="2636"/>
                  </a:lnTo>
                  <a:lnTo>
                    <a:pt x="20974" y="2686"/>
                  </a:lnTo>
                  <a:lnTo>
                    <a:pt x="20878" y="2770"/>
                  </a:lnTo>
                  <a:lnTo>
                    <a:pt x="20770" y="2686"/>
                  </a:lnTo>
                  <a:lnTo>
                    <a:pt x="20722" y="2588"/>
                  </a:lnTo>
                  <a:lnTo>
                    <a:pt x="20543" y="2472"/>
                  </a:lnTo>
                  <a:lnTo>
                    <a:pt x="20456" y="2425"/>
                  </a:lnTo>
                  <a:lnTo>
                    <a:pt x="20307" y="2425"/>
                  </a:lnTo>
                  <a:lnTo>
                    <a:pt x="20202" y="2382"/>
                  </a:lnTo>
                  <a:lnTo>
                    <a:pt x="20089" y="2339"/>
                  </a:lnTo>
                  <a:lnTo>
                    <a:pt x="19926" y="2311"/>
                  </a:lnTo>
                  <a:lnTo>
                    <a:pt x="19800" y="2213"/>
                  </a:lnTo>
                  <a:lnTo>
                    <a:pt x="19643" y="2083"/>
                  </a:lnTo>
                  <a:lnTo>
                    <a:pt x="19551" y="2052"/>
                  </a:lnTo>
                  <a:lnTo>
                    <a:pt x="19315" y="2034"/>
                  </a:lnTo>
                  <a:lnTo>
                    <a:pt x="19215" y="1997"/>
                  </a:lnTo>
                  <a:lnTo>
                    <a:pt x="19122" y="1921"/>
                  </a:lnTo>
                  <a:lnTo>
                    <a:pt x="18920" y="1933"/>
                  </a:lnTo>
                  <a:lnTo>
                    <a:pt x="18735" y="1921"/>
                  </a:lnTo>
                  <a:lnTo>
                    <a:pt x="18590" y="1909"/>
                  </a:lnTo>
                  <a:lnTo>
                    <a:pt x="18496" y="1822"/>
                  </a:lnTo>
                  <a:lnTo>
                    <a:pt x="18364" y="1797"/>
                  </a:lnTo>
                  <a:lnTo>
                    <a:pt x="18239" y="1810"/>
                  </a:lnTo>
                  <a:lnTo>
                    <a:pt x="18137" y="1829"/>
                  </a:lnTo>
                  <a:lnTo>
                    <a:pt x="18157" y="1902"/>
                  </a:lnTo>
                  <a:lnTo>
                    <a:pt x="18248" y="1991"/>
                  </a:lnTo>
                  <a:lnTo>
                    <a:pt x="18296" y="2120"/>
                  </a:lnTo>
                  <a:lnTo>
                    <a:pt x="18233" y="2151"/>
                  </a:lnTo>
                  <a:lnTo>
                    <a:pt x="18148" y="2110"/>
                  </a:lnTo>
                  <a:lnTo>
                    <a:pt x="18025" y="2036"/>
                  </a:lnTo>
                  <a:lnTo>
                    <a:pt x="17903" y="1987"/>
                  </a:lnTo>
                  <a:lnTo>
                    <a:pt x="17710" y="1891"/>
                  </a:lnTo>
                  <a:lnTo>
                    <a:pt x="17551" y="1878"/>
                  </a:lnTo>
                  <a:lnTo>
                    <a:pt x="17370" y="1915"/>
                  </a:lnTo>
                  <a:lnTo>
                    <a:pt x="17038" y="1989"/>
                  </a:lnTo>
                  <a:lnTo>
                    <a:pt x="16827" y="1926"/>
                  </a:lnTo>
                  <a:lnTo>
                    <a:pt x="16722" y="1858"/>
                  </a:lnTo>
                  <a:lnTo>
                    <a:pt x="16565" y="1799"/>
                  </a:lnTo>
                  <a:lnTo>
                    <a:pt x="16503" y="1709"/>
                  </a:lnTo>
                  <a:lnTo>
                    <a:pt x="16417" y="1665"/>
                  </a:lnTo>
                  <a:lnTo>
                    <a:pt x="16350" y="1665"/>
                  </a:lnTo>
                  <a:lnTo>
                    <a:pt x="16180" y="1702"/>
                  </a:lnTo>
                  <a:lnTo>
                    <a:pt x="15880" y="1706"/>
                  </a:lnTo>
                  <a:lnTo>
                    <a:pt x="15742" y="1620"/>
                  </a:lnTo>
                  <a:lnTo>
                    <a:pt x="15543" y="1620"/>
                  </a:lnTo>
                  <a:lnTo>
                    <a:pt x="15307" y="1595"/>
                  </a:lnTo>
                  <a:lnTo>
                    <a:pt x="15157" y="1620"/>
                  </a:lnTo>
                  <a:lnTo>
                    <a:pt x="15047" y="1501"/>
                  </a:lnTo>
                  <a:lnTo>
                    <a:pt x="14881" y="1420"/>
                  </a:lnTo>
                  <a:lnTo>
                    <a:pt x="14763" y="1303"/>
                  </a:lnTo>
                  <a:lnTo>
                    <a:pt x="14679" y="1266"/>
                  </a:lnTo>
                  <a:lnTo>
                    <a:pt x="14635" y="1352"/>
                  </a:lnTo>
                  <a:lnTo>
                    <a:pt x="14550" y="1352"/>
                  </a:lnTo>
                  <a:lnTo>
                    <a:pt x="14462" y="1297"/>
                  </a:lnTo>
                  <a:lnTo>
                    <a:pt x="14166" y="1211"/>
                  </a:lnTo>
                  <a:lnTo>
                    <a:pt x="14073" y="1169"/>
                  </a:lnTo>
                  <a:lnTo>
                    <a:pt x="13945" y="1162"/>
                  </a:lnTo>
                  <a:lnTo>
                    <a:pt x="13813" y="1181"/>
                  </a:lnTo>
                  <a:lnTo>
                    <a:pt x="13627" y="1224"/>
                  </a:lnTo>
                  <a:lnTo>
                    <a:pt x="13667" y="1317"/>
                  </a:lnTo>
                  <a:lnTo>
                    <a:pt x="13749" y="1403"/>
                  </a:lnTo>
                  <a:lnTo>
                    <a:pt x="13692" y="1507"/>
                  </a:lnTo>
                  <a:lnTo>
                    <a:pt x="13597" y="1536"/>
                  </a:lnTo>
                  <a:lnTo>
                    <a:pt x="13538" y="1628"/>
                  </a:lnTo>
                  <a:lnTo>
                    <a:pt x="13428" y="1659"/>
                  </a:lnTo>
                  <a:lnTo>
                    <a:pt x="13358" y="1560"/>
                  </a:lnTo>
                  <a:lnTo>
                    <a:pt x="13216" y="1548"/>
                  </a:lnTo>
                  <a:lnTo>
                    <a:pt x="13131" y="1566"/>
                  </a:lnTo>
                  <a:lnTo>
                    <a:pt x="13104" y="1505"/>
                  </a:lnTo>
                  <a:lnTo>
                    <a:pt x="12982" y="1530"/>
                  </a:lnTo>
                  <a:lnTo>
                    <a:pt x="12917" y="1609"/>
                  </a:lnTo>
                  <a:lnTo>
                    <a:pt x="12808" y="1661"/>
                  </a:lnTo>
                  <a:lnTo>
                    <a:pt x="12730" y="1716"/>
                  </a:lnTo>
                  <a:lnTo>
                    <a:pt x="12648" y="1673"/>
                  </a:lnTo>
                  <a:lnTo>
                    <a:pt x="12554" y="1612"/>
                  </a:lnTo>
                  <a:lnTo>
                    <a:pt x="12432" y="1501"/>
                  </a:lnTo>
                  <a:lnTo>
                    <a:pt x="12362" y="1435"/>
                  </a:lnTo>
                  <a:lnTo>
                    <a:pt x="12252" y="1303"/>
                  </a:lnTo>
                  <a:lnTo>
                    <a:pt x="12198" y="1196"/>
                  </a:lnTo>
                  <a:lnTo>
                    <a:pt x="12065" y="1147"/>
                  </a:lnTo>
                  <a:lnTo>
                    <a:pt x="11907" y="1091"/>
                  </a:lnTo>
                  <a:lnTo>
                    <a:pt x="11807" y="1027"/>
                  </a:lnTo>
                  <a:lnTo>
                    <a:pt x="11650" y="1040"/>
                  </a:lnTo>
                  <a:lnTo>
                    <a:pt x="11476" y="1046"/>
                  </a:lnTo>
                  <a:lnTo>
                    <a:pt x="11319" y="1107"/>
                  </a:lnTo>
                  <a:lnTo>
                    <a:pt x="11161" y="1175"/>
                  </a:lnTo>
                  <a:lnTo>
                    <a:pt x="11102" y="1212"/>
                  </a:lnTo>
                  <a:lnTo>
                    <a:pt x="10997" y="1157"/>
                  </a:lnTo>
                  <a:lnTo>
                    <a:pt x="10925" y="1085"/>
                  </a:lnTo>
                  <a:lnTo>
                    <a:pt x="10818" y="1062"/>
                  </a:lnTo>
                  <a:lnTo>
                    <a:pt x="10706" y="1005"/>
                  </a:lnTo>
                  <a:lnTo>
                    <a:pt x="10635" y="986"/>
                  </a:lnTo>
                  <a:lnTo>
                    <a:pt x="10534" y="1017"/>
                  </a:lnTo>
                  <a:lnTo>
                    <a:pt x="10460" y="1067"/>
                  </a:lnTo>
                  <a:lnTo>
                    <a:pt x="10390" y="1116"/>
                  </a:lnTo>
                  <a:lnTo>
                    <a:pt x="10258" y="1109"/>
                  </a:lnTo>
                  <a:lnTo>
                    <a:pt x="10185" y="1048"/>
                  </a:lnTo>
                  <a:lnTo>
                    <a:pt x="10067" y="999"/>
                  </a:lnTo>
                  <a:lnTo>
                    <a:pt x="10001" y="925"/>
                  </a:lnTo>
                  <a:lnTo>
                    <a:pt x="9915" y="908"/>
                  </a:lnTo>
                  <a:lnTo>
                    <a:pt x="9859" y="933"/>
                  </a:lnTo>
                  <a:lnTo>
                    <a:pt x="9750" y="999"/>
                  </a:lnTo>
                  <a:lnTo>
                    <a:pt x="9570" y="1077"/>
                  </a:lnTo>
                  <a:lnTo>
                    <a:pt x="9446" y="1137"/>
                  </a:lnTo>
                  <a:lnTo>
                    <a:pt x="9279" y="1137"/>
                  </a:lnTo>
                  <a:lnTo>
                    <a:pt x="9295" y="1014"/>
                  </a:lnTo>
                  <a:lnTo>
                    <a:pt x="9310" y="961"/>
                  </a:lnTo>
                  <a:lnTo>
                    <a:pt x="9378" y="871"/>
                  </a:lnTo>
                  <a:lnTo>
                    <a:pt x="9505" y="792"/>
                  </a:lnTo>
                  <a:lnTo>
                    <a:pt x="9585" y="731"/>
                  </a:lnTo>
                  <a:lnTo>
                    <a:pt x="9656" y="672"/>
                  </a:lnTo>
                  <a:lnTo>
                    <a:pt x="9727" y="607"/>
                  </a:lnTo>
                  <a:lnTo>
                    <a:pt x="9742" y="445"/>
                  </a:lnTo>
                  <a:lnTo>
                    <a:pt x="9582" y="412"/>
                  </a:lnTo>
                  <a:cubicBezTo>
                    <a:pt x="9560" y="371"/>
                    <a:pt x="9533" y="339"/>
                    <a:pt x="9502" y="316"/>
                  </a:cubicBezTo>
                  <a:cubicBezTo>
                    <a:pt x="9454" y="281"/>
                    <a:pt x="9400" y="272"/>
                    <a:pt x="9348" y="291"/>
                  </a:cubicBezTo>
                  <a:lnTo>
                    <a:pt x="9271" y="259"/>
                  </a:lnTo>
                  <a:lnTo>
                    <a:pt x="9024" y="240"/>
                  </a:lnTo>
                  <a:lnTo>
                    <a:pt x="8961" y="296"/>
                  </a:lnTo>
                  <a:lnTo>
                    <a:pt x="8878" y="321"/>
                  </a:lnTo>
                  <a:lnTo>
                    <a:pt x="8778" y="327"/>
                  </a:lnTo>
                  <a:lnTo>
                    <a:pt x="8669" y="321"/>
                  </a:lnTo>
                  <a:lnTo>
                    <a:pt x="8552" y="169"/>
                  </a:lnTo>
                  <a:lnTo>
                    <a:pt x="8382" y="61"/>
                  </a:lnTo>
                  <a:lnTo>
                    <a:pt x="8181" y="0"/>
                  </a:lnTo>
                  <a:lnTo>
                    <a:pt x="8118" y="111"/>
                  </a:lnTo>
                  <a:cubicBezTo>
                    <a:pt x="8095" y="146"/>
                    <a:pt x="8072" y="181"/>
                    <a:pt x="8049" y="216"/>
                  </a:cubicBezTo>
                  <a:cubicBezTo>
                    <a:pt x="8019" y="259"/>
                    <a:pt x="7990" y="302"/>
                    <a:pt x="7960" y="345"/>
                  </a:cubicBezTo>
                  <a:lnTo>
                    <a:pt x="7855" y="476"/>
                  </a:lnTo>
                  <a:lnTo>
                    <a:pt x="7722" y="482"/>
                  </a:lnTo>
                  <a:lnTo>
                    <a:pt x="7658" y="400"/>
                  </a:lnTo>
                  <a:lnTo>
                    <a:pt x="7484" y="373"/>
                  </a:lnTo>
                  <a:lnTo>
                    <a:pt x="7361" y="362"/>
                  </a:lnTo>
                  <a:lnTo>
                    <a:pt x="7275" y="430"/>
                  </a:lnTo>
                  <a:lnTo>
                    <a:pt x="7161" y="486"/>
                  </a:lnTo>
                  <a:lnTo>
                    <a:pt x="7012" y="523"/>
                  </a:lnTo>
                  <a:lnTo>
                    <a:pt x="6838" y="560"/>
                  </a:lnTo>
                  <a:lnTo>
                    <a:pt x="6726" y="578"/>
                  </a:lnTo>
                  <a:lnTo>
                    <a:pt x="6715" y="666"/>
                  </a:lnTo>
                  <a:lnTo>
                    <a:pt x="6751" y="734"/>
                  </a:lnTo>
                  <a:lnTo>
                    <a:pt x="6843" y="832"/>
                  </a:lnTo>
                  <a:lnTo>
                    <a:pt x="6786" y="906"/>
                  </a:lnTo>
                  <a:lnTo>
                    <a:pt x="6718" y="930"/>
                  </a:lnTo>
                  <a:lnTo>
                    <a:pt x="6637" y="973"/>
                  </a:lnTo>
                  <a:lnTo>
                    <a:pt x="6556" y="924"/>
                  </a:lnTo>
                  <a:lnTo>
                    <a:pt x="6471" y="887"/>
                  </a:lnTo>
                  <a:lnTo>
                    <a:pt x="6350" y="943"/>
                  </a:lnTo>
                  <a:lnTo>
                    <a:pt x="6279" y="996"/>
                  </a:lnTo>
                  <a:lnTo>
                    <a:pt x="6206" y="1051"/>
                  </a:lnTo>
                  <a:lnTo>
                    <a:pt x="6149" y="1132"/>
                  </a:lnTo>
                  <a:lnTo>
                    <a:pt x="6064" y="1205"/>
                  </a:lnTo>
                  <a:lnTo>
                    <a:pt x="5960" y="1295"/>
                  </a:lnTo>
                  <a:lnTo>
                    <a:pt x="5892" y="1351"/>
                  </a:lnTo>
                  <a:lnTo>
                    <a:pt x="5816" y="1400"/>
                  </a:lnTo>
                  <a:lnTo>
                    <a:pt x="5722" y="1449"/>
                  </a:lnTo>
                  <a:lnTo>
                    <a:pt x="5637" y="1449"/>
                  </a:lnTo>
                  <a:lnTo>
                    <a:pt x="5595" y="1413"/>
                  </a:lnTo>
                  <a:lnTo>
                    <a:pt x="5495" y="1413"/>
                  </a:lnTo>
                  <a:lnTo>
                    <a:pt x="5468" y="1536"/>
                  </a:lnTo>
                  <a:lnTo>
                    <a:pt x="5511" y="1683"/>
                  </a:lnTo>
                  <a:lnTo>
                    <a:pt x="5628" y="1858"/>
                  </a:lnTo>
                  <a:lnTo>
                    <a:pt x="5664" y="1907"/>
                  </a:lnTo>
                  <a:lnTo>
                    <a:pt x="5767" y="1929"/>
                  </a:lnTo>
                  <a:lnTo>
                    <a:pt x="5876" y="2075"/>
                  </a:lnTo>
                  <a:lnTo>
                    <a:pt x="5864" y="2215"/>
                  </a:lnTo>
                  <a:lnTo>
                    <a:pt x="5905" y="2289"/>
                  </a:lnTo>
                  <a:lnTo>
                    <a:pt x="5866" y="2477"/>
                  </a:lnTo>
                  <a:lnTo>
                    <a:pt x="5797" y="2656"/>
                  </a:lnTo>
                  <a:lnTo>
                    <a:pt x="5709" y="2755"/>
                  </a:lnTo>
                  <a:lnTo>
                    <a:pt x="5587" y="2810"/>
                  </a:lnTo>
                  <a:lnTo>
                    <a:pt x="5482" y="2822"/>
                  </a:lnTo>
                  <a:cubicBezTo>
                    <a:pt x="5453" y="2798"/>
                    <a:pt x="5444" y="2741"/>
                    <a:pt x="5463" y="2699"/>
                  </a:cubicBezTo>
                  <a:cubicBezTo>
                    <a:pt x="5481" y="2659"/>
                    <a:pt x="5516" y="2653"/>
                    <a:pt x="5544" y="2631"/>
                  </a:cubicBezTo>
                  <a:cubicBezTo>
                    <a:pt x="5592" y="2593"/>
                    <a:pt x="5617" y="2510"/>
                    <a:pt x="5603" y="2430"/>
                  </a:cubicBezTo>
                  <a:lnTo>
                    <a:pt x="5557" y="2208"/>
                  </a:lnTo>
                  <a:lnTo>
                    <a:pt x="5456" y="2066"/>
                  </a:lnTo>
                  <a:lnTo>
                    <a:pt x="5369" y="1842"/>
                  </a:lnTo>
                  <a:lnTo>
                    <a:pt x="5304" y="1651"/>
                  </a:lnTo>
                  <a:lnTo>
                    <a:pt x="5239" y="1515"/>
                  </a:lnTo>
                  <a:lnTo>
                    <a:pt x="5182" y="1355"/>
                  </a:lnTo>
                  <a:lnTo>
                    <a:pt x="5074" y="1252"/>
                  </a:lnTo>
                  <a:lnTo>
                    <a:pt x="4913" y="1178"/>
                  </a:lnTo>
                  <a:lnTo>
                    <a:pt x="4747" y="1246"/>
                  </a:lnTo>
                  <a:lnTo>
                    <a:pt x="4613" y="1388"/>
                  </a:lnTo>
                  <a:lnTo>
                    <a:pt x="4609" y="1523"/>
                  </a:lnTo>
                  <a:lnTo>
                    <a:pt x="4654" y="1702"/>
                  </a:lnTo>
                  <a:lnTo>
                    <a:pt x="4727" y="1825"/>
                  </a:lnTo>
                  <a:lnTo>
                    <a:pt x="4848" y="1874"/>
                  </a:lnTo>
                  <a:lnTo>
                    <a:pt x="4946" y="1942"/>
                  </a:lnTo>
                  <a:lnTo>
                    <a:pt x="5024" y="2032"/>
                  </a:lnTo>
                  <a:lnTo>
                    <a:pt x="5089" y="2143"/>
                  </a:lnTo>
                  <a:lnTo>
                    <a:pt x="5077" y="2241"/>
                  </a:lnTo>
                  <a:lnTo>
                    <a:pt x="4981" y="2276"/>
                  </a:lnTo>
                  <a:lnTo>
                    <a:pt x="4947" y="2348"/>
                  </a:lnTo>
                  <a:lnTo>
                    <a:pt x="4872" y="2286"/>
                  </a:lnTo>
                  <a:lnTo>
                    <a:pt x="4788" y="2194"/>
                  </a:lnTo>
                  <a:lnTo>
                    <a:pt x="4710" y="2163"/>
                  </a:lnTo>
                  <a:lnTo>
                    <a:pt x="4603" y="2151"/>
                  </a:lnTo>
                  <a:lnTo>
                    <a:pt x="4678" y="2284"/>
                  </a:lnTo>
                  <a:lnTo>
                    <a:pt x="4754" y="2363"/>
                  </a:lnTo>
                  <a:lnTo>
                    <a:pt x="4735" y="2522"/>
                  </a:lnTo>
                  <a:lnTo>
                    <a:pt x="4571" y="2643"/>
                  </a:lnTo>
                  <a:lnTo>
                    <a:pt x="4490" y="2738"/>
                  </a:lnTo>
                  <a:lnTo>
                    <a:pt x="4323" y="2820"/>
                  </a:lnTo>
                  <a:lnTo>
                    <a:pt x="4189" y="2900"/>
                  </a:lnTo>
                  <a:lnTo>
                    <a:pt x="4168" y="3010"/>
                  </a:lnTo>
                  <a:lnTo>
                    <a:pt x="4176" y="3166"/>
                  </a:lnTo>
                  <a:lnTo>
                    <a:pt x="4263" y="3589"/>
                  </a:lnTo>
                  <a:lnTo>
                    <a:pt x="4302" y="3809"/>
                  </a:lnTo>
                  <a:lnTo>
                    <a:pt x="4391" y="3967"/>
                  </a:lnTo>
                  <a:lnTo>
                    <a:pt x="4410" y="4139"/>
                  </a:lnTo>
                  <a:lnTo>
                    <a:pt x="4418" y="4379"/>
                  </a:lnTo>
                  <a:lnTo>
                    <a:pt x="4441" y="4560"/>
                  </a:lnTo>
                  <a:lnTo>
                    <a:pt x="4437" y="4864"/>
                  </a:lnTo>
                  <a:lnTo>
                    <a:pt x="4527" y="4941"/>
                  </a:lnTo>
                  <a:lnTo>
                    <a:pt x="4567" y="5097"/>
                  </a:lnTo>
                  <a:lnTo>
                    <a:pt x="4635" y="5183"/>
                  </a:lnTo>
                  <a:lnTo>
                    <a:pt x="4651" y="5256"/>
                  </a:lnTo>
                  <a:lnTo>
                    <a:pt x="4626" y="5367"/>
                  </a:lnTo>
                  <a:lnTo>
                    <a:pt x="4576" y="5443"/>
                  </a:lnTo>
                  <a:lnTo>
                    <a:pt x="4445" y="5463"/>
                  </a:lnTo>
                  <a:lnTo>
                    <a:pt x="4316" y="5596"/>
                  </a:lnTo>
                  <a:lnTo>
                    <a:pt x="4406" y="5724"/>
                  </a:lnTo>
                  <a:lnTo>
                    <a:pt x="4387" y="5836"/>
                  </a:lnTo>
                  <a:lnTo>
                    <a:pt x="4594" y="6114"/>
                  </a:lnTo>
                  <a:lnTo>
                    <a:pt x="4754" y="6030"/>
                  </a:lnTo>
                  <a:lnTo>
                    <a:pt x="4789" y="5840"/>
                  </a:lnTo>
                  <a:lnTo>
                    <a:pt x="4841" y="5803"/>
                  </a:lnTo>
                  <a:lnTo>
                    <a:pt x="4948" y="5879"/>
                  </a:lnTo>
                  <a:lnTo>
                    <a:pt x="5006" y="6012"/>
                  </a:lnTo>
                  <a:lnTo>
                    <a:pt x="4972" y="6178"/>
                  </a:lnTo>
                  <a:lnTo>
                    <a:pt x="4922" y="6262"/>
                  </a:lnTo>
                  <a:lnTo>
                    <a:pt x="4935" y="6389"/>
                  </a:lnTo>
                  <a:lnTo>
                    <a:pt x="4975" y="6457"/>
                  </a:lnTo>
                  <a:lnTo>
                    <a:pt x="4930" y="6525"/>
                  </a:lnTo>
                  <a:lnTo>
                    <a:pt x="4941" y="6684"/>
                  </a:lnTo>
                  <a:lnTo>
                    <a:pt x="4896" y="6822"/>
                  </a:lnTo>
                  <a:lnTo>
                    <a:pt x="4856" y="6858"/>
                  </a:lnTo>
                  <a:lnTo>
                    <a:pt x="4492" y="6703"/>
                  </a:lnTo>
                  <a:lnTo>
                    <a:pt x="4399" y="6602"/>
                  </a:lnTo>
                  <a:lnTo>
                    <a:pt x="4252" y="6584"/>
                  </a:lnTo>
                  <a:lnTo>
                    <a:pt x="4068" y="6730"/>
                  </a:lnTo>
                  <a:lnTo>
                    <a:pt x="3743" y="6603"/>
                  </a:lnTo>
                  <a:lnTo>
                    <a:pt x="3618" y="6656"/>
                  </a:lnTo>
                  <a:lnTo>
                    <a:pt x="3600" y="6823"/>
                  </a:lnTo>
                  <a:lnTo>
                    <a:pt x="3636" y="7187"/>
                  </a:lnTo>
                  <a:lnTo>
                    <a:pt x="3748" y="7239"/>
                  </a:lnTo>
                  <a:lnTo>
                    <a:pt x="3825" y="7347"/>
                  </a:lnTo>
                  <a:lnTo>
                    <a:pt x="3825" y="7604"/>
                  </a:lnTo>
                  <a:lnTo>
                    <a:pt x="3887" y="7855"/>
                  </a:lnTo>
                  <a:lnTo>
                    <a:pt x="3979" y="8012"/>
                  </a:lnTo>
                  <a:lnTo>
                    <a:pt x="4086" y="8093"/>
                  </a:lnTo>
                  <a:lnTo>
                    <a:pt x="4220" y="8136"/>
                  </a:lnTo>
                  <a:lnTo>
                    <a:pt x="4293" y="8263"/>
                  </a:lnTo>
                  <a:lnTo>
                    <a:pt x="4293" y="8394"/>
                  </a:lnTo>
                  <a:lnTo>
                    <a:pt x="4366" y="8540"/>
                  </a:lnTo>
                  <a:lnTo>
                    <a:pt x="4383" y="8629"/>
                  </a:lnTo>
                  <a:lnTo>
                    <a:pt x="4299" y="8664"/>
                  </a:lnTo>
                  <a:lnTo>
                    <a:pt x="4172" y="8604"/>
                  </a:lnTo>
                  <a:lnTo>
                    <a:pt x="4026" y="8653"/>
                  </a:lnTo>
                  <a:lnTo>
                    <a:pt x="3937" y="8795"/>
                  </a:lnTo>
                  <a:lnTo>
                    <a:pt x="3868" y="9042"/>
                  </a:lnTo>
                  <a:lnTo>
                    <a:pt x="4014" y="9200"/>
                  </a:lnTo>
                  <a:lnTo>
                    <a:pt x="4153" y="9272"/>
                  </a:lnTo>
                  <a:lnTo>
                    <a:pt x="4317" y="9447"/>
                  </a:lnTo>
                  <a:lnTo>
                    <a:pt x="4379" y="9595"/>
                  </a:lnTo>
                  <a:lnTo>
                    <a:pt x="4500" y="9504"/>
                  </a:lnTo>
                  <a:lnTo>
                    <a:pt x="4590" y="9545"/>
                  </a:lnTo>
                  <a:lnTo>
                    <a:pt x="4620" y="9647"/>
                  </a:lnTo>
                  <a:lnTo>
                    <a:pt x="4729" y="9807"/>
                  </a:lnTo>
                  <a:lnTo>
                    <a:pt x="4703" y="9934"/>
                  </a:lnTo>
                  <a:lnTo>
                    <a:pt x="4589" y="10028"/>
                  </a:lnTo>
                  <a:lnTo>
                    <a:pt x="4485" y="9905"/>
                  </a:lnTo>
                  <a:lnTo>
                    <a:pt x="4398" y="9948"/>
                  </a:lnTo>
                  <a:lnTo>
                    <a:pt x="4460" y="10099"/>
                  </a:lnTo>
                  <a:lnTo>
                    <a:pt x="4558" y="10237"/>
                  </a:lnTo>
                  <a:lnTo>
                    <a:pt x="4639" y="10407"/>
                  </a:lnTo>
                  <a:lnTo>
                    <a:pt x="4716" y="10732"/>
                  </a:lnTo>
                  <a:lnTo>
                    <a:pt x="4705" y="10997"/>
                  </a:lnTo>
                  <a:lnTo>
                    <a:pt x="4587" y="11154"/>
                  </a:lnTo>
                  <a:lnTo>
                    <a:pt x="4430" y="11160"/>
                  </a:lnTo>
                  <a:lnTo>
                    <a:pt x="4375" y="11281"/>
                  </a:lnTo>
                  <a:lnTo>
                    <a:pt x="4289" y="11156"/>
                  </a:lnTo>
                  <a:cubicBezTo>
                    <a:pt x="4252" y="11136"/>
                    <a:pt x="4216" y="11114"/>
                    <a:pt x="4180" y="11088"/>
                  </a:cubicBezTo>
                  <a:cubicBezTo>
                    <a:pt x="4134" y="11055"/>
                    <a:pt x="4089" y="11017"/>
                    <a:pt x="4044" y="10979"/>
                  </a:cubicBezTo>
                  <a:cubicBezTo>
                    <a:pt x="3984" y="10930"/>
                    <a:pt x="3923" y="10882"/>
                    <a:pt x="3862" y="10835"/>
                  </a:cubicBezTo>
                  <a:lnTo>
                    <a:pt x="3803" y="10661"/>
                  </a:lnTo>
                  <a:lnTo>
                    <a:pt x="3784" y="10495"/>
                  </a:lnTo>
                  <a:lnTo>
                    <a:pt x="3841" y="10339"/>
                  </a:lnTo>
                  <a:lnTo>
                    <a:pt x="3888" y="10223"/>
                  </a:lnTo>
                  <a:close/>
                </a:path>
              </a:pathLst>
            </a:custGeom>
            <a:grpFill/>
            <a:ln w="25400" cap="flat">
              <a:noFill/>
              <a:prstDash val="solid"/>
              <a:miter lim="400000"/>
            </a:ln>
            <a:effectLst/>
          </p:spPr>
          <p:txBody>
            <a:bodyPr anchor="ctr"/>
            <a:lstStyle/>
            <a:p>
              <a:pPr algn="ctr"/>
              <a:endParaRPr/>
            </a:p>
          </p:txBody>
        </p:sp>
        <p:sp>
          <p:nvSpPr>
            <p:cNvPr id="84" name="ïş1îḓé">
              <a:extLst>
                <a:ext uri="{FF2B5EF4-FFF2-40B4-BE49-F238E27FC236}">
                  <a16:creationId xmlns="" xmlns:p14="http://schemas.microsoft.com/office/powerpoint/2010/main" xmlns:a16="http://schemas.microsoft.com/office/drawing/2014/main" id="{683649E8-92C6-4693-ABE1-ABBE0DB43E38}"/>
                </a:ext>
              </a:extLst>
            </p:cNvPr>
            <p:cNvSpPr/>
            <p:nvPr/>
          </p:nvSpPr>
          <p:spPr>
            <a:xfrm>
              <a:off x="7558388" y="1310558"/>
              <a:ext cx="328933" cy="89526"/>
            </a:xfrm>
            <a:custGeom>
              <a:avLst/>
              <a:gdLst/>
              <a:ahLst/>
              <a:cxnLst>
                <a:cxn ang="0">
                  <a:pos x="wd2" y="hd2"/>
                </a:cxn>
                <a:cxn ang="5400000">
                  <a:pos x="wd2" y="hd2"/>
                </a:cxn>
                <a:cxn ang="10800000">
                  <a:pos x="wd2" y="hd2"/>
                </a:cxn>
                <a:cxn ang="16200000">
                  <a:pos x="wd2" y="hd2"/>
                </a:cxn>
              </a:cxnLst>
              <a:rect l="0" t="0" r="r" b="b"/>
              <a:pathLst>
                <a:path w="21600" h="21600" extrusionOk="0">
                  <a:moveTo>
                    <a:pt x="7778" y="6595"/>
                  </a:moveTo>
                  <a:lnTo>
                    <a:pt x="10446" y="7621"/>
                  </a:lnTo>
                  <a:lnTo>
                    <a:pt x="11913" y="8186"/>
                  </a:lnTo>
                  <a:lnTo>
                    <a:pt x="12620" y="11749"/>
                  </a:lnTo>
                  <a:lnTo>
                    <a:pt x="14481" y="12643"/>
                  </a:lnTo>
                  <a:lnTo>
                    <a:pt x="16772" y="11668"/>
                  </a:lnTo>
                  <a:lnTo>
                    <a:pt x="18486" y="11668"/>
                  </a:lnTo>
                  <a:lnTo>
                    <a:pt x="20801" y="12156"/>
                  </a:lnTo>
                  <a:lnTo>
                    <a:pt x="21600" y="13283"/>
                  </a:lnTo>
                  <a:lnTo>
                    <a:pt x="19933" y="15944"/>
                  </a:lnTo>
                  <a:lnTo>
                    <a:pt x="17089" y="15944"/>
                  </a:lnTo>
                  <a:lnTo>
                    <a:pt x="16332" y="19345"/>
                  </a:lnTo>
                  <a:lnTo>
                    <a:pt x="16001" y="21600"/>
                  </a:lnTo>
                  <a:lnTo>
                    <a:pt x="14718" y="20625"/>
                  </a:lnTo>
                  <a:lnTo>
                    <a:pt x="14985" y="16005"/>
                  </a:lnTo>
                  <a:lnTo>
                    <a:pt x="13115" y="14553"/>
                  </a:lnTo>
                  <a:lnTo>
                    <a:pt x="9998" y="14309"/>
                  </a:lnTo>
                  <a:lnTo>
                    <a:pt x="8554" y="13334"/>
                  </a:lnTo>
                  <a:lnTo>
                    <a:pt x="6375" y="9273"/>
                  </a:lnTo>
                  <a:lnTo>
                    <a:pt x="4455" y="10004"/>
                  </a:lnTo>
                  <a:lnTo>
                    <a:pt x="647" y="10490"/>
                  </a:lnTo>
                  <a:lnTo>
                    <a:pt x="0" y="7648"/>
                  </a:lnTo>
                  <a:lnTo>
                    <a:pt x="1373" y="1494"/>
                  </a:lnTo>
                  <a:lnTo>
                    <a:pt x="2843" y="0"/>
                  </a:lnTo>
                  <a:lnTo>
                    <a:pt x="5108" y="1491"/>
                  </a:lnTo>
                  <a:lnTo>
                    <a:pt x="5617" y="3189"/>
                  </a:lnTo>
                  <a:lnTo>
                    <a:pt x="6572" y="5128"/>
                  </a:lnTo>
                  <a:lnTo>
                    <a:pt x="7778" y="6595"/>
                  </a:lnTo>
                  <a:close/>
                </a:path>
              </a:pathLst>
            </a:custGeom>
            <a:grpFill/>
            <a:ln w="25400" cap="flat">
              <a:noFill/>
              <a:prstDash val="solid"/>
              <a:miter lim="400000"/>
            </a:ln>
            <a:effectLst/>
          </p:spPr>
          <p:txBody>
            <a:bodyPr anchor="ctr"/>
            <a:lstStyle/>
            <a:p>
              <a:pPr algn="ctr"/>
              <a:endParaRPr/>
            </a:p>
          </p:txBody>
        </p:sp>
        <p:sp>
          <p:nvSpPr>
            <p:cNvPr id="85" name="iṣļiďé">
              <a:extLst>
                <a:ext uri="{FF2B5EF4-FFF2-40B4-BE49-F238E27FC236}">
                  <a16:creationId xmlns="" xmlns:p14="http://schemas.microsoft.com/office/powerpoint/2010/main" xmlns:a16="http://schemas.microsoft.com/office/drawing/2014/main" id="{9907BBE4-E083-4BA0-ABC6-1E01554069D2}"/>
                </a:ext>
              </a:extLst>
            </p:cNvPr>
            <p:cNvSpPr/>
            <p:nvPr/>
          </p:nvSpPr>
          <p:spPr>
            <a:xfrm>
              <a:off x="9628653" y="2148074"/>
              <a:ext cx="217835" cy="255740"/>
            </a:xfrm>
            <a:custGeom>
              <a:avLst/>
              <a:gdLst/>
              <a:ahLst/>
              <a:cxnLst>
                <a:cxn ang="0">
                  <a:pos x="wd2" y="hd2"/>
                </a:cxn>
                <a:cxn ang="5400000">
                  <a:pos x="wd2" y="hd2"/>
                </a:cxn>
                <a:cxn ang="10800000">
                  <a:pos x="wd2" y="hd2"/>
                </a:cxn>
                <a:cxn ang="16200000">
                  <a:pos x="wd2" y="hd2"/>
                </a:cxn>
              </a:cxnLst>
              <a:rect l="0" t="0" r="r" b="b"/>
              <a:pathLst>
                <a:path w="21600" h="21600" extrusionOk="0">
                  <a:moveTo>
                    <a:pt x="918" y="306"/>
                  </a:moveTo>
                  <a:lnTo>
                    <a:pt x="2649" y="0"/>
                  </a:lnTo>
                  <a:lnTo>
                    <a:pt x="4359" y="1473"/>
                  </a:lnTo>
                  <a:lnTo>
                    <a:pt x="4763" y="2920"/>
                  </a:lnTo>
                  <a:lnTo>
                    <a:pt x="5532" y="4452"/>
                  </a:lnTo>
                  <a:lnTo>
                    <a:pt x="7347" y="6386"/>
                  </a:lnTo>
                  <a:lnTo>
                    <a:pt x="9263" y="7065"/>
                  </a:lnTo>
                  <a:lnTo>
                    <a:pt x="12200" y="8654"/>
                  </a:lnTo>
                  <a:lnTo>
                    <a:pt x="15159" y="10100"/>
                  </a:lnTo>
                  <a:lnTo>
                    <a:pt x="16566" y="11032"/>
                  </a:lnTo>
                  <a:lnTo>
                    <a:pt x="17268" y="12134"/>
                  </a:lnTo>
                  <a:lnTo>
                    <a:pt x="17470" y="13346"/>
                  </a:lnTo>
                  <a:lnTo>
                    <a:pt x="16028" y="13005"/>
                  </a:lnTo>
                  <a:lnTo>
                    <a:pt x="14423" y="13403"/>
                  </a:lnTo>
                  <a:lnTo>
                    <a:pt x="14629" y="14594"/>
                  </a:lnTo>
                  <a:lnTo>
                    <a:pt x="16612" y="15959"/>
                  </a:lnTo>
                  <a:lnTo>
                    <a:pt x="18226" y="17825"/>
                  </a:lnTo>
                  <a:lnTo>
                    <a:pt x="20991" y="20121"/>
                  </a:lnTo>
                  <a:lnTo>
                    <a:pt x="21600" y="21600"/>
                  </a:lnTo>
                  <a:lnTo>
                    <a:pt x="18856" y="21600"/>
                  </a:lnTo>
                  <a:lnTo>
                    <a:pt x="16692" y="20075"/>
                  </a:lnTo>
                  <a:cubicBezTo>
                    <a:pt x="16027" y="19637"/>
                    <a:pt x="15479" y="19086"/>
                    <a:pt x="15082" y="18458"/>
                  </a:cubicBezTo>
                  <a:cubicBezTo>
                    <a:pt x="14796" y="18005"/>
                    <a:pt x="14594" y="17518"/>
                    <a:pt x="14481" y="17014"/>
                  </a:cubicBezTo>
                  <a:lnTo>
                    <a:pt x="13271" y="15138"/>
                  </a:lnTo>
                  <a:lnTo>
                    <a:pt x="12262" y="13005"/>
                  </a:lnTo>
                  <a:lnTo>
                    <a:pt x="10884" y="11071"/>
                  </a:lnTo>
                  <a:lnTo>
                    <a:pt x="9077" y="9201"/>
                  </a:lnTo>
                  <a:lnTo>
                    <a:pt x="7270" y="7413"/>
                  </a:lnTo>
                  <a:lnTo>
                    <a:pt x="5169" y="6059"/>
                  </a:lnTo>
                  <a:lnTo>
                    <a:pt x="4097" y="4751"/>
                  </a:lnTo>
                  <a:lnTo>
                    <a:pt x="2685" y="3332"/>
                  </a:lnTo>
                  <a:lnTo>
                    <a:pt x="0" y="1690"/>
                  </a:lnTo>
                  <a:lnTo>
                    <a:pt x="918" y="306"/>
                  </a:lnTo>
                  <a:close/>
                </a:path>
              </a:pathLst>
            </a:custGeom>
            <a:grpFill/>
            <a:ln w="25400" cap="flat">
              <a:noFill/>
              <a:prstDash val="solid"/>
              <a:miter lim="400000"/>
            </a:ln>
            <a:effectLst/>
          </p:spPr>
          <p:txBody>
            <a:bodyPr anchor="ctr"/>
            <a:lstStyle/>
            <a:p>
              <a:pPr algn="ctr"/>
              <a:endParaRPr/>
            </a:p>
          </p:txBody>
        </p:sp>
        <p:sp>
          <p:nvSpPr>
            <p:cNvPr id="86" name="íSḻíḓé">
              <a:extLst>
                <a:ext uri="{FF2B5EF4-FFF2-40B4-BE49-F238E27FC236}">
                  <a16:creationId xmlns="" xmlns:p14="http://schemas.microsoft.com/office/powerpoint/2010/main" xmlns:a16="http://schemas.microsoft.com/office/drawing/2014/main" id="{0CBF2A49-2C1F-48B1-A3CB-358BF0E72CDF}"/>
                </a:ext>
              </a:extLst>
            </p:cNvPr>
            <p:cNvSpPr/>
            <p:nvPr/>
          </p:nvSpPr>
          <p:spPr>
            <a:xfrm>
              <a:off x="9834882" y="2436351"/>
              <a:ext cx="152671" cy="145223"/>
            </a:xfrm>
            <a:custGeom>
              <a:avLst/>
              <a:gdLst/>
              <a:ahLst/>
              <a:cxnLst>
                <a:cxn ang="0">
                  <a:pos x="wd2" y="hd2"/>
                </a:cxn>
                <a:cxn ang="5400000">
                  <a:pos x="wd2" y="hd2"/>
                </a:cxn>
                <a:cxn ang="10800000">
                  <a:pos x="wd2" y="hd2"/>
                </a:cxn>
                <a:cxn ang="16200000">
                  <a:pos x="wd2" y="hd2"/>
                </a:cxn>
              </a:cxnLst>
              <a:rect l="0" t="0" r="r" b="b"/>
              <a:pathLst>
                <a:path w="21600" h="21600" extrusionOk="0">
                  <a:moveTo>
                    <a:pt x="1216" y="0"/>
                  </a:moveTo>
                  <a:lnTo>
                    <a:pt x="3327" y="2686"/>
                  </a:lnTo>
                  <a:lnTo>
                    <a:pt x="5129" y="3465"/>
                  </a:lnTo>
                  <a:lnTo>
                    <a:pt x="5987" y="5412"/>
                  </a:lnTo>
                  <a:lnTo>
                    <a:pt x="8960" y="8066"/>
                  </a:lnTo>
                  <a:lnTo>
                    <a:pt x="13176" y="8066"/>
                  </a:lnTo>
                  <a:lnTo>
                    <a:pt x="16240" y="8060"/>
                  </a:lnTo>
                  <a:lnTo>
                    <a:pt x="20071" y="9506"/>
                  </a:lnTo>
                  <a:lnTo>
                    <a:pt x="21600" y="11754"/>
                  </a:lnTo>
                  <a:lnTo>
                    <a:pt x="18242" y="13299"/>
                  </a:lnTo>
                  <a:lnTo>
                    <a:pt x="16138" y="13894"/>
                  </a:lnTo>
                  <a:lnTo>
                    <a:pt x="16857" y="17337"/>
                  </a:lnTo>
                  <a:lnTo>
                    <a:pt x="14039" y="17181"/>
                  </a:lnTo>
                  <a:lnTo>
                    <a:pt x="12762" y="16136"/>
                  </a:lnTo>
                  <a:cubicBezTo>
                    <a:pt x="11828" y="15985"/>
                    <a:pt x="10901" y="15786"/>
                    <a:pt x="9986" y="15541"/>
                  </a:cubicBezTo>
                  <a:cubicBezTo>
                    <a:pt x="9104" y="15304"/>
                    <a:pt x="8234" y="15024"/>
                    <a:pt x="7377" y="14702"/>
                  </a:cubicBezTo>
                  <a:lnTo>
                    <a:pt x="5842" y="15002"/>
                  </a:lnTo>
                  <a:lnTo>
                    <a:pt x="5992" y="19096"/>
                  </a:lnTo>
                  <a:lnTo>
                    <a:pt x="4895" y="21600"/>
                  </a:lnTo>
                  <a:lnTo>
                    <a:pt x="2646" y="18495"/>
                  </a:lnTo>
                  <a:lnTo>
                    <a:pt x="2215" y="16698"/>
                  </a:lnTo>
                  <a:lnTo>
                    <a:pt x="499" y="14902"/>
                  </a:lnTo>
                  <a:lnTo>
                    <a:pt x="34" y="12773"/>
                  </a:lnTo>
                  <a:cubicBezTo>
                    <a:pt x="789" y="12296"/>
                    <a:pt x="1459" y="11687"/>
                    <a:pt x="2015" y="10971"/>
                  </a:cubicBezTo>
                  <a:cubicBezTo>
                    <a:pt x="2581" y="10241"/>
                    <a:pt x="3020" y="9412"/>
                    <a:pt x="3310" y="8523"/>
                  </a:cubicBezTo>
                  <a:lnTo>
                    <a:pt x="1535" y="5374"/>
                  </a:lnTo>
                  <a:lnTo>
                    <a:pt x="0" y="3428"/>
                  </a:lnTo>
                  <a:lnTo>
                    <a:pt x="1216" y="0"/>
                  </a:lnTo>
                  <a:close/>
                </a:path>
              </a:pathLst>
            </a:custGeom>
            <a:grpFill/>
            <a:ln w="25400" cap="flat">
              <a:noFill/>
              <a:prstDash val="solid"/>
              <a:miter lim="400000"/>
            </a:ln>
            <a:effectLst/>
          </p:spPr>
          <p:txBody>
            <a:bodyPr anchor="ctr"/>
            <a:lstStyle/>
            <a:p>
              <a:pPr algn="ctr"/>
              <a:endParaRPr/>
            </a:p>
          </p:txBody>
        </p:sp>
        <p:sp>
          <p:nvSpPr>
            <p:cNvPr id="87" name="iṥlîḋe">
              <a:extLst>
                <a:ext uri="{FF2B5EF4-FFF2-40B4-BE49-F238E27FC236}">
                  <a16:creationId xmlns="" xmlns:p14="http://schemas.microsoft.com/office/powerpoint/2010/main" xmlns:a16="http://schemas.microsoft.com/office/drawing/2014/main" id="{9B815E91-A71D-4B4B-B49E-7CEDADCF226A}"/>
                </a:ext>
              </a:extLst>
            </p:cNvPr>
            <p:cNvSpPr/>
            <p:nvPr/>
          </p:nvSpPr>
          <p:spPr>
            <a:xfrm>
              <a:off x="9716338" y="2591817"/>
              <a:ext cx="274646" cy="265853"/>
            </a:xfrm>
            <a:custGeom>
              <a:avLst/>
              <a:gdLst/>
              <a:ahLst/>
              <a:cxnLst>
                <a:cxn ang="0">
                  <a:pos x="wd2" y="hd2"/>
                </a:cxn>
                <a:cxn ang="5400000">
                  <a:pos x="wd2" y="hd2"/>
                </a:cxn>
                <a:cxn ang="10800000">
                  <a:pos x="wd2" y="hd2"/>
                </a:cxn>
                <a:cxn ang="16200000">
                  <a:pos x="wd2" y="hd2"/>
                </a:cxn>
              </a:cxnLst>
              <a:rect l="0" t="0" r="r" b="b"/>
              <a:pathLst>
                <a:path w="21600" h="21600" extrusionOk="0">
                  <a:moveTo>
                    <a:pt x="14831" y="0"/>
                  </a:moveTo>
                  <a:lnTo>
                    <a:pt x="16152" y="752"/>
                  </a:lnTo>
                  <a:lnTo>
                    <a:pt x="17169" y="1568"/>
                  </a:lnTo>
                  <a:lnTo>
                    <a:pt x="18839" y="1893"/>
                  </a:lnTo>
                  <a:lnTo>
                    <a:pt x="18839" y="3442"/>
                  </a:lnTo>
                  <a:lnTo>
                    <a:pt x="19262" y="4642"/>
                  </a:lnTo>
                  <a:lnTo>
                    <a:pt x="19979" y="5617"/>
                  </a:lnTo>
                  <a:lnTo>
                    <a:pt x="19182" y="6899"/>
                  </a:lnTo>
                  <a:lnTo>
                    <a:pt x="19182" y="8099"/>
                  </a:lnTo>
                  <a:lnTo>
                    <a:pt x="19662" y="9375"/>
                  </a:lnTo>
                  <a:lnTo>
                    <a:pt x="20216" y="10435"/>
                  </a:lnTo>
                  <a:lnTo>
                    <a:pt x="20594" y="11892"/>
                  </a:lnTo>
                  <a:lnTo>
                    <a:pt x="21520" y="13554"/>
                  </a:lnTo>
                  <a:lnTo>
                    <a:pt x="21600" y="15848"/>
                  </a:lnTo>
                  <a:lnTo>
                    <a:pt x="20167" y="17076"/>
                  </a:lnTo>
                  <a:lnTo>
                    <a:pt x="18837" y="17726"/>
                  </a:lnTo>
                  <a:lnTo>
                    <a:pt x="16684" y="18109"/>
                  </a:lnTo>
                  <a:lnTo>
                    <a:pt x="15274" y="18188"/>
                  </a:lnTo>
                  <a:lnTo>
                    <a:pt x="13867" y="18430"/>
                  </a:lnTo>
                  <a:lnTo>
                    <a:pt x="13462" y="19798"/>
                  </a:lnTo>
                  <a:lnTo>
                    <a:pt x="13164" y="20810"/>
                  </a:lnTo>
                  <a:lnTo>
                    <a:pt x="12474" y="21600"/>
                  </a:lnTo>
                  <a:lnTo>
                    <a:pt x="11162" y="19907"/>
                  </a:lnTo>
                  <a:lnTo>
                    <a:pt x="10416" y="19251"/>
                  </a:lnTo>
                  <a:lnTo>
                    <a:pt x="7383" y="19114"/>
                  </a:lnTo>
                  <a:lnTo>
                    <a:pt x="4329" y="19388"/>
                  </a:lnTo>
                  <a:lnTo>
                    <a:pt x="1907" y="20174"/>
                  </a:lnTo>
                  <a:lnTo>
                    <a:pt x="0" y="18923"/>
                  </a:lnTo>
                  <a:lnTo>
                    <a:pt x="1177" y="17804"/>
                  </a:lnTo>
                  <a:lnTo>
                    <a:pt x="2674" y="17668"/>
                  </a:lnTo>
                  <a:lnTo>
                    <a:pt x="3680" y="16334"/>
                  </a:lnTo>
                  <a:lnTo>
                    <a:pt x="4960" y="15541"/>
                  </a:lnTo>
                  <a:lnTo>
                    <a:pt x="6637" y="16033"/>
                  </a:lnTo>
                  <a:lnTo>
                    <a:pt x="8203" y="16279"/>
                  </a:lnTo>
                  <a:lnTo>
                    <a:pt x="9693" y="15161"/>
                  </a:lnTo>
                  <a:lnTo>
                    <a:pt x="10727" y="14180"/>
                  </a:lnTo>
                  <a:lnTo>
                    <a:pt x="13446" y="12244"/>
                  </a:lnTo>
                  <a:lnTo>
                    <a:pt x="14243" y="11348"/>
                  </a:lnTo>
                  <a:lnTo>
                    <a:pt x="16242" y="10719"/>
                  </a:lnTo>
                  <a:lnTo>
                    <a:pt x="16482" y="9003"/>
                  </a:lnTo>
                  <a:lnTo>
                    <a:pt x="16482" y="7470"/>
                  </a:lnTo>
                  <a:lnTo>
                    <a:pt x="14963" y="5446"/>
                  </a:lnTo>
                  <a:lnTo>
                    <a:pt x="14030" y="3313"/>
                  </a:lnTo>
                  <a:lnTo>
                    <a:pt x="13976" y="2082"/>
                  </a:lnTo>
                  <a:lnTo>
                    <a:pt x="13500" y="1100"/>
                  </a:lnTo>
                  <a:lnTo>
                    <a:pt x="14831" y="0"/>
                  </a:lnTo>
                  <a:close/>
                </a:path>
              </a:pathLst>
            </a:custGeom>
            <a:grpFill/>
            <a:ln w="25400" cap="flat">
              <a:noFill/>
              <a:prstDash val="solid"/>
              <a:miter lim="400000"/>
            </a:ln>
            <a:effectLst/>
          </p:spPr>
          <p:txBody>
            <a:bodyPr anchor="ctr"/>
            <a:lstStyle/>
            <a:p>
              <a:pPr algn="ctr"/>
              <a:endParaRPr/>
            </a:p>
          </p:txBody>
        </p:sp>
        <p:sp>
          <p:nvSpPr>
            <p:cNvPr id="88" name="ï$ļïdê">
              <a:extLst>
                <a:ext uri="{FF2B5EF4-FFF2-40B4-BE49-F238E27FC236}">
                  <a16:creationId xmlns="" xmlns:p14="http://schemas.microsoft.com/office/powerpoint/2010/main" xmlns:a16="http://schemas.microsoft.com/office/drawing/2014/main" id="{8AFCAA0E-B48A-4B65-8E05-0F931F871906}"/>
                </a:ext>
              </a:extLst>
            </p:cNvPr>
            <p:cNvSpPr/>
            <p:nvPr/>
          </p:nvSpPr>
          <p:spPr>
            <a:xfrm>
              <a:off x="9773896" y="2850018"/>
              <a:ext cx="47636" cy="42571"/>
            </a:xfrm>
            <a:custGeom>
              <a:avLst/>
              <a:gdLst/>
              <a:ahLst/>
              <a:cxnLst>
                <a:cxn ang="0">
                  <a:pos x="wd2" y="hd2"/>
                </a:cxn>
                <a:cxn ang="5400000">
                  <a:pos x="wd2" y="hd2"/>
                </a:cxn>
                <a:cxn ang="10800000">
                  <a:pos x="wd2" y="hd2"/>
                </a:cxn>
                <a:cxn ang="16200000">
                  <a:pos x="wd2" y="hd2"/>
                </a:cxn>
              </a:cxnLst>
              <a:rect l="0" t="0" r="r" b="b"/>
              <a:pathLst>
                <a:path w="21600" h="21600" extrusionOk="0">
                  <a:moveTo>
                    <a:pt x="15130" y="2820"/>
                  </a:moveTo>
                  <a:lnTo>
                    <a:pt x="3175" y="0"/>
                  </a:lnTo>
                  <a:lnTo>
                    <a:pt x="0" y="4621"/>
                  </a:lnTo>
                  <a:lnTo>
                    <a:pt x="4230" y="10217"/>
                  </a:lnTo>
                  <a:lnTo>
                    <a:pt x="4401" y="19722"/>
                  </a:lnTo>
                  <a:lnTo>
                    <a:pt x="14203" y="21600"/>
                  </a:lnTo>
                  <a:lnTo>
                    <a:pt x="18813" y="14767"/>
                  </a:lnTo>
                  <a:lnTo>
                    <a:pt x="21600" y="929"/>
                  </a:lnTo>
                  <a:lnTo>
                    <a:pt x="15130" y="2820"/>
                  </a:lnTo>
                  <a:close/>
                </a:path>
              </a:pathLst>
            </a:custGeom>
            <a:grpFill/>
            <a:ln w="25400" cap="flat">
              <a:noFill/>
              <a:prstDash val="solid"/>
              <a:miter lim="400000"/>
            </a:ln>
            <a:effectLst/>
          </p:spPr>
          <p:txBody>
            <a:bodyPr anchor="ctr"/>
            <a:lstStyle/>
            <a:p>
              <a:pPr algn="ctr"/>
              <a:endParaRPr/>
            </a:p>
          </p:txBody>
        </p:sp>
        <p:sp>
          <p:nvSpPr>
            <p:cNvPr id="89" name="íṡ1îde">
              <a:extLst>
                <a:ext uri="{FF2B5EF4-FFF2-40B4-BE49-F238E27FC236}">
                  <a16:creationId xmlns="" xmlns:p14="http://schemas.microsoft.com/office/powerpoint/2010/main" xmlns:a16="http://schemas.microsoft.com/office/drawing/2014/main" id="{2229569A-857D-4F9A-91C2-758F9FB47AC8}"/>
                </a:ext>
              </a:extLst>
            </p:cNvPr>
            <p:cNvSpPr/>
            <p:nvPr/>
          </p:nvSpPr>
          <p:spPr>
            <a:xfrm>
              <a:off x="9703522" y="2858648"/>
              <a:ext cx="58652" cy="83042"/>
            </a:xfrm>
            <a:custGeom>
              <a:avLst/>
              <a:gdLst/>
              <a:ahLst/>
              <a:cxnLst>
                <a:cxn ang="0">
                  <a:pos x="wd2" y="hd2"/>
                </a:cxn>
                <a:cxn ang="5400000">
                  <a:pos x="wd2" y="hd2"/>
                </a:cxn>
                <a:cxn ang="10800000">
                  <a:pos x="wd2" y="hd2"/>
                </a:cxn>
                <a:cxn ang="16200000">
                  <a:pos x="wd2" y="hd2"/>
                </a:cxn>
              </a:cxnLst>
              <a:rect l="0" t="0" r="r" b="b"/>
              <a:pathLst>
                <a:path w="21600" h="21600" extrusionOk="0">
                  <a:moveTo>
                    <a:pt x="5179" y="0"/>
                  </a:moveTo>
                  <a:lnTo>
                    <a:pt x="10237" y="2528"/>
                  </a:lnTo>
                  <a:lnTo>
                    <a:pt x="16136" y="4696"/>
                  </a:lnTo>
                  <a:lnTo>
                    <a:pt x="19977" y="6514"/>
                  </a:lnTo>
                  <a:lnTo>
                    <a:pt x="19602" y="11221"/>
                  </a:lnTo>
                  <a:lnTo>
                    <a:pt x="20976" y="14878"/>
                  </a:lnTo>
                  <a:lnTo>
                    <a:pt x="21600" y="19246"/>
                  </a:lnTo>
                  <a:lnTo>
                    <a:pt x="18618" y="21600"/>
                  </a:lnTo>
                  <a:lnTo>
                    <a:pt x="11299" y="20100"/>
                  </a:lnTo>
                  <a:lnTo>
                    <a:pt x="11672" y="15196"/>
                  </a:lnTo>
                  <a:lnTo>
                    <a:pt x="4821" y="10992"/>
                  </a:lnTo>
                  <a:lnTo>
                    <a:pt x="1366" y="8562"/>
                  </a:lnTo>
                  <a:lnTo>
                    <a:pt x="0" y="4533"/>
                  </a:lnTo>
                  <a:lnTo>
                    <a:pt x="5179" y="0"/>
                  </a:lnTo>
                  <a:close/>
                </a:path>
              </a:pathLst>
            </a:custGeom>
            <a:grpFill/>
            <a:ln w="25400" cap="flat">
              <a:noFill/>
              <a:prstDash val="solid"/>
              <a:miter lim="400000"/>
            </a:ln>
            <a:effectLst/>
          </p:spPr>
          <p:txBody>
            <a:bodyPr anchor="ctr"/>
            <a:lstStyle/>
            <a:p>
              <a:pPr algn="ctr"/>
              <a:endParaRPr/>
            </a:p>
          </p:txBody>
        </p:sp>
        <p:sp>
          <p:nvSpPr>
            <p:cNvPr id="90" name="išľîḍè">
              <a:extLst>
                <a:ext uri="{FF2B5EF4-FFF2-40B4-BE49-F238E27FC236}">
                  <a16:creationId xmlns="" xmlns:p14="http://schemas.microsoft.com/office/powerpoint/2010/main" xmlns:a16="http://schemas.microsoft.com/office/drawing/2014/main" id="{0A4B3A84-E984-4ED3-8D80-89D5DFBDD5D2}"/>
                </a:ext>
              </a:extLst>
            </p:cNvPr>
            <p:cNvSpPr/>
            <p:nvPr/>
          </p:nvSpPr>
          <p:spPr>
            <a:xfrm>
              <a:off x="9478424" y="3163043"/>
              <a:ext cx="55804" cy="107550"/>
            </a:xfrm>
            <a:custGeom>
              <a:avLst/>
              <a:gdLst/>
              <a:ahLst/>
              <a:cxnLst>
                <a:cxn ang="0">
                  <a:pos x="wd2" y="hd2"/>
                </a:cxn>
                <a:cxn ang="5400000">
                  <a:pos x="wd2" y="hd2"/>
                </a:cxn>
                <a:cxn ang="10800000">
                  <a:pos x="wd2" y="hd2"/>
                </a:cxn>
                <a:cxn ang="16200000">
                  <a:pos x="wd2" y="hd2"/>
                </a:cxn>
              </a:cxnLst>
              <a:rect l="0" t="0" r="r" b="b"/>
              <a:pathLst>
                <a:path w="21570" h="21600" extrusionOk="0">
                  <a:moveTo>
                    <a:pt x="10688" y="0"/>
                  </a:moveTo>
                  <a:lnTo>
                    <a:pt x="7165" y="3027"/>
                  </a:lnTo>
                  <a:lnTo>
                    <a:pt x="5618" y="8797"/>
                  </a:lnTo>
                  <a:lnTo>
                    <a:pt x="0" y="12556"/>
                  </a:lnTo>
                  <a:lnTo>
                    <a:pt x="2313" y="15996"/>
                  </a:lnTo>
                  <a:lnTo>
                    <a:pt x="6119" y="18152"/>
                  </a:lnTo>
                  <a:lnTo>
                    <a:pt x="12017" y="21600"/>
                  </a:lnTo>
                  <a:lnTo>
                    <a:pt x="18421" y="20856"/>
                  </a:lnTo>
                  <a:lnTo>
                    <a:pt x="19994" y="15920"/>
                  </a:lnTo>
                  <a:lnTo>
                    <a:pt x="19601" y="12480"/>
                  </a:lnTo>
                  <a:cubicBezTo>
                    <a:pt x="20082" y="11316"/>
                    <a:pt x="20475" y="10143"/>
                    <a:pt x="20780" y="8963"/>
                  </a:cubicBezTo>
                  <a:cubicBezTo>
                    <a:pt x="21337" y="6812"/>
                    <a:pt x="21600" y="4643"/>
                    <a:pt x="21567" y="2472"/>
                  </a:cubicBezTo>
                  <a:lnTo>
                    <a:pt x="10688" y="0"/>
                  </a:lnTo>
                  <a:close/>
                </a:path>
              </a:pathLst>
            </a:custGeom>
            <a:grpFill/>
            <a:ln w="25400" cap="flat">
              <a:noFill/>
              <a:prstDash val="solid"/>
              <a:miter lim="400000"/>
            </a:ln>
            <a:effectLst/>
          </p:spPr>
          <p:txBody>
            <a:bodyPr anchor="ctr"/>
            <a:lstStyle/>
            <a:p>
              <a:pPr algn="ctr"/>
              <a:endParaRPr/>
            </a:p>
          </p:txBody>
        </p:sp>
        <p:sp>
          <p:nvSpPr>
            <p:cNvPr id="91" name="ïŝ1iḓe">
              <a:extLst>
                <a:ext uri="{FF2B5EF4-FFF2-40B4-BE49-F238E27FC236}">
                  <a16:creationId xmlns="" xmlns:p14="http://schemas.microsoft.com/office/powerpoint/2010/main" xmlns:a16="http://schemas.microsoft.com/office/drawing/2014/main" id="{1A47F24B-4ACD-4AE6-AA82-47680C59C1E9}"/>
                </a:ext>
              </a:extLst>
            </p:cNvPr>
            <p:cNvSpPr/>
            <p:nvPr/>
          </p:nvSpPr>
          <p:spPr>
            <a:xfrm>
              <a:off x="9135285" y="3359667"/>
              <a:ext cx="61216" cy="64164"/>
            </a:xfrm>
            <a:custGeom>
              <a:avLst/>
              <a:gdLst/>
              <a:ahLst/>
              <a:cxnLst>
                <a:cxn ang="0">
                  <a:pos x="wd2" y="hd2"/>
                </a:cxn>
                <a:cxn ang="5400000">
                  <a:pos x="wd2" y="hd2"/>
                </a:cxn>
                <a:cxn ang="10800000">
                  <a:pos x="wd2" y="hd2"/>
                </a:cxn>
                <a:cxn ang="16200000">
                  <a:pos x="wd2" y="hd2"/>
                </a:cxn>
              </a:cxnLst>
              <a:rect l="0" t="0" r="r" b="b"/>
              <a:pathLst>
                <a:path w="21600" h="21600" extrusionOk="0">
                  <a:moveTo>
                    <a:pt x="20237" y="806"/>
                  </a:moveTo>
                  <a:lnTo>
                    <a:pt x="13014" y="0"/>
                  </a:lnTo>
                  <a:lnTo>
                    <a:pt x="4311" y="2387"/>
                  </a:lnTo>
                  <a:lnTo>
                    <a:pt x="1595" y="5661"/>
                  </a:lnTo>
                  <a:lnTo>
                    <a:pt x="0" y="10054"/>
                  </a:lnTo>
                  <a:lnTo>
                    <a:pt x="1800" y="15494"/>
                  </a:lnTo>
                  <a:lnTo>
                    <a:pt x="5016" y="21600"/>
                  </a:lnTo>
                  <a:lnTo>
                    <a:pt x="11327" y="20806"/>
                  </a:lnTo>
                  <a:lnTo>
                    <a:pt x="13480" y="14360"/>
                  </a:lnTo>
                  <a:lnTo>
                    <a:pt x="21600" y="6554"/>
                  </a:lnTo>
                  <a:lnTo>
                    <a:pt x="20237" y="806"/>
                  </a:lnTo>
                  <a:close/>
                </a:path>
              </a:pathLst>
            </a:custGeom>
            <a:grpFill/>
            <a:ln w="25400" cap="flat">
              <a:noFill/>
              <a:prstDash val="solid"/>
              <a:miter lim="400000"/>
            </a:ln>
            <a:effectLst/>
          </p:spPr>
          <p:txBody>
            <a:bodyPr anchor="ctr"/>
            <a:lstStyle/>
            <a:p>
              <a:pPr algn="ctr"/>
              <a:endParaRPr/>
            </a:p>
          </p:txBody>
        </p:sp>
        <p:sp>
          <p:nvSpPr>
            <p:cNvPr id="92" name="íSḻíde">
              <a:extLst>
                <a:ext uri="{FF2B5EF4-FFF2-40B4-BE49-F238E27FC236}">
                  <a16:creationId xmlns="" xmlns:p14="http://schemas.microsoft.com/office/powerpoint/2010/main" xmlns:a16="http://schemas.microsoft.com/office/drawing/2014/main" id="{296E3B79-20E0-4F1F-B9A8-59F3C99051F5}"/>
                </a:ext>
              </a:extLst>
            </p:cNvPr>
            <p:cNvSpPr/>
            <p:nvPr/>
          </p:nvSpPr>
          <p:spPr>
            <a:xfrm>
              <a:off x="9517257" y="3403769"/>
              <a:ext cx="158867" cy="207893"/>
            </a:xfrm>
            <a:custGeom>
              <a:avLst/>
              <a:gdLst/>
              <a:ahLst/>
              <a:cxnLst>
                <a:cxn ang="0">
                  <a:pos x="wd2" y="hd2"/>
                </a:cxn>
                <a:cxn ang="5400000">
                  <a:pos x="wd2" y="hd2"/>
                </a:cxn>
                <a:cxn ang="10800000">
                  <a:pos x="wd2" y="hd2"/>
                </a:cxn>
                <a:cxn ang="16200000">
                  <a:pos x="wd2" y="hd2"/>
                </a:cxn>
              </a:cxnLst>
              <a:rect l="0" t="0" r="r" b="b"/>
              <a:pathLst>
                <a:path w="21600" h="21600" extrusionOk="0">
                  <a:moveTo>
                    <a:pt x="6205" y="214"/>
                  </a:moveTo>
                  <a:lnTo>
                    <a:pt x="2995" y="0"/>
                  </a:lnTo>
                  <a:lnTo>
                    <a:pt x="2584" y="2552"/>
                  </a:lnTo>
                  <a:lnTo>
                    <a:pt x="3044" y="4581"/>
                  </a:lnTo>
                  <a:lnTo>
                    <a:pt x="2030" y="7340"/>
                  </a:lnTo>
                  <a:lnTo>
                    <a:pt x="0" y="9509"/>
                  </a:lnTo>
                  <a:cubicBezTo>
                    <a:pt x="160" y="10395"/>
                    <a:pt x="581" y="11243"/>
                    <a:pt x="1232" y="11988"/>
                  </a:cubicBezTo>
                  <a:cubicBezTo>
                    <a:pt x="2023" y="12895"/>
                    <a:pt x="3124" y="13621"/>
                    <a:pt x="4418" y="14087"/>
                  </a:cubicBezTo>
                  <a:lnTo>
                    <a:pt x="5236" y="15133"/>
                  </a:lnTo>
                  <a:lnTo>
                    <a:pt x="7310" y="17966"/>
                  </a:lnTo>
                  <a:lnTo>
                    <a:pt x="8555" y="18981"/>
                  </a:lnTo>
                  <a:lnTo>
                    <a:pt x="11367" y="20065"/>
                  </a:lnTo>
                  <a:lnTo>
                    <a:pt x="14409" y="20170"/>
                  </a:lnTo>
                  <a:lnTo>
                    <a:pt x="16201" y="20275"/>
                  </a:lnTo>
                  <a:lnTo>
                    <a:pt x="18690" y="21010"/>
                  </a:lnTo>
                  <a:lnTo>
                    <a:pt x="21410" y="21600"/>
                  </a:lnTo>
                  <a:lnTo>
                    <a:pt x="21600" y="19654"/>
                  </a:lnTo>
                  <a:lnTo>
                    <a:pt x="20730" y="18749"/>
                  </a:lnTo>
                  <a:lnTo>
                    <a:pt x="19543" y="17743"/>
                  </a:lnTo>
                  <a:lnTo>
                    <a:pt x="15953" y="18233"/>
                  </a:lnTo>
                  <a:cubicBezTo>
                    <a:pt x="15448" y="18445"/>
                    <a:pt x="14862" y="18519"/>
                    <a:pt x="14294" y="18443"/>
                  </a:cubicBezTo>
                  <a:cubicBezTo>
                    <a:pt x="13070" y="18278"/>
                    <a:pt x="12157" y="17495"/>
                    <a:pt x="12093" y="16553"/>
                  </a:cubicBezTo>
                  <a:lnTo>
                    <a:pt x="9471" y="15298"/>
                  </a:lnTo>
                  <a:lnTo>
                    <a:pt x="8693" y="14218"/>
                  </a:lnTo>
                  <a:lnTo>
                    <a:pt x="8601" y="12924"/>
                  </a:lnTo>
                  <a:cubicBezTo>
                    <a:pt x="9108" y="12238"/>
                    <a:pt x="9615" y="11551"/>
                    <a:pt x="10122" y="10864"/>
                  </a:cubicBezTo>
                  <a:cubicBezTo>
                    <a:pt x="10531" y="10309"/>
                    <a:pt x="10940" y="9754"/>
                    <a:pt x="11349" y="9198"/>
                  </a:cubicBezTo>
                  <a:lnTo>
                    <a:pt x="11759" y="7593"/>
                  </a:lnTo>
                  <a:lnTo>
                    <a:pt x="9915" y="5459"/>
                  </a:lnTo>
                  <a:lnTo>
                    <a:pt x="8117" y="3260"/>
                  </a:lnTo>
                  <a:lnTo>
                    <a:pt x="6205" y="214"/>
                  </a:lnTo>
                  <a:close/>
                </a:path>
              </a:pathLst>
            </a:custGeom>
            <a:grpFill/>
            <a:ln w="25400" cap="flat">
              <a:noFill/>
              <a:prstDash val="solid"/>
              <a:miter lim="400000"/>
            </a:ln>
            <a:effectLst/>
          </p:spPr>
          <p:txBody>
            <a:bodyPr anchor="ctr"/>
            <a:lstStyle/>
            <a:p>
              <a:pPr algn="ctr"/>
              <a:endParaRPr/>
            </a:p>
          </p:txBody>
        </p:sp>
        <p:sp>
          <p:nvSpPr>
            <p:cNvPr id="93" name="ïṡḷïďé">
              <a:extLst>
                <a:ext uri="{FF2B5EF4-FFF2-40B4-BE49-F238E27FC236}">
                  <a16:creationId xmlns="" xmlns:p14="http://schemas.microsoft.com/office/powerpoint/2010/main" xmlns:a16="http://schemas.microsoft.com/office/drawing/2014/main" id="{15A03DB9-4032-4B1A-9453-CE4BB583FA57}"/>
                </a:ext>
              </a:extLst>
            </p:cNvPr>
            <p:cNvSpPr/>
            <p:nvPr/>
          </p:nvSpPr>
          <p:spPr>
            <a:xfrm>
              <a:off x="9453604" y="3685864"/>
              <a:ext cx="89307" cy="96995"/>
            </a:xfrm>
            <a:custGeom>
              <a:avLst/>
              <a:gdLst/>
              <a:ahLst/>
              <a:cxnLst>
                <a:cxn ang="0">
                  <a:pos x="wd2" y="hd2"/>
                </a:cxn>
                <a:cxn ang="5400000">
                  <a:pos x="wd2" y="hd2"/>
                </a:cxn>
                <a:cxn ang="10800000">
                  <a:pos x="wd2" y="hd2"/>
                </a:cxn>
                <a:cxn ang="16200000">
                  <a:pos x="wd2" y="hd2"/>
                </a:cxn>
              </a:cxnLst>
              <a:rect l="0" t="0" r="r" b="b"/>
              <a:pathLst>
                <a:path w="20505" h="19908" extrusionOk="0">
                  <a:moveTo>
                    <a:pt x="17580" y="0"/>
                  </a:moveTo>
                  <a:lnTo>
                    <a:pt x="14738" y="1728"/>
                  </a:lnTo>
                  <a:lnTo>
                    <a:pt x="10679" y="5098"/>
                  </a:lnTo>
                  <a:lnTo>
                    <a:pt x="8216" y="7569"/>
                  </a:lnTo>
                  <a:lnTo>
                    <a:pt x="8222" y="12060"/>
                  </a:lnTo>
                  <a:lnTo>
                    <a:pt x="5046" y="14125"/>
                  </a:lnTo>
                  <a:cubicBezTo>
                    <a:pt x="3326" y="12967"/>
                    <a:pt x="832" y="13677"/>
                    <a:pt x="191" y="15507"/>
                  </a:cubicBezTo>
                  <a:cubicBezTo>
                    <a:pt x="-1095" y="19179"/>
                    <a:pt x="4427" y="21600"/>
                    <a:pt x="6929" y="18462"/>
                  </a:cubicBezTo>
                  <a:lnTo>
                    <a:pt x="10638" y="16258"/>
                  </a:lnTo>
                  <a:lnTo>
                    <a:pt x="12739" y="13426"/>
                  </a:lnTo>
                  <a:lnTo>
                    <a:pt x="14530" y="11490"/>
                  </a:lnTo>
                  <a:lnTo>
                    <a:pt x="18733" y="6592"/>
                  </a:lnTo>
                  <a:lnTo>
                    <a:pt x="20505" y="1980"/>
                  </a:lnTo>
                  <a:lnTo>
                    <a:pt x="17580" y="0"/>
                  </a:lnTo>
                  <a:close/>
                </a:path>
              </a:pathLst>
            </a:custGeom>
            <a:grpFill/>
            <a:ln w="25400" cap="flat">
              <a:noFill/>
              <a:prstDash val="solid"/>
              <a:miter lim="400000"/>
            </a:ln>
            <a:effectLst/>
          </p:spPr>
          <p:txBody>
            <a:bodyPr anchor="ctr"/>
            <a:lstStyle/>
            <a:p>
              <a:pPr algn="ctr"/>
              <a:endParaRPr/>
            </a:p>
          </p:txBody>
        </p:sp>
        <p:sp>
          <p:nvSpPr>
            <p:cNvPr id="94" name="i$ļïḓé">
              <a:extLst>
                <a:ext uri="{FF2B5EF4-FFF2-40B4-BE49-F238E27FC236}">
                  <a16:creationId xmlns="" xmlns:p14="http://schemas.microsoft.com/office/powerpoint/2010/main" xmlns:a16="http://schemas.microsoft.com/office/drawing/2014/main" id="{18EC5492-C516-4B8B-A675-BCF8B10D9DB6}"/>
                </a:ext>
              </a:extLst>
            </p:cNvPr>
            <p:cNvSpPr/>
            <p:nvPr/>
          </p:nvSpPr>
          <p:spPr>
            <a:xfrm>
              <a:off x="9553899" y="3604386"/>
              <a:ext cx="41967" cy="41633"/>
            </a:xfrm>
            <a:custGeom>
              <a:avLst/>
              <a:gdLst/>
              <a:ahLst/>
              <a:cxnLst>
                <a:cxn ang="0">
                  <a:pos x="wd2" y="hd2"/>
                </a:cxn>
                <a:cxn ang="5400000">
                  <a:pos x="wd2" y="hd2"/>
                </a:cxn>
                <a:cxn ang="10800000">
                  <a:pos x="wd2" y="hd2"/>
                </a:cxn>
                <a:cxn ang="16200000">
                  <a:pos x="wd2" y="hd2"/>
                </a:cxn>
              </a:cxnLst>
              <a:rect l="0" t="0" r="r" b="b"/>
              <a:pathLst>
                <a:path w="21600" h="21600" extrusionOk="0">
                  <a:moveTo>
                    <a:pt x="5824" y="0"/>
                  </a:moveTo>
                  <a:lnTo>
                    <a:pt x="0" y="3997"/>
                  </a:lnTo>
                  <a:lnTo>
                    <a:pt x="7260" y="15507"/>
                  </a:lnTo>
                  <a:lnTo>
                    <a:pt x="11327" y="21600"/>
                  </a:lnTo>
                  <a:lnTo>
                    <a:pt x="21600" y="21076"/>
                  </a:lnTo>
                  <a:lnTo>
                    <a:pt x="15668" y="7101"/>
                  </a:lnTo>
                  <a:lnTo>
                    <a:pt x="5824" y="0"/>
                  </a:lnTo>
                  <a:close/>
                </a:path>
              </a:pathLst>
            </a:custGeom>
            <a:grpFill/>
            <a:ln w="25400" cap="flat">
              <a:noFill/>
              <a:prstDash val="solid"/>
              <a:miter lim="400000"/>
            </a:ln>
            <a:effectLst/>
          </p:spPr>
          <p:txBody>
            <a:bodyPr anchor="ctr"/>
            <a:lstStyle/>
            <a:p>
              <a:pPr algn="ctr"/>
              <a:endParaRPr/>
            </a:p>
          </p:txBody>
        </p:sp>
        <p:sp>
          <p:nvSpPr>
            <p:cNvPr id="95" name="íṧḻïdê">
              <a:extLst>
                <a:ext uri="{FF2B5EF4-FFF2-40B4-BE49-F238E27FC236}">
                  <a16:creationId xmlns="" xmlns:p14="http://schemas.microsoft.com/office/powerpoint/2010/main" xmlns:a16="http://schemas.microsoft.com/office/drawing/2014/main" id="{609E406E-9FC4-4BAB-89BF-AB7D88727453}"/>
                </a:ext>
              </a:extLst>
            </p:cNvPr>
            <p:cNvSpPr/>
            <p:nvPr/>
          </p:nvSpPr>
          <p:spPr>
            <a:xfrm>
              <a:off x="9690104" y="3635830"/>
              <a:ext cx="70568" cy="49078"/>
            </a:xfrm>
            <a:custGeom>
              <a:avLst/>
              <a:gdLst/>
              <a:ahLst/>
              <a:cxnLst>
                <a:cxn ang="0">
                  <a:pos x="wd2" y="hd2"/>
                </a:cxn>
                <a:cxn ang="5400000">
                  <a:pos x="wd2" y="hd2"/>
                </a:cxn>
                <a:cxn ang="10800000">
                  <a:pos x="wd2" y="hd2"/>
                </a:cxn>
                <a:cxn ang="16200000">
                  <a:pos x="wd2" y="hd2"/>
                </a:cxn>
              </a:cxnLst>
              <a:rect l="0" t="0" r="r" b="b"/>
              <a:pathLst>
                <a:path w="21600" h="21600" extrusionOk="0">
                  <a:moveTo>
                    <a:pt x="3112" y="90"/>
                  </a:moveTo>
                  <a:lnTo>
                    <a:pt x="0" y="1424"/>
                  </a:lnTo>
                  <a:lnTo>
                    <a:pt x="3236" y="8466"/>
                  </a:lnTo>
                  <a:lnTo>
                    <a:pt x="8121" y="17785"/>
                  </a:lnTo>
                  <a:lnTo>
                    <a:pt x="13518" y="21155"/>
                  </a:lnTo>
                  <a:lnTo>
                    <a:pt x="21600" y="21600"/>
                  </a:lnTo>
                  <a:lnTo>
                    <a:pt x="17669" y="11727"/>
                  </a:lnTo>
                  <a:lnTo>
                    <a:pt x="14063" y="7299"/>
                  </a:lnTo>
                  <a:lnTo>
                    <a:pt x="10768" y="6411"/>
                  </a:lnTo>
                  <a:lnTo>
                    <a:pt x="7589" y="0"/>
                  </a:lnTo>
                  <a:lnTo>
                    <a:pt x="3112" y="90"/>
                  </a:lnTo>
                  <a:close/>
                </a:path>
              </a:pathLst>
            </a:custGeom>
            <a:grpFill/>
            <a:ln w="25400" cap="flat">
              <a:noFill/>
              <a:prstDash val="solid"/>
              <a:miter lim="400000"/>
            </a:ln>
            <a:effectLst/>
          </p:spPr>
          <p:txBody>
            <a:bodyPr anchor="ctr"/>
            <a:lstStyle/>
            <a:p>
              <a:pPr algn="ctr"/>
              <a:endParaRPr/>
            </a:p>
          </p:txBody>
        </p:sp>
        <p:sp>
          <p:nvSpPr>
            <p:cNvPr id="96" name="íṣlïḑé">
              <a:extLst>
                <a:ext uri="{FF2B5EF4-FFF2-40B4-BE49-F238E27FC236}">
                  <a16:creationId xmlns="" xmlns:p14="http://schemas.microsoft.com/office/powerpoint/2010/main" xmlns:a16="http://schemas.microsoft.com/office/drawing/2014/main" id="{B07B174A-74D5-43C0-B192-B7D74E7666DE}"/>
                </a:ext>
              </a:extLst>
            </p:cNvPr>
            <p:cNvSpPr/>
            <p:nvPr/>
          </p:nvSpPr>
          <p:spPr>
            <a:xfrm>
              <a:off x="9646111" y="3565738"/>
              <a:ext cx="19467" cy="25344"/>
            </a:xfrm>
            <a:custGeom>
              <a:avLst/>
              <a:gdLst/>
              <a:ahLst/>
              <a:cxnLst>
                <a:cxn ang="0">
                  <a:pos x="wd2" y="hd2"/>
                </a:cxn>
                <a:cxn ang="5400000">
                  <a:pos x="wd2" y="hd2"/>
                </a:cxn>
                <a:cxn ang="10800000">
                  <a:pos x="wd2" y="hd2"/>
                </a:cxn>
                <a:cxn ang="16200000">
                  <a:pos x="wd2" y="hd2"/>
                </a:cxn>
              </a:cxnLst>
              <a:rect l="0" t="0" r="r" b="b"/>
              <a:pathLst>
                <a:path w="21600" h="21600" extrusionOk="0">
                  <a:moveTo>
                    <a:pt x="20404" y="4234"/>
                  </a:moveTo>
                  <a:lnTo>
                    <a:pt x="5083" y="0"/>
                  </a:lnTo>
                  <a:lnTo>
                    <a:pt x="0" y="11342"/>
                  </a:lnTo>
                  <a:lnTo>
                    <a:pt x="21600" y="21600"/>
                  </a:lnTo>
                  <a:lnTo>
                    <a:pt x="20404" y="4234"/>
                  </a:lnTo>
                  <a:close/>
                </a:path>
              </a:pathLst>
            </a:custGeom>
            <a:grpFill/>
            <a:ln w="25400" cap="flat">
              <a:noFill/>
              <a:prstDash val="solid"/>
              <a:miter lim="400000"/>
            </a:ln>
            <a:effectLst/>
          </p:spPr>
          <p:txBody>
            <a:bodyPr anchor="ctr"/>
            <a:lstStyle/>
            <a:p>
              <a:pPr algn="ctr"/>
              <a:endParaRPr/>
            </a:p>
          </p:txBody>
        </p:sp>
        <p:sp>
          <p:nvSpPr>
            <p:cNvPr id="97" name="iŝľíḑe">
              <a:extLst>
                <a:ext uri="{FF2B5EF4-FFF2-40B4-BE49-F238E27FC236}">
                  <a16:creationId xmlns="" xmlns:p14="http://schemas.microsoft.com/office/powerpoint/2010/main" xmlns:a16="http://schemas.microsoft.com/office/drawing/2014/main" id="{AF03429A-CCD5-4CBE-8E09-5E30B97F4DC0}"/>
                </a:ext>
              </a:extLst>
            </p:cNvPr>
            <p:cNvSpPr/>
            <p:nvPr/>
          </p:nvSpPr>
          <p:spPr>
            <a:xfrm>
              <a:off x="9594891" y="3654803"/>
              <a:ext cx="47691" cy="48989"/>
            </a:xfrm>
            <a:custGeom>
              <a:avLst/>
              <a:gdLst/>
              <a:ahLst/>
              <a:cxnLst>
                <a:cxn ang="0">
                  <a:pos x="wd2" y="hd2"/>
                </a:cxn>
                <a:cxn ang="5400000">
                  <a:pos x="wd2" y="hd2"/>
                </a:cxn>
                <a:cxn ang="10800000">
                  <a:pos x="wd2" y="hd2"/>
                </a:cxn>
                <a:cxn ang="16200000">
                  <a:pos x="wd2" y="hd2"/>
                </a:cxn>
              </a:cxnLst>
              <a:rect l="0" t="0" r="r" b="b"/>
              <a:pathLst>
                <a:path w="21600" h="21600" extrusionOk="0">
                  <a:moveTo>
                    <a:pt x="9899" y="3302"/>
                  </a:moveTo>
                  <a:cubicBezTo>
                    <a:pt x="9224" y="3989"/>
                    <a:pt x="8549" y="4676"/>
                    <a:pt x="7875" y="5363"/>
                  </a:cubicBezTo>
                  <a:cubicBezTo>
                    <a:pt x="7200" y="6049"/>
                    <a:pt x="6525" y="6736"/>
                    <a:pt x="5850" y="7423"/>
                  </a:cubicBezTo>
                  <a:lnTo>
                    <a:pt x="0" y="13749"/>
                  </a:lnTo>
                  <a:lnTo>
                    <a:pt x="5955" y="20264"/>
                  </a:lnTo>
                  <a:lnTo>
                    <a:pt x="13153" y="21600"/>
                  </a:lnTo>
                  <a:lnTo>
                    <a:pt x="16685" y="18073"/>
                  </a:lnTo>
                  <a:lnTo>
                    <a:pt x="16244" y="11856"/>
                  </a:lnTo>
                  <a:lnTo>
                    <a:pt x="21600" y="2243"/>
                  </a:lnTo>
                  <a:lnTo>
                    <a:pt x="15783" y="0"/>
                  </a:lnTo>
                  <a:lnTo>
                    <a:pt x="9899" y="3302"/>
                  </a:lnTo>
                  <a:close/>
                </a:path>
              </a:pathLst>
            </a:custGeom>
            <a:grpFill/>
            <a:ln w="25400" cap="flat">
              <a:noFill/>
              <a:prstDash val="solid"/>
              <a:miter lim="400000"/>
            </a:ln>
            <a:effectLst/>
          </p:spPr>
          <p:txBody>
            <a:bodyPr anchor="ctr"/>
            <a:lstStyle/>
            <a:p>
              <a:pPr algn="ctr"/>
              <a:endParaRPr/>
            </a:p>
          </p:txBody>
        </p:sp>
        <p:sp>
          <p:nvSpPr>
            <p:cNvPr id="98" name="ïšlïḓé">
              <a:extLst>
                <a:ext uri="{FF2B5EF4-FFF2-40B4-BE49-F238E27FC236}">
                  <a16:creationId xmlns="" xmlns:p14="http://schemas.microsoft.com/office/powerpoint/2010/main" xmlns:a16="http://schemas.microsoft.com/office/drawing/2014/main" id="{126BE4E6-9FB7-4DC8-A2BC-5C65A2952832}"/>
                </a:ext>
              </a:extLst>
            </p:cNvPr>
            <p:cNvSpPr/>
            <p:nvPr/>
          </p:nvSpPr>
          <p:spPr>
            <a:xfrm>
              <a:off x="9632393" y="3706816"/>
              <a:ext cx="37284" cy="54904"/>
            </a:xfrm>
            <a:custGeom>
              <a:avLst/>
              <a:gdLst/>
              <a:ahLst/>
              <a:cxnLst>
                <a:cxn ang="0">
                  <a:pos x="wd2" y="hd2"/>
                </a:cxn>
                <a:cxn ang="5400000">
                  <a:pos x="wd2" y="hd2"/>
                </a:cxn>
                <a:cxn ang="10800000">
                  <a:pos x="wd2" y="hd2"/>
                </a:cxn>
                <a:cxn ang="16200000">
                  <a:pos x="wd2" y="hd2"/>
                </a:cxn>
              </a:cxnLst>
              <a:rect l="0" t="0" r="r" b="b"/>
              <a:pathLst>
                <a:path w="21600" h="21600" extrusionOk="0">
                  <a:moveTo>
                    <a:pt x="7580" y="0"/>
                  </a:moveTo>
                  <a:lnTo>
                    <a:pt x="5492" y="4637"/>
                  </a:lnTo>
                  <a:lnTo>
                    <a:pt x="0" y="9562"/>
                  </a:lnTo>
                  <a:lnTo>
                    <a:pt x="532" y="14978"/>
                  </a:lnTo>
                  <a:lnTo>
                    <a:pt x="5198" y="17362"/>
                  </a:lnTo>
                  <a:lnTo>
                    <a:pt x="8142" y="21600"/>
                  </a:lnTo>
                  <a:lnTo>
                    <a:pt x="17499" y="19994"/>
                  </a:lnTo>
                  <a:lnTo>
                    <a:pt x="17499" y="13520"/>
                  </a:lnTo>
                  <a:lnTo>
                    <a:pt x="21600" y="9579"/>
                  </a:lnTo>
                  <a:lnTo>
                    <a:pt x="19856" y="4413"/>
                  </a:lnTo>
                  <a:lnTo>
                    <a:pt x="14429" y="2161"/>
                  </a:lnTo>
                  <a:lnTo>
                    <a:pt x="7580" y="0"/>
                  </a:lnTo>
                  <a:close/>
                </a:path>
              </a:pathLst>
            </a:custGeom>
            <a:grpFill/>
            <a:ln w="25400" cap="flat">
              <a:noFill/>
              <a:prstDash val="solid"/>
              <a:miter lim="400000"/>
            </a:ln>
            <a:effectLst/>
          </p:spPr>
          <p:txBody>
            <a:bodyPr anchor="ctr"/>
            <a:lstStyle/>
            <a:p>
              <a:pPr algn="ctr"/>
              <a:endParaRPr/>
            </a:p>
          </p:txBody>
        </p:sp>
        <p:sp>
          <p:nvSpPr>
            <p:cNvPr id="99" name="î$ḻïḍe">
              <a:extLst>
                <a:ext uri="{FF2B5EF4-FFF2-40B4-BE49-F238E27FC236}">
                  <a16:creationId xmlns="" xmlns:p14="http://schemas.microsoft.com/office/powerpoint/2010/main" xmlns:a16="http://schemas.microsoft.com/office/drawing/2014/main" id="{60BDFED1-4E77-43FB-89C4-55C62F72C721}"/>
                </a:ext>
              </a:extLst>
            </p:cNvPr>
            <p:cNvSpPr/>
            <p:nvPr/>
          </p:nvSpPr>
          <p:spPr>
            <a:xfrm>
              <a:off x="9681665" y="3678031"/>
              <a:ext cx="29941" cy="51005"/>
            </a:xfrm>
            <a:custGeom>
              <a:avLst/>
              <a:gdLst/>
              <a:ahLst/>
              <a:cxnLst>
                <a:cxn ang="0">
                  <a:pos x="wd2" y="hd2"/>
                </a:cxn>
                <a:cxn ang="5400000">
                  <a:pos x="wd2" y="hd2"/>
                </a:cxn>
                <a:cxn ang="10800000">
                  <a:pos x="wd2" y="hd2"/>
                </a:cxn>
                <a:cxn ang="16200000">
                  <a:pos x="wd2" y="hd2"/>
                </a:cxn>
              </a:cxnLst>
              <a:rect l="0" t="0" r="r" b="b"/>
              <a:pathLst>
                <a:path w="21600" h="21600" extrusionOk="0">
                  <a:moveTo>
                    <a:pt x="10374" y="2282"/>
                  </a:moveTo>
                  <a:lnTo>
                    <a:pt x="2301" y="0"/>
                  </a:lnTo>
                  <a:lnTo>
                    <a:pt x="0" y="4114"/>
                  </a:lnTo>
                  <a:lnTo>
                    <a:pt x="8942" y="8249"/>
                  </a:lnTo>
                  <a:lnTo>
                    <a:pt x="10410" y="16662"/>
                  </a:lnTo>
                  <a:lnTo>
                    <a:pt x="13285" y="21600"/>
                  </a:lnTo>
                  <a:lnTo>
                    <a:pt x="21600" y="19354"/>
                  </a:lnTo>
                  <a:lnTo>
                    <a:pt x="20132" y="10993"/>
                  </a:lnTo>
                  <a:lnTo>
                    <a:pt x="10374" y="2282"/>
                  </a:lnTo>
                  <a:close/>
                </a:path>
              </a:pathLst>
            </a:custGeom>
            <a:grpFill/>
            <a:ln w="25400" cap="flat">
              <a:noFill/>
              <a:prstDash val="solid"/>
              <a:miter lim="400000"/>
            </a:ln>
            <a:effectLst/>
          </p:spPr>
          <p:txBody>
            <a:bodyPr anchor="ctr"/>
            <a:lstStyle/>
            <a:p>
              <a:pPr algn="ctr"/>
              <a:endParaRPr/>
            </a:p>
          </p:txBody>
        </p:sp>
        <p:sp>
          <p:nvSpPr>
            <p:cNvPr id="100" name="ïS1îḑe">
              <a:extLst>
                <a:ext uri="{FF2B5EF4-FFF2-40B4-BE49-F238E27FC236}">
                  <a16:creationId xmlns="" xmlns:p14="http://schemas.microsoft.com/office/powerpoint/2010/main" xmlns:a16="http://schemas.microsoft.com/office/drawing/2014/main" id="{54906690-F5F1-4971-9439-7E68E539ED96}"/>
                </a:ext>
              </a:extLst>
            </p:cNvPr>
            <p:cNvSpPr/>
            <p:nvPr/>
          </p:nvSpPr>
          <p:spPr>
            <a:xfrm>
              <a:off x="9628583" y="3726518"/>
              <a:ext cx="162677" cy="158780"/>
            </a:xfrm>
            <a:custGeom>
              <a:avLst/>
              <a:gdLst/>
              <a:ahLst/>
              <a:cxnLst>
                <a:cxn ang="0">
                  <a:pos x="wd2" y="hd2"/>
                </a:cxn>
                <a:cxn ang="5400000">
                  <a:pos x="wd2" y="hd2"/>
                </a:cxn>
                <a:cxn ang="10800000">
                  <a:pos x="wd2" y="hd2"/>
                </a:cxn>
                <a:cxn ang="16200000">
                  <a:pos x="wd2" y="hd2"/>
                </a:cxn>
              </a:cxnLst>
              <a:rect l="0" t="0" r="r" b="b"/>
              <a:pathLst>
                <a:path w="21246" h="21600" extrusionOk="0">
                  <a:moveTo>
                    <a:pt x="15618" y="0"/>
                  </a:moveTo>
                  <a:lnTo>
                    <a:pt x="14068" y="137"/>
                  </a:lnTo>
                  <a:lnTo>
                    <a:pt x="13901" y="3471"/>
                  </a:lnTo>
                  <a:lnTo>
                    <a:pt x="11653" y="5499"/>
                  </a:lnTo>
                  <a:lnTo>
                    <a:pt x="9433" y="7154"/>
                  </a:lnTo>
                  <a:lnTo>
                    <a:pt x="8019" y="8935"/>
                  </a:lnTo>
                  <a:lnTo>
                    <a:pt x="6129" y="8803"/>
                  </a:lnTo>
                  <a:lnTo>
                    <a:pt x="4020" y="7291"/>
                  </a:lnTo>
                  <a:lnTo>
                    <a:pt x="1658" y="8253"/>
                  </a:lnTo>
                  <a:lnTo>
                    <a:pt x="1029" y="10864"/>
                  </a:lnTo>
                  <a:lnTo>
                    <a:pt x="0" y="12771"/>
                  </a:lnTo>
                  <a:lnTo>
                    <a:pt x="3621" y="12908"/>
                  </a:lnTo>
                  <a:lnTo>
                    <a:pt x="5425" y="10801"/>
                  </a:lnTo>
                  <a:lnTo>
                    <a:pt x="6970" y="11345"/>
                  </a:lnTo>
                  <a:lnTo>
                    <a:pt x="8696" y="13544"/>
                  </a:lnTo>
                  <a:lnTo>
                    <a:pt x="8696" y="16286"/>
                  </a:lnTo>
                  <a:lnTo>
                    <a:pt x="10584" y="19825"/>
                  </a:lnTo>
                  <a:lnTo>
                    <a:pt x="11691" y="21600"/>
                  </a:lnTo>
                  <a:lnTo>
                    <a:pt x="13329" y="20592"/>
                  </a:lnTo>
                  <a:lnTo>
                    <a:pt x="14785" y="19539"/>
                  </a:lnTo>
                  <a:lnTo>
                    <a:pt x="16955" y="20226"/>
                  </a:lnTo>
                  <a:lnTo>
                    <a:pt x="17088" y="18955"/>
                  </a:lnTo>
                  <a:lnTo>
                    <a:pt x="14658" y="17037"/>
                  </a:lnTo>
                  <a:lnTo>
                    <a:pt x="14525" y="14747"/>
                  </a:lnTo>
                  <a:lnTo>
                    <a:pt x="15986" y="13831"/>
                  </a:lnTo>
                  <a:lnTo>
                    <a:pt x="18372" y="14380"/>
                  </a:lnTo>
                  <a:lnTo>
                    <a:pt x="18632" y="17071"/>
                  </a:lnTo>
                  <a:cubicBezTo>
                    <a:pt x="19138" y="17458"/>
                    <a:pt x="19818" y="17494"/>
                    <a:pt x="20359" y="17163"/>
                  </a:cubicBezTo>
                  <a:cubicBezTo>
                    <a:pt x="21600" y="16403"/>
                    <a:pt x="21524" y="14520"/>
                    <a:pt x="20226" y="13871"/>
                  </a:cubicBezTo>
                  <a:cubicBezTo>
                    <a:pt x="19707" y="12622"/>
                    <a:pt x="19161" y="11385"/>
                    <a:pt x="18588" y="10161"/>
                  </a:cubicBezTo>
                  <a:cubicBezTo>
                    <a:pt x="18105" y="9128"/>
                    <a:pt x="17603" y="8105"/>
                    <a:pt x="17082" y="7092"/>
                  </a:cubicBezTo>
                  <a:lnTo>
                    <a:pt x="16551" y="3382"/>
                  </a:lnTo>
                  <a:lnTo>
                    <a:pt x="15618" y="0"/>
                  </a:lnTo>
                  <a:close/>
                </a:path>
              </a:pathLst>
            </a:custGeom>
            <a:grpFill/>
            <a:ln w="25400" cap="flat">
              <a:noFill/>
              <a:prstDash val="solid"/>
              <a:miter lim="400000"/>
            </a:ln>
            <a:effectLst/>
          </p:spPr>
          <p:txBody>
            <a:bodyPr anchor="ctr"/>
            <a:lstStyle/>
            <a:p>
              <a:pPr algn="ctr"/>
              <a:endParaRPr/>
            </a:p>
          </p:txBody>
        </p:sp>
        <p:sp>
          <p:nvSpPr>
            <p:cNvPr id="101" name="íṩḻidè">
              <a:extLst>
                <a:ext uri="{FF2B5EF4-FFF2-40B4-BE49-F238E27FC236}">
                  <a16:creationId xmlns="" xmlns:p14="http://schemas.microsoft.com/office/powerpoint/2010/main" xmlns:a16="http://schemas.microsoft.com/office/drawing/2014/main" id="{0FEE6E9F-C193-4C28-B6C2-0893740F3602}"/>
                </a:ext>
              </a:extLst>
            </p:cNvPr>
            <p:cNvSpPr/>
            <p:nvPr/>
          </p:nvSpPr>
          <p:spPr>
            <a:xfrm>
              <a:off x="9187751" y="3843193"/>
              <a:ext cx="329761" cy="381201"/>
            </a:xfrm>
            <a:custGeom>
              <a:avLst/>
              <a:gdLst/>
              <a:ahLst/>
              <a:cxnLst>
                <a:cxn ang="0">
                  <a:pos x="wd2" y="hd2"/>
                </a:cxn>
                <a:cxn ang="5400000">
                  <a:pos x="wd2" y="hd2"/>
                </a:cxn>
                <a:cxn ang="10800000">
                  <a:pos x="wd2" y="hd2"/>
                </a:cxn>
                <a:cxn ang="16200000">
                  <a:pos x="wd2" y="hd2"/>
                </a:cxn>
              </a:cxnLst>
              <a:rect l="0" t="0" r="r" b="b"/>
              <a:pathLst>
                <a:path w="21600" h="21600" extrusionOk="0">
                  <a:moveTo>
                    <a:pt x="17693" y="182"/>
                  </a:moveTo>
                  <a:lnTo>
                    <a:pt x="19070" y="0"/>
                  </a:lnTo>
                  <a:lnTo>
                    <a:pt x="20340" y="1335"/>
                  </a:lnTo>
                  <a:lnTo>
                    <a:pt x="21003" y="2362"/>
                  </a:lnTo>
                  <a:lnTo>
                    <a:pt x="21600" y="2990"/>
                  </a:lnTo>
                  <a:lnTo>
                    <a:pt x="21001" y="3848"/>
                  </a:lnTo>
                  <a:lnTo>
                    <a:pt x="20512" y="4459"/>
                  </a:lnTo>
                  <a:lnTo>
                    <a:pt x="19915" y="5222"/>
                  </a:lnTo>
                  <a:lnTo>
                    <a:pt x="19382" y="6290"/>
                  </a:lnTo>
                  <a:lnTo>
                    <a:pt x="19382" y="7432"/>
                  </a:lnTo>
                  <a:lnTo>
                    <a:pt x="19626" y="8233"/>
                  </a:lnTo>
                  <a:lnTo>
                    <a:pt x="20490" y="9318"/>
                  </a:lnTo>
                  <a:lnTo>
                    <a:pt x="21464" y="10423"/>
                  </a:lnTo>
                  <a:lnTo>
                    <a:pt x="21531" y="12044"/>
                  </a:lnTo>
                  <a:lnTo>
                    <a:pt x="19671" y="12598"/>
                  </a:lnTo>
                  <a:lnTo>
                    <a:pt x="19271" y="13509"/>
                  </a:lnTo>
                  <a:lnTo>
                    <a:pt x="19427" y="14768"/>
                  </a:lnTo>
                  <a:lnTo>
                    <a:pt x="18783" y="15910"/>
                  </a:lnTo>
                  <a:lnTo>
                    <a:pt x="18030" y="16900"/>
                  </a:lnTo>
                  <a:lnTo>
                    <a:pt x="16831" y="17925"/>
                  </a:lnTo>
                  <a:lnTo>
                    <a:pt x="16378" y="19125"/>
                  </a:lnTo>
                  <a:lnTo>
                    <a:pt x="15584" y="20935"/>
                  </a:lnTo>
                  <a:lnTo>
                    <a:pt x="14482" y="21600"/>
                  </a:lnTo>
                  <a:lnTo>
                    <a:pt x="13585" y="21028"/>
                  </a:lnTo>
                  <a:lnTo>
                    <a:pt x="12212" y="20589"/>
                  </a:lnTo>
                  <a:lnTo>
                    <a:pt x="11498" y="20436"/>
                  </a:lnTo>
                  <a:lnTo>
                    <a:pt x="10252" y="20665"/>
                  </a:lnTo>
                  <a:lnTo>
                    <a:pt x="9540" y="20665"/>
                  </a:lnTo>
                  <a:lnTo>
                    <a:pt x="7603" y="20436"/>
                  </a:lnTo>
                  <a:lnTo>
                    <a:pt x="6274" y="20172"/>
                  </a:lnTo>
                  <a:lnTo>
                    <a:pt x="4280" y="19885"/>
                  </a:lnTo>
                  <a:lnTo>
                    <a:pt x="3374" y="19375"/>
                  </a:lnTo>
                  <a:lnTo>
                    <a:pt x="2783" y="17734"/>
                  </a:lnTo>
                  <a:lnTo>
                    <a:pt x="1530" y="16227"/>
                  </a:lnTo>
                  <a:cubicBezTo>
                    <a:pt x="1300" y="15735"/>
                    <a:pt x="1078" y="15241"/>
                    <a:pt x="863" y="14744"/>
                  </a:cubicBezTo>
                  <a:cubicBezTo>
                    <a:pt x="560" y="14044"/>
                    <a:pt x="273" y="13340"/>
                    <a:pt x="0" y="12631"/>
                  </a:cubicBezTo>
                  <a:lnTo>
                    <a:pt x="197" y="11603"/>
                  </a:lnTo>
                  <a:lnTo>
                    <a:pt x="1259" y="10406"/>
                  </a:lnTo>
                  <a:lnTo>
                    <a:pt x="2436" y="9948"/>
                  </a:lnTo>
                  <a:lnTo>
                    <a:pt x="2902" y="10864"/>
                  </a:lnTo>
                  <a:lnTo>
                    <a:pt x="3946" y="11529"/>
                  </a:lnTo>
                  <a:lnTo>
                    <a:pt x="4323" y="10976"/>
                  </a:lnTo>
                  <a:lnTo>
                    <a:pt x="4723" y="9946"/>
                  </a:lnTo>
                  <a:lnTo>
                    <a:pt x="5431" y="9223"/>
                  </a:lnTo>
                  <a:lnTo>
                    <a:pt x="6230" y="8765"/>
                  </a:lnTo>
                  <a:lnTo>
                    <a:pt x="7338" y="8307"/>
                  </a:lnTo>
                  <a:lnTo>
                    <a:pt x="8604" y="7735"/>
                  </a:lnTo>
                  <a:lnTo>
                    <a:pt x="9378" y="7184"/>
                  </a:lnTo>
                  <a:lnTo>
                    <a:pt x="10242" y="5586"/>
                  </a:lnTo>
                  <a:lnTo>
                    <a:pt x="10927" y="5033"/>
                  </a:lnTo>
                  <a:lnTo>
                    <a:pt x="11838" y="4480"/>
                  </a:lnTo>
                  <a:lnTo>
                    <a:pt x="12570" y="4251"/>
                  </a:lnTo>
                  <a:lnTo>
                    <a:pt x="13392" y="4041"/>
                  </a:lnTo>
                  <a:lnTo>
                    <a:pt x="14386" y="3302"/>
                  </a:lnTo>
                  <a:lnTo>
                    <a:pt x="15319" y="2405"/>
                  </a:lnTo>
                  <a:lnTo>
                    <a:pt x="16229" y="1451"/>
                  </a:lnTo>
                  <a:lnTo>
                    <a:pt x="17693" y="182"/>
                  </a:lnTo>
                  <a:close/>
                </a:path>
              </a:pathLst>
            </a:custGeom>
            <a:grpFill/>
            <a:ln w="25400" cap="flat">
              <a:noFill/>
              <a:prstDash val="solid"/>
              <a:miter lim="400000"/>
            </a:ln>
            <a:effectLst/>
          </p:spPr>
          <p:txBody>
            <a:bodyPr anchor="ctr"/>
            <a:lstStyle/>
            <a:p>
              <a:pPr algn="ctr"/>
              <a:endParaRPr/>
            </a:p>
          </p:txBody>
        </p:sp>
        <p:sp>
          <p:nvSpPr>
            <p:cNvPr id="102" name="iSḷiďe">
              <a:extLst>
                <a:ext uri="{FF2B5EF4-FFF2-40B4-BE49-F238E27FC236}">
                  <a16:creationId xmlns="" xmlns:p14="http://schemas.microsoft.com/office/powerpoint/2010/main" xmlns:a16="http://schemas.microsoft.com/office/drawing/2014/main" id="{4460EA5E-BD5F-4E28-85CC-E1934AEE8D2D}"/>
                </a:ext>
              </a:extLst>
            </p:cNvPr>
            <p:cNvSpPr/>
            <p:nvPr/>
          </p:nvSpPr>
          <p:spPr>
            <a:xfrm>
              <a:off x="9518950" y="4026819"/>
              <a:ext cx="221080" cy="264412"/>
            </a:xfrm>
            <a:custGeom>
              <a:avLst/>
              <a:gdLst/>
              <a:ahLst/>
              <a:cxnLst>
                <a:cxn ang="0">
                  <a:pos x="wd2" y="hd2"/>
                </a:cxn>
                <a:cxn ang="5400000">
                  <a:pos x="wd2" y="hd2"/>
                </a:cxn>
                <a:cxn ang="10800000">
                  <a:pos x="wd2" y="hd2"/>
                </a:cxn>
                <a:cxn ang="16200000">
                  <a:pos x="wd2" y="hd2"/>
                </a:cxn>
              </a:cxnLst>
              <a:rect l="0" t="0" r="r" b="b"/>
              <a:pathLst>
                <a:path w="21600" h="21600" extrusionOk="0">
                  <a:moveTo>
                    <a:pt x="21600" y="10"/>
                  </a:moveTo>
                  <a:lnTo>
                    <a:pt x="19302" y="0"/>
                  </a:lnTo>
                  <a:lnTo>
                    <a:pt x="18507" y="1508"/>
                  </a:lnTo>
                  <a:lnTo>
                    <a:pt x="16888" y="2495"/>
                  </a:lnTo>
                  <a:lnTo>
                    <a:pt x="15588" y="2660"/>
                  </a:lnTo>
                  <a:lnTo>
                    <a:pt x="14223" y="1866"/>
                  </a:lnTo>
                  <a:lnTo>
                    <a:pt x="11000" y="1783"/>
                  </a:lnTo>
                  <a:lnTo>
                    <a:pt x="9523" y="1673"/>
                  </a:lnTo>
                  <a:lnTo>
                    <a:pt x="7078" y="1838"/>
                  </a:lnTo>
                  <a:lnTo>
                    <a:pt x="3910" y="2828"/>
                  </a:lnTo>
                  <a:lnTo>
                    <a:pt x="3328" y="4063"/>
                  </a:lnTo>
                  <a:lnTo>
                    <a:pt x="3249" y="6070"/>
                  </a:lnTo>
                  <a:lnTo>
                    <a:pt x="3252" y="8298"/>
                  </a:lnTo>
                  <a:lnTo>
                    <a:pt x="3450" y="9618"/>
                  </a:lnTo>
                  <a:lnTo>
                    <a:pt x="3152" y="10719"/>
                  </a:lnTo>
                  <a:lnTo>
                    <a:pt x="1267" y="12420"/>
                  </a:lnTo>
                  <a:lnTo>
                    <a:pt x="0" y="14236"/>
                  </a:lnTo>
                  <a:lnTo>
                    <a:pt x="998" y="16436"/>
                  </a:lnTo>
                  <a:lnTo>
                    <a:pt x="1891" y="17340"/>
                  </a:lnTo>
                  <a:lnTo>
                    <a:pt x="2289" y="18739"/>
                  </a:lnTo>
                  <a:lnTo>
                    <a:pt x="1593" y="20390"/>
                  </a:lnTo>
                  <a:lnTo>
                    <a:pt x="2388" y="21600"/>
                  </a:lnTo>
                  <a:lnTo>
                    <a:pt x="4442" y="21352"/>
                  </a:lnTo>
                  <a:lnTo>
                    <a:pt x="5237" y="19733"/>
                  </a:lnTo>
                  <a:lnTo>
                    <a:pt x="4342" y="17643"/>
                  </a:lnTo>
                  <a:lnTo>
                    <a:pt x="3945" y="16161"/>
                  </a:lnTo>
                  <a:cubicBezTo>
                    <a:pt x="4074" y="15650"/>
                    <a:pt x="4347" y="15172"/>
                    <a:pt x="4740" y="14765"/>
                  </a:cubicBezTo>
                  <a:cubicBezTo>
                    <a:pt x="5266" y="14220"/>
                    <a:pt x="5984" y="13826"/>
                    <a:pt x="6793" y="13637"/>
                  </a:cubicBezTo>
                  <a:lnTo>
                    <a:pt x="8040" y="13310"/>
                  </a:lnTo>
                  <a:lnTo>
                    <a:pt x="8802" y="14576"/>
                  </a:lnTo>
                  <a:lnTo>
                    <a:pt x="8802" y="16635"/>
                  </a:lnTo>
                  <a:cubicBezTo>
                    <a:pt x="9210" y="17046"/>
                    <a:pt x="9677" y="17415"/>
                    <a:pt x="10193" y="17732"/>
                  </a:cubicBezTo>
                  <a:cubicBezTo>
                    <a:pt x="10742" y="18070"/>
                    <a:pt x="11342" y="18347"/>
                    <a:pt x="11978" y="18557"/>
                  </a:cubicBezTo>
                  <a:cubicBezTo>
                    <a:pt x="12325" y="18437"/>
                    <a:pt x="12624" y="18237"/>
                    <a:pt x="12839" y="17979"/>
                  </a:cubicBezTo>
                  <a:cubicBezTo>
                    <a:pt x="13328" y="17393"/>
                    <a:pt x="13328" y="16616"/>
                    <a:pt x="12839" y="16030"/>
                  </a:cubicBezTo>
                  <a:lnTo>
                    <a:pt x="12209" y="14548"/>
                  </a:lnTo>
                  <a:cubicBezTo>
                    <a:pt x="11711" y="14198"/>
                    <a:pt x="11335" y="13743"/>
                    <a:pt x="11120" y="13231"/>
                  </a:cubicBezTo>
                  <a:cubicBezTo>
                    <a:pt x="10817" y="12506"/>
                    <a:pt x="10852" y="11712"/>
                    <a:pt x="11220" y="11007"/>
                  </a:cubicBezTo>
                  <a:lnTo>
                    <a:pt x="12512" y="9934"/>
                  </a:lnTo>
                  <a:lnTo>
                    <a:pt x="14201" y="9109"/>
                  </a:lnTo>
                  <a:lnTo>
                    <a:pt x="15352" y="8700"/>
                  </a:lnTo>
                  <a:lnTo>
                    <a:pt x="14756" y="7572"/>
                  </a:lnTo>
                  <a:lnTo>
                    <a:pt x="12081" y="7903"/>
                  </a:lnTo>
                  <a:lnTo>
                    <a:pt x="8450" y="9109"/>
                  </a:lnTo>
                  <a:cubicBezTo>
                    <a:pt x="7962" y="9001"/>
                    <a:pt x="7496" y="8834"/>
                    <a:pt x="7067" y="8614"/>
                  </a:cubicBezTo>
                  <a:cubicBezTo>
                    <a:pt x="6290" y="8217"/>
                    <a:pt x="5653" y="7659"/>
                    <a:pt x="5216" y="6995"/>
                  </a:cubicBezTo>
                  <a:cubicBezTo>
                    <a:pt x="5085" y="6422"/>
                    <a:pt x="5085" y="5835"/>
                    <a:pt x="5216" y="5262"/>
                  </a:cubicBezTo>
                  <a:cubicBezTo>
                    <a:pt x="5343" y="4707"/>
                    <a:pt x="5600" y="4165"/>
                    <a:pt x="6106" y="3787"/>
                  </a:cubicBezTo>
                  <a:cubicBezTo>
                    <a:pt x="6720" y="3329"/>
                    <a:pt x="7565" y="3206"/>
                    <a:pt x="8388" y="3154"/>
                  </a:cubicBezTo>
                  <a:cubicBezTo>
                    <a:pt x="9337" y="3095"/>
                    <a:pt x="10291" y="3113"/>
                    <a:pt x="11236" y="3209"/>
                  </a:cubicBezTo>
                  <a:lnTo>
                    <a:pt x="12594" y="3347"/>
                  </a:lnTo>
                  <a:lnTo>
                    <a:pt x="13886" y="3787"/>
                  </a:lnTo>
                  <a:lnTo>
                    <a:pt x="15045" y="4475"/>
                  </a:lnTo>
                  <a:lnTo>
                    <a:pt x="16900" y="4695"/>
                  </a:lnTo>
                  <a:cubicBezTo>
                    <a:pt x="17689" y="4733"/>
                    <a:pt x="18466" y="4527"/>
                    <a:pt x="19083" y="4117"/>
                  </a:cubicBezTo>
                  <a:cubicBezTo>
                    <a:pt x="19535" y="3816"/>
                    <a:pt x="19878" y="3418"/>
                    <a:pt x="20076" y="2965"/>
                  </a:cubicBezTo>
                  <a:lnTo>
                    <a:pt x="21434" y="1511"/>
                  </a:lnTo>
                  <a:lnTo>
                    <a:pt x="21600" y="10"/>
                  </a:lnTo>
                  <a:close/>
                </a:path>
              </a:pathLst>
            </a:custGeom>
            <a:grpFill/>
            <a:ln w="25400" cap="flat">
              <a:noFill/>
              <a:prstDash val="solid"/>
              <a:miter lim="400000"/>
            </a:ln>
            <a:effectLst/>
          </p:spPr>
          <p:txBody>
            <a:bodyPr anchor="ctr"/>
            <a:lstStyle/>
            <a:p>
              <a:pPr algn="ctr"/>
              <a:endParaRPr/>
            </a:p>
          </p:txBody>
        </p:sp>
        <p:sp>
          <p:nvSpPr>
            <p:cNvPr id="103" name="işḷídê">
              <a:extLst>
                <a:ext uri="{FF2B5EF4-FFF2-40B4-BE49-F238E27FC236}">
                  <a16:creationId xmlns="" xmlns:p14="http://schemas.microsoft.com/office/powerpoint/2010/main" xmlns:a16="http://schemas.microsoft.com/office/drawing/2014/main" id="{B26460C8-A83E-4D5D-BBA8-D0383C3498E1}"/>
                </a:ext>
              </a:extLst>
            </p:cNvPr>
            <p:cNvSpPr/>
            <p:nvPr/>
          </p:nvSpPr>
          <p:spPr>
            <a:xfrm>
              <a:off x="9816350" y="3993819"/>
              <a:ext cx="41001" cy="103795"/>
            </a:xfrm>
            <a:custGeom>
              <a:avLst/>
              <a:gdLst/>
              <a:ahLst/>
              <a:cxnLst>
                <a:cxn ang="0">
                  <a:pos x="wd2" y="hd2"/>
                </a:cxn>
                <a:cxn ang="5400000">
                  <a:pos x="wd2" y="hd2"/>
                </a:cxn>
                <a:cxn ang="10800000">
                  <a:pos x="wd2" y="hd2"/>
                </a:cxn>
                <a:cxn ang="16200000">
                  <a:pos x="wd2" y="hd2"/>
                </a:cxn>
              </a:cxnLst>
              <a:rect l="0" t="0" r="r" b="b"/>
              <a:pathLst>
                <a:path w="21600" h="21600" extrusionOk="0">
                  <a:moveTo>
                    <a:pt x="17255" y="0"/>
                  </a:moveTo>
                  <a:lnTo>
                    <a:pt x="9754" y="981"/>
                  </a:lnTo>
                  <a:lnTo>
                    <a:pt x="6086" y="3566"/>
                  </a:lnTo>
                  <a:lnTo>
                    <a:pt x="1417" y="5861"/>
                  </a:lnTo>
                  <a:lnTo>
                    <a:pt x="4076" y="9434"/>
                  </a:lnTo>
                  <a:lnTo>
                    <a:pt x="6254" y="12097"/>
                  </a:lnTo>
                  <a:lnTo>
                    <a:pt x="3575" y="14050"/>
                  </a:lnTo>
                  <a:lnTo>
                    <a:pt x="383" y="15872"/>
                  </a:lnTo>
                  <a:lnTo>
                    <a:pt x="0" y="19016"/>
                  </a:lnTo>
                  <a:lnTo>
                    <a:pt x="9298" y="21600"/>
                  </a:lnTo>
                  <a:lnTo>
                    <a:pt x="16777" y="20549"/>
                  </a:lnTo>
                  <a:lnTo>
                    <a:pt x="17849" y="16774"/>
                  </a:lnTo>
                  <a:lnTo>
                    <a:pt x="17849" y="12999"/>
                  </a:lnTo>
                  <a:lnTo>
                    <a:pt x="14300" y="9426"/>
                  </a:lnTo>
                  <a:lnTo>
                    <a:pt x="11643" y="6290"/>
                  </a:lnTo>
                  <a:lnTo>
                    <a:pt x="13250" y="4118"/>
                  </a:lnTo>
                  <a:lnTo>
                    <a:pt x="21600" y="2454"/>
                  </a:lnTo>
                  <a:lnTo>
                    <a:pt x="17255" y="0"/>
                  </a:lnTo>
                  <a:close/>
                </a:path>
              </a:pathLst>
            </a:custGeom>
            <a:grpFill/>
            <a:ln w="25400" cap="flat">
              <a:noFill/>
              <a:prstDash val="solid"/>
              <a:miter lim="400000"/>
            </a:ln>
            <a:effectLst/>
          </p:spPr>
          <p:txBody>
            <a:bodyPr anchor="ctr"/>
            <a:lstStyle/>
            <a:p>
              <a:pPr algn="ctr"/>
              <a:endParaRPr/>
            </a:p>
          </p:txBody>
        </p:sp>
        <p:sp>
          <p:nvSpPr>
            <p:cNvPr id="104" name="iṩ1íḋê">
              <a:extLst>
                <a:ext uri="{FF2B5EF4-FFF2-40B4-BE49-F238E27FC236}">
                  <a16:creationId xmlns="" xmlns:p14="http://schemas.microsoft.com/office/powerpoint/2010/main" xmlns:a16="http://schemas.microsoft.com/office/drawing/2014/main" id="{0C081CF7-68EE-457F-9056-97344E931F1B}"/>
                </a:ext>
              </a:extLst>
            </p:cNvPr>
            <p:cNvSpPr/>
            <p:nvPr/>
          </p:nvSpPr>
          <p:spPr>
            <a:xfrm>
              <a:off x="9834437" y="4184237"/>
              <a:ext cx="82580" cy="37553"/>
            </a:xfrm>
            <a:custGeom>
              <a:avLst/>
              <a:gdLst/>
              <a:ahLst/>
              <a:cxnLst>
                <a:cxn ang="0">
                  <a:pos x="wd2" y="hd2"/>
                </a:cxn>
                <a:cxn ang="5400000">
                  <a:pos x="wd2" y="hd2"/>
                </a:cxn>
                <a:cxn ang="10800000">
                  <a:pos x="wd2" y="hd2"/>
                </a:cxn>
                <a:cxn ang="16200000">
                  <a:pos x="wd2" y="hd2"/>
                </a:cxn>
              </a:cxnLst>
              <a:rect l="0" t="0" r="r" b="b"/>
              <a:pathLst>
                <a:path w="21500" h="19363" extrusionOk="0">
                  <a:moveTo>
                    <a:pt x="5683" y="318"/>
                  </a:moveTo>
                  <a:lnTo>
                    <a:pt x="1027" y="1360"/>
                  </a:lnTo>
                  <a:lnTo>
                    <a:pt x="0" y="7059"/>
                  </a:lnTo>
                  <a:lnTo>
                    <a:pt x="2914" y="13850"/>
                  </a:lnTo>
                  <a:lnTo>
                    <a:pt x="8729" y="12808"/>
                  </a:lnTo>
                  <a:lnTo>
                    <a:pt x="9876" y="18864"/>
                  </a:lnTo>
                  <a:lnTo>
                    <a:pt x="14356" y="19363"/>
                  </a:lnTo>
                  <a:cubicBezTo>
                    <a:pt x="15680" y="17818"/>
                    <a:pt x="17000" y="16262"/>
                    <a:pt x="18317" y="14697"/>
                  </a:cubicBezTo>
                  <a:cubicBezTo>
                    <a:pt x="19936" y="12772"/>
                    <a:pt x="21600" y="10321"/>
                    <a:pt x="21495" y="6712"/>
                  </a:cubicBezTo>
                  <a:cubicBezTo>
                    <a:pt x="21234" y="-2237"/>
                    <a:pt x="14529" y="-2237"/>
                    <a:pt x="14268" y="6712"/>
                  </a:cubicBezTo>
                  <a:lnTo>
                    <a:pt x="10052" y="5498"/>
                  </a:lnTo>
                  <a:lnTo>
                    <a:pt x="5683" y="318"/>
                  </a:lnTo>
                  <a:close/>
                </a:path>
              </a:pathLst>
            </a:custGeom>
            <a:grpFill/>
            <a:ln w="25400" cap="flat">
              <a:noFill/>
              <a:prstDash val="solid"/>
              <a:miter lim="400000"/>
            </a:ln>
            <a:effectLst/>
          </p:spPr>
          <p:txBody>
            <a:bodyPr anchor="ctr"/>
            <a:lstStyle/>
            <a:p>
              <a:pPr algn="ctr"/>
              <a:endParaRPr/>
            </a:p>
          </p:txBody>
        </p:sp>
        <p:sp>
          <p:nvSpPr>
            <p:cNvPr id="105" name="ïṥliďé">
              <a:extLst>
                <a:ext uri="{FF2B5EF4-FFF2-40B4-BE49-F238E27FC236}">
                  <a16:creationId xmlns="" xmlns:p14="http://schemas.microsoft.com/office/powerpoint/2010/main" xmlns:a16="http://schemas.microsoft.com/office/drawing/2014/main" id="{B4F394E0-8DEF-4EEC-8920-22DEB299ADF1}"/>
                </a:ext>
              </a:extLst>
            </p:cNvPr>
            <p:cNvSpPr/>
            <p:nvPr/>
          </p:nvSpPr>
          <p:spPr>
            <a:xfrm>
              <a:off x="9664278" y="4387494"/>
              <a:ext cx="133525" cy="80961"/>
            </a:xfrm>
            <a:custGeom>
              <a:avLst/>
              <a:gdLst/>
              <a:ahLst/>
              <a:cxnLst>
                <a:cxn ang="0">
                  <a:pos x="wd2" y="hd2"/>
                </a:cxn>
                <a:cxn ang="5400000">
                  <a:pos x="wd2" y="hd2"/>
                </a:cxn>
                <a:cxn ang="10800000">
                  <a:pos x="wd2" y="hd2"/>
                </a:cxn>
                <a:cxn ang="16200000">
                  <a:pos x="wd2" y="hd2"/>
                </a:cxn>
              </a:cxnLst>
              <a:rect l="0" t="0" r="r" b="b"/>
              <a:pathLst>
                <a:path w="21600" h="21600" extrusionOk="0">
                  <a:moveTo>
                    <a:pt x="14152" y="0"/>
                  </a:moveTo>
                  <a:lnTo>
                    <a:pt x="10628" y="460"/>
                  </a:lnTo>
                  <a:lnTo>
                    <a:pt x="7726" y="4319"/>
                  </a:lnTo>
                  <a:lnTo>
                    <a:pt x="5627" y="8451"/>
                  </a:lnTo>
                  <a:lnTo>
                    <a:pt x="4174" y="14357"/>
                  </a:lnTo>
                  <a:lnTo>
                    <a:pt x="1935" y="16154"/>
                  </a:lnTo>
                  <a:lnTo>
                    <a:pt x="0" y="18468"/>
                  </a:lnTo>
                  <a:lnTo>
                    <a:pt x="1106" y="21600"/>
                  </a:lnTo>
                  <a:lnTo>
                    <a:pt x="6381" y="17839"/>
                  </a:lnTo>
                  <a:lnTo>
                    <a:pt x="8410" y="9597"/>
                  </a:lnTo>
                  <a:lnTo>
                    <a:pt x="11042" y="7530"/>
                  </a:lnTo>
                  <a:lnTo>
                    <a:pt x="13668" y="8597"/>
                  </a:lnTo>
                  <a:lnTo>
                    <a:pt x="17384" y="8597"/>
                  </a:lnTo>
                  <a:lnTo>
                    <a:pt x="21600" y="6531"/>
                  </a:lnTo>
                  <a:lnTo>
                    <a:pt x="19790" y="883"/>
                  </a:lnTo>
                  <a:lnTo>
                    <a:pt x="16677" y="3399"/>
                  </a:lnTo>
                  <a:lnTo>
                    <a:pt x="14152" y="0"/>
                  </a:lnTo>
                  <a:close/>
                </a:path>
              </a:pathLst>
            </a:custGeom>
            <a:grpFill/>
            <a:ln w="25400" cap="flat">
              <a:noFill/>
              <a:prstDash val="solid"/>
              <a:miter lim="400000"/>
            </a:ln>
            <a:effectLst/>
          </p:spPr>
          <p:txBody>
            <a:bodyPr anchor="ctr"/>
            <a:lstStyle/>
            <a:p>
              <a:pPr algn="ctr"/>
              <a:endParaRPr/>
            </a:p>
          </p:txBody>
        </p:sp>
        <p:sp>
          <p:nvSpPr>
            <p:cNvPr id="106" name="îṥ1íde">
              <a:extLst>
                <a:ext uri="{FF2B5EF4-FFF2-40B4-BE49-F238E27FC236}">
                  <a16:creationId xmlns="" xmlns:p14="http://schemas.microsoft.com/office/powerpoint/2010/main" xmlns:a16="http://schemas.microsoft.com/office/drawing/2014/main" id="{1BD52943-D120-4A10-8B9F-748224A108D1}"/>
                </a:ext>
              </a:extLst>
            </p:cNvPr>
            <p:cNvSpPr/>
            <p:nvPr/>
          </p:nvSpPr>
          <p:spPr>
            <a:xfrm>
              <a:off x="9557284" y="4379124"/>
              <a:ext cx="90437" cy="43332"/>
            </a:xfrm>
            <a:custGeom>
              <a:avLst/>
              <a:gdLst/>
              <a:ahLst/>
              <a:cxnLst>
                <a:cxn ang="0">
                  <a:pos x="wd2" y="hd2"/>
                </a:cxn>
                <a:cxn ang="5400000">
                  <a:pos x="wd2" y="hd2"/>
                </a:cxn>
                <a:cxn ang="10800000">
                  <a:pos x="wd2" y="hd2"/>
                </a:cxn>
                <a:cxn ang="16200000">
                  <a:pos x="wd2" y="hd2"/>
                </a:cxn>
              </a:cxnLst>
              <a:rect l="0" t="0" r="r" b="b"/>
              <a:pathLst>
                <a:path w="20127" h="20202" extrusionOk="0">
                  <a:moveTo>
                    <a:pt x="8120" y="1413"/>
                  </a:moveTo>
                  <a:lnTo>
                    <a:pt x="2989" y="0"/>
                  </a:lnTo>
                  <a:lnTo>
                    <a:pt x="0" y="4386"/>
                  </a:lnTo>
                  <a:lnTo>
                    <a:pt x="2074" y="13178"/>
                  </a:lnTo>
                  <a:lnTo>
                    <a:pt x="6156" y="20202"/>
                  </a:lnTo>
                  <a:lnTo>
                    <a:pt x="9392" y="20202"/>
                  </a:lnTo>
                  <a:cubicBezTo>
                    <a:pt x="9507" y="17730"/>
                    <a:pt x="10179" y="15518"/>
                    <a:pt x="11202" y="14238"/>
                  </a:cubicBezTo>
                  <a:cubicBezTo>
                    <a:pt x="12897" y="12117"/>
                    <a:pt x="14975" y="13081"/>
                    <a:pt x="16937" y="12982"/>
                  </a:cubicBezTo>
                  <a:cubicBezTo>
                    <a:pt x="17858" y="12935"/>
                    <a:pt x="18816" y="12577"/>
                    <a:pt x="19418" y="11137"/>
                  </a:cubicBezTo>
                  <a:cubicBezTo>
                    <a:pt x="21600" y="5910"/>
                    <a:pt x="18293" y="-1398"/>
                    <a:pt x="15654" y="2817"/>
                  </a:cubicBezTo>
                  <a:lnTo>
                    <a:pt x="11513" y="7369"/>
                  </a:lnTo>
                  <a:lnTo>
                    <a:pt x="8120" y="1413"/>
                  </a:lnTo>
                  <a:close/>
                </a:path>
              </a:pathLst>
            </a:custGeom>
            <a:grpFill/>
            <a:ln w="25400" cap="flat">
              <a:noFill/>
              <a:prstDash val="solid"/>
              <a:miter lim="400000"/>
            </a:ln>
            <a:effectLst/>
          </p:spPr>
          <p:txBody>
            <a:bodyPr anchor="ctr"/>
            <a:lstStyle/>
            <a:p>
              <a:pPr algn="ctr"/>
              <a:endParaRPr/>
            </a:p>
          </p:txBody>
        </p:sp>
        <p:sp>
          <p:nvSpPr>
            <p:cNvPr id="107" name="iṧḻïďé">
              <a:extLst>
                <a:ext uri="{FF2B5EF4-FFF2-40B4-BE49-F238E27FC236}">
                  <a16:creationId xmlns="" xmlns:p14="http://schemas.microsoft.com/office/powerpoint/2010/main" xmlns:a16="http://schemas.microsoft.com/office/drawing/2014/main" id="{F824C1B0-A2D0-42FE-8EF0-EE5AF90196F0}"/>
                </a:ext>
              </a:extLst>
            </p:cNvPr>
            <p:cNvSpPr/>
            <p:nvPr/>
          </p:nvSpPr>
          <p:spPr>
            <a:xfrm>
              <a:off x="9429485" y="4387992"/>
              <a:ext cx="74217" cy="35014"/>
            </a:xfrm>
            <a:custGeom>
              <a:avLst/>
              <a:gdLst/>
              <a:ahLst/>
              <a:cxnLst>
                <a:cxn ang="0">
                  <a:pos x="wd2" y="hd2"/>
                </a:cxn>
                <a:cxn ang="5400000">
                  <a:pos x="wd2" y="hd2"/>
                </a:cxn>
                <a:cxn ang="10800000">
                  <a:pos x="wd2" y="hd2"/>
                </a:cxn>
                <a:cxn ang="16200000">
                  <a:pos x="wd2" y="hd2"/>
                </a:cxn>
              </a:cxnLst>
              <a:rect l="0" t="0" r="r" b="b"/>
              <a:pathLst>
                <a:path w="21600" h="21600" extrusionOk="0">
                  <a:moveTo>
                    <a:pt x="11859" y="1149"/>
                  </a:moveTo>
                  <a:lnTo>
                    <a:pt x="16794" y="1980"/>
                  </a:lnTo>
                  <a:lnTo>
                    <a:pt x="20811" y="5943"/>
                  </a:lnTo>
                  <a:lnTo>
                    <a:pt x="21600" y="15447"/>
                  </a:lnTo>
                  <a:lnTo>
                    <a:pt x="15100" y="14824"/>
                  </a:lnTo>
                  <a:lnTo>
                    <a:pt x="10412" y="21600"/>
                  </a:lnTo>
                  <a:lnTo>
                    <a:pt x="4161" y="15786"/>
                  </a:lnTo>
                  <a:lnTo>
                    <a:pt x="0" y="8515"/>
                  </a:lnTo>
                  <a:lnTo>
                    <a:pt x="3564" y="3114"/>
                  </a:lnTo>
                  <a:lnTo>
                    <a:pt x="8770" y="0"/>
                  </a:lnTo>
                  <a:lnTo>
                    <a:pt x="11859" y="1149"/>
                  </a:lnTo>
                  <a:close/>
                </a:path>
              </a:pathLst>
            </a:custGeom>
            <a:grpFill/>
            <a:ln w="25400" cap="flat">
              <a:noFill/>
              <a:prstDash val="solid"/>
              <a:miter lim="400000"/>
            </a:ln>
            <a:effectLst/>
          </p:spPr>
          <p:txBody>
            <a:bodyPr anchor="ctr"/>
            <a:lstStyle/>
            <a:p>
              <a:pPr algn="ctr"/>
              <a:endParaRPr/>
            </a:p>
          </p:txBody>
        </p:sp>
        <p:sp>
          <p:nvSpPr>
            <p:cNvPr id="108" name="ïṡlïḓè">
              <a:extLst>
                <a:ext uri="{FF2B5EF4-FFF2-40B4-BE49-F238E27FC236}">
                  <a16:creationId xmlns="" xmlns:p14="http://schemas.microsoft.com/office/powerpoint/2010/main" xmlns:a16="http://schemas.microsoft.com/office/drawing/2014/main" id="{AD1C80F0-D44B-496D-B255-755F711A3354}"/>
                </a:ext>
              </a:extLst>
            </p:cNvPr>
            <p:cNvSpPr/>
            <p:nvPr/>
          </p:nvSpPr>
          <p:spPr>
            <a:xfrm>
              <a:off x="9520068" y="4428015"/>
              <a:ext cx="55095" cy="31317"/>
            </a:xfrm>
            <a:custGeom>
              <a:avLst/>
              <a:gdLst/>
              <a:ahLst/>
              <a:cxnLst>
                <a:cxn ang="0">
                  <a:pos x="wd2" y="hd2"/>
                </a:cxn>
                <a:cxn ang="5400000">
                  <a:pos x="wd2" y="hd2"/>
                </a:cxn>
                <a:cxn ang="10800000">
                  <a:pos x="wd2" y="hd2"/>
                </a:cxn>
                <a:cxn ang="16200000">
                  <a:pos x="wd2" y="hd2"/>
                </a:cxn>
              </a:cxnLst>
              <a:rect l="0" t="0" r="r" b="b"/>
              <a:pathLst>
                <a:path w="21600" h="21600" extrusionOk="0">
                  <a:moveTo>
                    <a:pt x="7893" y="1028"/>
                  </a:moveTo>
                  <a:lnTo>
                    <a:pt x="16832" y="971"/>
                  </a:lnTo>
                  <a:lnTo>
                    <a:pt x="20420" y="11208"/>
                  </a:lnTo>
                  <a:lnTo>
                    <a:pt x="21600" y="21600"/>
                  </a:lnTo>
                  <a:lnTo>
                    <a:pt x="16982" y="18870"/>
                  </a:lnTo>
                  <a:lnTo>
                    <a:pt x="11664" y="14489"/>
                  </a:lnTo>
                  <a:lnTo>
                    <a:pt x="5019" y="13095"/>
                  </a:lnTo>
                  <a:lnTo>
                    <a:pt x="0" y="8275"/>
                  </a:lnTo>
                  <a:lnTo>
                    <a:pt x="451" y="0"/>
                  </a:lnTo>
                  <a:lnTo>
                    <a:pt x="7893" y="1028"/>
                  </a:lnTo>
                  <a:close/>
                </a:path>
              </a:pathLst>
            </a:custGeom>
            <a:grpFill/>
            <a:ln w="25400" cap="flat">
              <a:noFill/>
              <a:prstDash val="solid"/>
              <a:miter lim="400000"/>
            </a:ln>
            <a:effectLst/>
          </p:spPr>
          <p:txBody>
            <a:bodyPr anchor="ctr"/>
            <a:lstStyle/>
            <a:p>
              <a:pPr algn="ctr"/>
              <a:endParaRPr/>
            </a:p>
          </p:txBody>
        </p:sp>
        <p:sp>
          <p:nvSpPr>
            <p:cNvPr id="109" name="íṥ1iḋe">
              <a:extLst>
                <a:ext uri="{FF2B5EF4-FFF2-40B4-BE49-F238E27FC236}">
                  <a16:creationId xmlns="" xmlns:p14="http://schemas.microsoft.com/office/powerpoint/2010/main" xmlns:a16="http://schemas.microsoft.com/office/drawing/2014/main" id="{576B6E19-6CAD-4713-B6FA-95D6A9EDCBC2}"/>
                </a:ext>
              </a:extLst>
            </p:cNvPr>
            <p:cNvSpPr/>
            <p:nvPr/>
          </p:nvSpPr>
          <p:spPr>
            <a:xfrm>
              <a:off x="9067733" y="4304888"/>
              <a:ext cx="331335" cy="94555"/>
            </a:xfrm>
            <a:custGeom>
              <a:avLst/>
              <a:gdLst/>
              <a:ahLst/>
              <a:cxnLst>
                <a:cxn ang="0">
                  <a:pos x="wd2" y="hd2"/>
                </a:cxn>
                <a:cxn ang="5400000">
                  <a:pos x="wd2" y="hd2"/>
                </a:cxn>
                <a:cxn ang="10800000">
                  <a:pos x="wd2" y="hd2"/>
                </a:cxn>
                <a:cxn ang="16200000">
                  <a:pos x="wd2" y="hd2"/>
                </a:cxn>
              </a:cxnLst>
              <a:rect l="0" t="0" r="r" b="b"/>
              <a:pathLst>
                <a:path w="21600" h="21600" extrusionOk="0">
                  <a:moveTo>
                    <a:pt x="3462" y="0"/>
                  </a:moveTo>
                  <a:lnTo>
                    <a:pt x="5763" y="1193"/>
                  </a:lnTo>
                  <a:lnTo>
                    <a:pt x="7140" y="6505"/>
                  </a:lnTo>
                  <a:lnTo>
                    <a:pt x="8532" y="9504"/>
                  </a:lnTo>
                  <a:lnTo>
                    <a:pt x="10248" y="8812"/>
                  </a:lnTo>
                  <a:lnTo>
                    <a:pt x="11883" y="6582"/>
                  </a:lnTo>
                  <a:lnTo>
                    <a:pt x="13403" y="5274"/>
                  </a:lnTo>
                  <a:lnTo>
                    <a:pt x="14790" y="7803"/>
                  </a:lnTo>
                  <a:lnTo>
                    <a:pt x="15917" y="11562"/>
                  </a:lnTo>
                  <a:lnTo>
                    <a:pt x="17221" y="12706"/>
                  </a:lnTo>
                  <a:lnTo>
                    <a:pt x="18945" y="12706"/>
                  </a:lnTo>
                  <a:lnTo>
                    <a:pt x="21465" y="16859"/>
                  </a:lnTo>
                  <a:lnTo>
                    <a:pt x="21600" y="19533"/>
                  </a:lnTo>
                  <a:lnTo>
                    <a:pt x="21006" y="21369"/>
                  </a:lnTo>
                  <a:lnTo>
                    <a:pt x="19970" y="21600"/>
                  </a:lnTo>
                  <a:lnTo>
                    <a:pt x="18003" y="19138"/>
                  </a:lnTo>
                  <a:lnTo>
                    <a:pt x="15022" y="18215"/>
                  </a:lnTo>
                  <a:lnTo>
                    <a:pt x="11204" y="18215"/>
                  </a:lnTo>
                  <a:lnTo>
                    <a:pt x="9900" y="15985"/>
                  </a:lnTo>
                  <a:lnTo>
                    <a:pt x="8817" y="13601"/>
                  </a:lnTo>
                  <a:lnTo>
                    <a:pt x="7759" y="13380"/>
                  </a:lnTo>
                  <a:lnTo>
                    <a:pt x="6457" y="15686"/>
                  </a:lnTo>
                  <a:cubicBezTo>
                    <a:pt x="6016" y="15792"/>
                    <a:pt x="5574" y="15767"/>
                    <a:pt x="5134" y="15610"/>
                  </a:cubicBezTo>
                  <a:cubicBezTo>
                    <a:pt x="4240" y="15293"/>
                    <a:pt x="3369" y="14440"/>
                    <a:pt x="2559" y="13091"/>
                  </a:cubicBezTo>
                  <a:cubicBezTo>
                    <a:pt x="2427" y="12283"/>
                    <a:pt x="2248" y="11576"/>
                    <a:pt x="2036" y="11014"/>
                  </a:cubicBezTo>
                  <a:cubicBezTo>
                    <a:pt x="1623" y="9923"/>
                    <a:pt x="1105" y="9427"/>
                    <a:pt x="590" y="9629"/>
                  </a:cubicBezTo>
                  <a:lnTo>
                    <a:pt x="0" y="6938"/>
                  </a:lnTo>
                  <a:lnTo>
                    <a:pt x="743" y="3332"/>
                  </a:lnTo>
                  <a:lnTo>
                    <a:pt x="1495" y="2410"/>
                  </a:lnTo>
                  <a:lnTo>
                    <a:pt x="3462" y="0"/>
                  </a:lnTo>
                  <a:close/>
                </a:path>
              </a:pathLst>
            </a:custGeom>
            <a:grpFill/>
            <a:ln w="25400" cap="flat">
              <a:noFill/>
              <a:prstDash val="solid"/>
              <a:miter lim="400000"/>
            </a:ln>
            <a:effectLst/>
          </p:spPr>
          <p:txBody>
            <a:bodyPr anchor="ctr"/>
            <a:lstStyle/>
            <a:p>
              <a:pPr algn="ctr"/>
              <a:endParaRPr/>
            </a:p>
          </p:txBody>
        </p:sp>
        <p:sp>
          <p:nvSpPr>
            <p:cNvPr id="110" name="ïşliḋè">
              <a:extLst>
                <a:ext uri="{FF2B5EF4-FFF2-40B4-BE49-F238E27FC236}">
                  <a16:creationId xmlns="" xmlns:p14="http://schemas.microsoft.com/office/powerpoint/2010/main" xmlns:a16="http://schemas.microsoft.com/office/drawing/2014/main" id="{F056C68F-9978-409C-A6E2-D6CC91EB3B35}"/>
                </a:ext>
              </a:extLst>
            </p:cNvPr>
            <p:cNvSpPr/>
            <p:nvPr/>
          </p:nvSpPr>
          <p:spPr>
            <a:xfrm>
              <a:off x="8739813" y="3881623"/>
              <a:ext cx="352969" cy="414364"/>
            </a:xfrm>
            <a:custGeom>
              <a:avLst/>
              <a:gdLst/>
              <a:ahLst/>
              <a:cxnLst>
                <a:cxn ang="0">
                  <a:pos x="wd2" y="hd2"/>
                </a:cxn>
                <a:cxn ang="5400000">
                  <a:pos x="wd2" y="hd2"/>
                </a:cxn>
                <a:cxn ang="10800000">
                  <a:pos x="wd2" y="hd2"/>
                </a:cxn>
                <a:cxn ang="16200000">
                  <a:pos x="wd2" y="hd2"/>
                </a:cxn>
              </a:cxnLst>
              <a:rect l="0" t="0" r="r" b="b"/>
              <a:pathLst>
                <a:path w="21600" h="21600" extrusionOk="0">
                  <a:moveTo>
                    <a:pt x="0" y="184"/>
                  </a:moveTo>
                  <a:lnTo>
                    <a:pt x="993" y="0"/>
                  </a:lnTo>
                  <a:lnTo>
                    <a:pt x="1986" y="598"/>
                  </a:lnTo>
                  <a:lnTo>
                    <a:pt x="2816" y="1157"/>
                  </a:lnTo>
                  <a:lnTo>
                    <a:pt x="4289" y="1420"/>
                  </a:lnTo>
                  <a:lnTo>
                    <a:pt x="5451" y="2210"/>
                  </a:lnTo>
                  <a:lnTo>
                    <a:pt x="5555" y="3015"/>
                  </a:lnTo>
                  <a:lnTo>
                    <a:pt x="6776" y="3171"/>
                  </a:lnTo>
                  <a:lnTo>
                    <a:pt x="7274" y="4172"/>
                  </a:lnTo>
                  <a:lnTo>
                    <a:pt x="7521" y="5067"/>
                  </a:lnTo>
                  <a:lnTo>
                    <a:pt x="8703" y="5646"/>
                  </a:lnTo>
                  <a:lnTo>
                    <a:pt x="10010" y="6313"/>
                  </a:lnTo>
                  <a:lnTo>
                    <a:pt x="11379" y="7204"/>
                  </a:lnTo>
                  <a:lnTo>
                    <a:pt x="13037" y="8026"/>
                  </a:lnTo>
                  <a:lnTo>
                    <a:pt x="14033" y="8799"/>
                  </a:lnTo>
                  <a:lnTo>
                    <a:pt x="14551" y="9185"/>
                  </a:lnTo>
                  <a:lnTo>
                    <a:pt x="15132" y="9746"/>
                  </a:lnTo>
                  <a:lnTo>
                    <a:pt x="15630" y="10424"/>
                  </a:lnTo>
                  <a:lnTo>
                    <a:pt x="15570" y="11405"/>
                  </a:lnTo>
                  <a:lnTo>
                    <a:pt x="15570" y="12087"/>
                  </a:lnTo>
                  <a:lnTo>
                    <a:pt x="16649" y="12471"/>
                  </a:lnTo>
                  <a:lnTo>
                    <a:pt x="17617" y="13079"/>
                  </a:lnTo>
                  <a:lnTo>
                    <a:pt x="17866" y="14746"/>
                  </a:lnTo>
                  <a:lnTo>
                    <a:pt x="19276" y="15306"/>
                  </a:lnTo>
                  <a:lnTo>
                    <a:pt x="20065" y="16197"/>
                  </a:lnTo>
                  <a:lnTo>
                    <a:pt x="20874" y="16512"/>
                  </a:lnTo>
                  <a:lnTo>
                    <a:pt x="21247" y="17881"/>
                  </a:lnTo>
                  <a:lnTo>
                    <a:pt x="21600" y="18880"/>
                  </a:lnTo>
                  <a:lnTo>
                    <a:pt x="20980" y="20073"/>
                  </a:lnTo>
                  <a:lnTo>
                    <a:pt x="19738" y="21284"/>
                  </a:lnTo>
                  <a:lnTo>
                    <a:pt x="18825" y="21600"/>
                  </a:lnTo>
                  <a:lnTo>
                    <a:pt x="17920" y="20918"/>
                  </a:lnTo>
                  <a:lnTo>
                    <a:pt x="16761" y="20657"/>
                  </a:lnTo>
                  <a:lnTo>
                    <a:pt x="16221" y="20130"/>
                  </a:lnTo>
                  <a:lnTo>
                    <a:pt x="15871" y="19375"/>
                  </a:lnTo>
                  <a:lnTo>
                    <a:pt x="14730" y="18518"/>
                  </a:lnTo>
                  <a:lnTo>
                    <a:pt x="12845" y="16958"/>
                  </a:lnTo>
                  <a:cubicBezTo>
                    <a:pt x="12017" y="16567"/>
                    <a:pt x="11468" y="15860"/>
                    <a:pt x="11372" y="15062"/>
                  </a:cubicBezTo>
                  <a:cubicBezTo>
                    <a:pt x="11299" y="14464"/>
                    <a:pt x="11495" y="13846"/>
                    <a:pt x="11270" y="13272"/>
                  </a:cubicBezTo>
                  <a:cubicBezTo>
                    <a:pt x="11040" y="12683"/>
                    <a:pt x="10437" y="12286"/>
                    <a:pt x="9880" y="11886"/>
                  </a:cubicBezTo>
                  <a:cubicBezTo>
                    <a:pt x="9302" y="11470"/>
                    <a:pt x="8755" y="11024"/>
                    <a:pt x="8241" y="10552"/>
                  </a:cubicBezTo>
                  <a:lnTo>
                    <a:pt x="7806" y="8674"/>
                  </a:lnTo>
                  <a:lnTo>
                    <a:pt x="6997" y="7096"/>
                  </a:lnTo>
                  <a:lnTo>
                    <a:pt x="5321" y="5752"/>
                  </a:lnTo>
                  <a:lnTo>
                    <a:pt x="3277" y="4023"/>
                  </a:lnTo>
                  <a:lnTo>
                    <a:pt x="2077" y="3410"/>
                  </a:lnTo>
                  <a:lnTo>
                    <a:pt x="505" y="1818"/>
                  </a:lnTo>
                  <a:lnTo>
                    <a:pt x="256" y="1168"/>
                  </a:lnTo>
                  <a:lnTo>
                    <a:pt x="0" y="184"/>
                  </a:lnTo>
                  <a:close/>
                </a:path>
              </a:pathLst>
            </a:custGeom>
            <a:grpFill/>
            <a:ln w="25400" cap="flat">
              <a:noFill/>
              <a:prstDash val="solid"/>
              <a:miter lim="400000"/>
            </a:ln>
            <a:effectLst/>
          </p:spPr>
          <p:txBody>
            <a:bodyPr anchor="ctr"/>
            <a:lstStyle/>
            <a:p>
              <a:pPr algn="ctr"/>
              <a:endParaRPr/>
            </a:p>
          </p:txBody>
        </p:sp>
        <p:sp>
          <p:nvSpPr>
            <p:cNvPr id="111" name="iş1iḑè">
              <a:extLst>
                <a:ext uri="{FF2B5EF4-FFF2-40B4-BE49-F238E27FC236}">
                  <a16:creationId xmlns="" xmlns:p14="http://schemas.microsoft.com/office/powerpoint/2010/main" xmlns:a16="http://schemas.microsoft.com/office/drawing/2014/main" id="{53C804A7-A680-43FA-9A02-53BA97E175F4}"/>
                </a:ext>
              </a:extLst>
            </p:cNvPr>
            <p:cNvSpPr/>
            <p:nvPr/>
          </p:nvSpPr>
          <p:spPr>
            <a:xfrm>
              <a:off x="8199229" y="3742697"/>
              <a:ext cx="76119" cy="114668"/>
            </a:xfrm>
            <a:custGeom>
              <a:avLst/>
              <a:gdLst/>
              <a:ahLst/>
              <a:cxnLst>
                <a:cxn ang="0">
                  <a:pos x="wd2" y="hd2"/>
                </a:cxn>
                <a:cxn ang="5400000">
                  <a:pos x="wd2" y="hd2"/>
                </a:cxn>
                <a:cxn ang="10800000">
                  <a:pos x="wd2" y="hd2"/>
                </a:cxn>
                <a:cxn ang="16200000">
                  <a:pos x="wd2" y="hd2"/>
                </a:cxn>
              </a:cxnLst>
              <a:rect l="0" t="0" r="r" b="b"/>
              <a:pathLst>
                <a:path w="21600" h="21600" extrusionOk="0">
                  <a:moveTo>
                    <a:pt x="4600" y="0"/>
                  </a:moveTo>
                  <a:lnTo>
                    <a:pt x="8713" y="182"/>
                  </a:lnTo>
                  <a:lnTo>
                    <a:pt x="10921" y="4429"/>
                  </a:lnTo>
                  <a:lnTo>
                    <a:pt x="14685" y="8044"/>
                  </a:lnTo>
                  <a:lnTo>
                    <a:pt x="18425" y="9946"/>
                  </a:lnTo>
                  <a:lnTo>
                    <a:pt x="21600" y="14767"/>
                  </a:lnTo>
                  <a:lnTo>
                    <a:pt x="19964" y="17676"/>
                  </a:lnTo>
                  <a:lnTo>
                    <a:pt x="13230" y="21600"/>
                  </a:lnTo>
                  <a:lnTo>
                    <a:pt x="5665" y="20649"/>
                  </a:lnTo>
                  <a:lnTo>
                    <a:pt x="3657" y="18389"/>
                  </a:lnTo>
                  <a:lnTo>
                    <a:pt x="2585" y="13196"/>
                  </a:lnTo>
                  <a:lnTo>
                    <a:pt x="0" y="7869"/>
                  </a:lnTo>
                  <a:lnTo>
                    <a:pt x="285" y="4698"/>
                  </a:lnTo>
                  <a:lnTo>
                    <a:pt x="4600" y="0"/>
                  </a:lnTo>
                  <a:close/>
                </a:path>
              </a:pathLst>
            </a:custGeom>
            <a:grpFill/>
            <a:ln w="25400" cap="flat">
              <a:noFill/>
              <a:prstDash val="solid"/>
              <a:miter lim="400000"/>
            </a:ln>
            <a:effectLst/>
          </p:spPr>
          <p:txBody>
            <a:bodyPr anchor="ctr"/>
            <a:lstStyle/>
            <a:p>
              <a:pPr algn="ctr"/>
              <a:endParaRPr/>
            </a:p>
          </p:txBody>
        </p:sp>
        <p:sp>
          <p:nvSpPr>
            <p:cNvPr id="112" name="iŝḻîḋe">
              <a:extLst>
                <a:ext uri="{FF2B5EF4-FFF2-40B4-BE49-F238E27FC236}">
                  <a16:creationId xmlns="" xmlns:p14="http://schemas.microsoft.com/office/powerpoint/2010/main" xmlns:a16="http://schemas.microsoft.com/office/drawing/2014/main" id="{BEBAEDB5-8AEE-486E-99EE-E91DDEF52B2D}"/>
                </a:ext>
              </a:extLst>
            </p:cNvPr>
            <p:cNvSpPr/>
            <p:nvPr/>
          </p:nvSpPr>
          <p:spPr>
            <a:xfrm>
              <a:off x="7957224" y="3867942"/>
              <a:ext cx="20203" cy="24844"/>
            </a:xfrm>
            <a:custGeom>
              <a:avLst/>
              <a:gdLst/>
              <a:ahLst/>
              <a:cxnLst>
                <a:cxn ang="0">
                  <a:pos x="wd2" y="hd2"/>
                </a:cxn>
                <a:cxn ang="5400000">
                  <a:pos x="wd2" y="hd2"/>
                </a:cxn>
                <a:cxn ang="10800000">
                  <a:pos x="wd2" y="hd2"/>
                </a:cxn>
                <a:cxn ang="16200000">
                  <a:pos x="wd2" y="hd2"/>
                </a:cxn>
              </a:cxnLst>
              <a:rect l="0" t="0" r="r" b="b"/>
              <a:pathLst>
                <a:path w="21600" h="21600" extrusionOk="0">
                  <a:moveTo>
                    <a:pt x="8606" y="3000"/>
                  </a:moveTo>
                  <a:lnTo>
                    <a:pt x="21600" y="0"/>
                  </a:lnTo>
                  <a:lnTo>
                    <a:pt x="18445" y="10511"/>
                  </a:lnTo>
                  <a:lnTo>
                    <a:pt x="15227" y="21600"/>
                  </a:lnTo>
                  <a:lnTo>
                    <a:pt x="0" y="20686"/>
                  </a:lnTo>
                  <a:lnTo>
                    <a:pt x="8606" y="3000"/>
                  </a:lnTo>
                  <a:close/>
                </a:path>
              </a:pathLst>
            </a:custGeom>
            <a:grpFill/>
            <a:ln w="25400" cap="flat">
              <a:noFill/>
              <a:prstDash val="solid"/>
              <a:miter lim="400000"/>
            </a:ln>
            <a:effectLst/>
          </p:spPr>
          <p:txBody>
            <a:bodyPr anchor="ctr"/>
            <a:lstStyle/>
            <a:p>
              <a:pPr algn="ctr"/>
              <a:endParaRPr/>
            </a:p>
          </p:txBody>
        </p:sp>
        <p:sp>
          <p:nvSpPr>
            <p:cNvPr id="113" name="ïṡļíḍê">
              <a:extLst>
                <a:ext uri="{FF2B5EF4-FFF2-40B4-BE49-F238E27FC236}">
                  <a16:creationId xmlns="" xmlns:p14="http://schemas.microsoft.com/office/powerpoint/2010/main" xmlns:a16="http://schemas.microsoft.com/office/drawing/2014/main" id="{E3E8C13C-7ECE-4FC7-9598-40707A6FC8C2}"/>
                </a:ext>
              </a:extLst>
            </p:cNvPr>
            <p:cNvSpPr/>
            <p:nvPr/>
          </p:nvSpPr>
          <p:spPr>
            <a:xfrm>
              <a:off x="7953865" y="3917350"/>
              <a:ext cx="21543" cy="20151"/>
            </a:xfrm>
            <a:custGeom>
              <a:avLst/>
              <a:gdLst/>
              <a:ahLst/>
              <a:cxnLst>
                <a:cxn ang="0">
                  <a:pos x="wd2" y="hd2"/>
                </a:cxn>
                <a:cxn ang="5400000">
                  <a:pos x="wd2" y="hd2"/>
                </a:cxn>
                <a:cxn ang="10800000">
                  <a:pos x="wd2" y="hd2"/>
                </a:cxn>
                <a:cxn ang="16200000">
                  <a:pos x="wd2" y="hd2"/>
                </a:cxn>
              </a:cxnLst>
              <a:rect l="0" t="0" r="r" b="b"/>
              <a:pathLst>
                <a:path w="21600" h="21600" extrusionOk="0">
                  <a:moveTo>
                    <a:pt x="10494" y="0"/>
                  </a:moveTo>
                  <a:lnTo>
                    <a:pt x="0" y="8708"/>
                  </a:lnTo>
                  <a:lnTo>
                    <a:pt x="11400" y="21600"/>
                  </a:lnTo>
                  <a:lnTo>
                    <a:pt x="21600" y="9737"/>
                  </a:lnTo>
                  <a:lnTo>
                    <a:pt x="10494" y="0"/>
                  </a:lnTo>
                  <a:close/>
                </a:path>
              </a:pathLst>
            </a:custGeom>
            <a:grpFill/>
            <a:ln w="25400" cap="flat">
              <a:noFill/>
              <a:prstDash val="solid"/>
              <a:miter lim="400000"/>
            </a:ln>
            <a:effectLst/>
          </p:spPr>
          <p:txBody>
            <a:bodyPr anchor="ctr"/>
            <a:lstStyle/>
            <a:p>
              <a:pPr algn="ctr"/>
              <a:endParaRPr/>
            </a:p>
          </p:txBody>
        </p:sp>
        <p:sp>
          <p:nvSpPr>
            <p:cNvPr id="114" name="îsḷïḑè">
              <a:extLst>
                <a:ext uri="{FF2B5EF4-FFF2-40B4-BE49-F238E27FC236}">
                  <a16:creationId xmlns="" xmlns:p14="http://schemas.microsoft.com/office/powerpoint/2010/main" xmlns:a16="http://schemas.microsoft.com/office/drawing/2014/main" id="{7EA79E5C-B6D5-4EA2-A600-08A2675C5F06}"/>
                </a:ext>
              </a:extLst>
            </p:cNvPr>
            <p:cNvSpPr/>
            <p:nvPr/>
          </p:nvSpPr>
          <p:spPr>
            <a:xfrm>
              <a:off x="7931635" y="3837005"/>
              <a:ext cx="18834" cy="20358"/>
            </a:xfrm>
            <a:custGeom>
              <a:avLst/>
              <a:gdLst/>
              <a:ahLst/>
              <a:cxnLst>
                <a:cxn ang="0">
                  <a:pos x="wd2" y="hd2"/>
                </a:cxn>
                <a:cxn ang="5400000">
                  <a:pos x="wd2" y="hd2"/>
                </a:cxn>
                <a:cxn ang="10800000">
                  <a:pos x="wd2" y="hd2"/>
                </a:cxn>
                <a:cxn ang="16200000">
                  <a:pos x="wd2" y="hd2"/>
                </a:cxn>
              </a:cxnLst>
              <a:rect l="0" t="0" r="r" b="b"/>
              <a:pathLst>
                <a:path w="21600" h="21600" extrusionOk="0">
                  <a:moveTo>
                    <a:pt x="11886" y="0"/>
                  </a:moveTo>
                  <a:lnTo>
                    <a:pt x="0" y="12052"/>
                  </a:lnTo>
                  <a:lnTo>
                    <a:pt x="10759" y="21600"/>
                  </a:lnTo>
                  <a:lnTo>
                    <a:pt x="21600" y="9540"/>
                  </a:lnTo>
                  <a:lnTo>
                    <a:pt x="11886" y="0"/>
                  </a:lnTo>
                  <a:close/>
                </a:path>
              </a:pathLst>
            </a:custGeom>
            <a:grpFill/>
            <a:ln w="25400" cap="flat">
              <a:noFill/>
              <a:prstDash val="solid"/>
              <a:miter lim="400000"/>
            </a:ln>
            <a:effectLst/>
          </p:spPr>
          <p:txBody>
            <a:bodyPr anchor="ctr"/>
            <a:lstStyle/>
            <a:p>
              <a:pPr algn="ctr"/>
              <a:endParaRPr/>
            </a:p>
          </p:txBody>
        </p:sp>
        <p:sp>
          <p:nvSpPr>
            <p:cNvPr id="115" name="îślïḍe">
              <a:extLst>
                <a:ext uri="{FF2B5EF4-FFF2-40B4-BE49-F238E27FC236}">
                  <a16:creationId xmlns="" xmlns:p14="http://schemas.microsoft.com/office/powerpoint/2010/main" xmlns:a16="http://schemas.microsoft.com/office/drawing/2014/main" id="{6EBD2D99-4087-413C-AF36-050ADAB78755}"/>
                </a:ext>
              </a:extLst>
            </p:cNvPr>
            <p:cNvSpPr/>
            <p:nvPr/>
          </p:nvSpPr>
          <p:spPr>
            <a:xfrm>
              <a:off x="7171214" y="3107084"/>
              <a:ext cx="22347" cy="31175"/>
            </a:xfrm>
            <a:custGeom>
              <a:avLst/>
              <a:gdLst/>
              <a:ahLst/>
              <a:cxnLst>
                <a:cxn ang="0">
                  <a:pos x="wd2" y="hd2"/>
                </a:cxn>
                <a:cxn ang="5400000">
                  <a:pos x="wd2" y="hd2"/>
                </a:cxn>
                <a:cxn ang="10800000">
                  <a:pos x="wd2" y="hd2"/>
                </a:cxn>
                <a:cxn ang="16200000">
                  <a:pos x="wd2" y="hd2"/>
                </a:cxn>
              </a:cxnLst>
              <a:rect l="0" t="0" r="r" b="b"/>
              <a:pathLst>
                <a:path w="21600" h="21600" extrusionOk="0">
                  <a:moveTo>
                    <a:pt x="18226" y="0"/>
                  </a:moveTo>
                  <a:lnTo>
                    <a:pt x="0" y="6738"/>
                  </a:lnTo>
                  <a:lnTo>
                    <a:pt x="6059" y="21600"/>
                  </a:lnTo>
                  <a:lnTo>
                    <a:pt x="21600" y="18596"/>
                  </a:lnTo>
                  <a:lnTo>
                    <a:pt x="18226" y="0"/>
                  </a:lnTo>
                  <a:close/>
                </a:path>
              </a:pathLst>
            </a:custGeom>
            <a:grpFill/>
            <a:ln w="25400" cap="flat">
              <a:noFill/>
              <a:prstDash val="solid"/>
              <a:miter lim="400000"/>
            </a:ln>
            <a:effectLst/>
          </p:spPr>
          <p:txBody>
            <a:bodyPr anchor="ctr"/>
            <a:lstStyle/>
            <a:p>
              <a:pPr algn="ctr"/>
              <a:endParaRPr/>
            </a:p>
          </p:txBody>
        </p:sp>
        <p:sp>
          <p:nvSpPr>
            <p:cNvPr id="116" name="ïsļíḑê">
              <a:extLst>
                <a:ext uri="{FF2B5EF4-FFF2-40B4-BE49-F238E27FC236}">
                  <a16:creationId xmlns="" xmlns:p14="http://schemas.microsoft.com/office/powerpoint/2010/main" xmlns:a16="http://schemas.microsoft.com/office/drawing/2014/main" id="{27405B08-41EC-469F-9449-89A8044883A7}"/>
                </a:ext>
              </a:extLst>
            </p:cNvPr>
            <p:cNvSpPr/>
            <p:nvPr/>
          </p:nvSpPr>
          <p:spPr>
            <a:xfrm>
              <a:off x="6561284" y="2785626"/>
              <a:ext cx="67222" cy="44468"/>
            </a:xfrm>
            <a:custGeom>
              <a:avLst/>
              <a:gdLst/>
              <a:ahLst/>
              <a:cxnLst>
                <a:cxn ang="0">
                  <a:pos x="wd2" y="hd2"/>
                </a:cxn>
                <a:cxn ang="5400000">
                  <a:pos x="wd2" y="hd2"/>
                </a:cxn>
                <a:cxn ang="10800000">
                  <a:pos x="wd2" y="hd2"/>
                </a:cxn>
                <a:cxn ang="16200000">
                  <a:pos x="wd2" y="hd2"/>
                </a:cxn>
              </a:cxnLst>
              <a:rect l="0" t="0" r="r" b="b"/>
              <a:pathLst>
                <a:path w="21600" h="21600" extrusionOk="0">
                  <a:moveTo>
                    <a:pt x="16119" y="0"/>
                  </a:moveTo>
                  <a:lnTo>
                    <a:pt x="12851" y="4376"/>
                  </a:lnTo>
                  <a:lnTo>
                    <a:pt x="8517" y="6430"/>
                  </a:lnTo>
                  <a:lnTo>
                    <a:pt x="671" y="5939"/>
                  </a:lnTo>
                  <a:lnTo>
                    <a:pt x="0" y="12809"/>
                  </a:lnTo>
                  <a:lnTo>
                    <a:pt x="3338" y="16202"/>
                  </a:lnTo>
                  <a:lnTo>
                    <a:pt x="10189" y="21600"/>
                  </a:lnTo>
                  <a:lnTo>
                    <a:pt x="13007" y="15425"/>
                  </a:lnTo>
                  <a:lnTo>
                    <a:pt x="16167" y="10356"/>
                  </a:lnTo>
                  <a:lnTo>
                    <a:pt x="19327" y="7105"/>
                  </a:lnTo>
                  <a:lnTo>
                    <a:pt x="21600" y="1381"/>
                  </a:lnTo>
                  <a:lnTo>
                    <a:pt x="16119" y="0"/>
                  </a:lnTo>
                  <a:close/>
                </a:path>
              </a:pathLst>
            </a:custGeom>
            <a:grpFill/>
            <a:ln w="25400" cap="flat">
              <a:noFill/>
              <a:prstDash val="solid"/>
              <a:miter lim="400000"/>
            </a:ln>
            <a:effectLst/>
          </p:spPr>
          <p:txBody>
            <a:bodyPr anchor="ctr"/>
            <a:lstStyle/>
            <a:p>
              <a:pPr algn="ctr"/>
              <a:endParaRPr/>
            </a:p>
          </p:txBody>
        </p:sp>
        <p:sp>
          <p:nvSpPr>
            <p:cNvPr id="117" name="îŝḷïḑe">
              <a:extLst>
                <a:ext uri="{FF2B5EF4-FFF2-40B4-BE49-F238E27FC236}">
                  <a16:creationId xmlns="" xmlns:p14="http://schemas.microsoft.com/office/powerpoint/2010/main" xmlns:a16="http://schemas.microsoft.com/office/drawing/2014/main" id="{499FA2FE-FE32-422E-B93C-7E4004E4575B}"/>
                </a:ext>
              </a:extLst>
            </p:cNvPr>
            <p:cNvSpPr/>
            <p:nvPr/>
          </p:nvSpPr>
          <p:spPr>
            <a:xfrm>
              <a:off x="5255087" y="1585911"/>
              <a:ext cx="2042366" cy="1189722"/>
            </a:xfrm>
            <a:custGeom>
              <a:avLst/>
              <a:gdLst/>
              <a:ahLst/>
              <a:cxnLst>
                <a:cxn ang="0">
                  <a:pos x="wd2" y="hd2"/>
                </a:cxn>
                <a:cxn ang="5400000">
                  <a:pos x="wd2" y="hd2"/>
                </a:cxn>
                <a:cxn ang="10800000">
                  <a:pos x="wd2" y="hd2"/>
                </a:cxn>
                <a:cxn ang="16200000">
                  <a:pos x="wd2" y="hd2"/>
                </a:cxn>
              </a:cxnLst>
              <a:rect l="0" t="0" r="r" b="b"/>
              <a:pathLst>
                <a:path w="21600" h="21600" extrusionOk="0">
                  <a:moveTo>
                    <a:pt x="20807" y="1150"/>
                  </a:moveTo>
                  <a:lnTo>
                    <a:pt x="20140" y="892"/>
                  </a:lnTo>
                  <a:lnTo>
                    <a:pt x="19827" y="747"/>
                  </a:lnTo>
                  <a:lnTo>
                    <a:pt x="19506" y="542"/>
                  </a:lnTo>
                  <a:lnTo>
                    <a:pt x="19194" y="459"/>
                  </a:lnTo>
                  <a:lnTo>
                    <a:pt x="18976" y="267"/>
                  </a:lnTo>
                  <a:lnTo>
                    <a:pt x="18803" y="212"/>
                  </a:lnTo>
                  <a:lnTo>
                    <a:pt x="18690" y="293"/>
                  </a:lnTo>
                  <a:lnTo>
                    <a:pt x="18482" y="457"/>
                  </a:lnTo>
                  <a:lnTo>
                    <a:pt x="18589" y="626"/>
                  </a:lnTo>
                  <a:lnTo>
                    <a:pt x="18799" y="626"/>
                  </a:lnTo>
                  <a:lnTo>
                    <a:pt x="18944" y="749"/>
                  </a:lnTo>
                  <a:lnTo>
                    <a:pt x="19057" y="799"/>
                  </a:lnTo>
                  <a:lnTo>
                    <a:pt x="19162" y="663"/>
                  </a:lnTo>
                  <a:lnTo>
                    <a:pt x="19282" y="649"/>
                  </a:lnTo>
                  <a:lnTo>
                    <a:pt x="19425" y="814"/>
                  </a:lnTo>
                  <a:lnTo>
                    <a:pt x="19336" y="1164"/>
                  </a:lnTo>
                  <a:lnTo>
                    <a:pt x="19232" y="1314"/>
                  </a:lnTo>
                  <a:lnTo>
                    <a:pt x="19042" y="1149"/>
                  </a:lnTo>
                  <a:lnTo>
                    <a:pt x="18875" y="1149"/>
                  </a:lnTo>
                  <a:lnTo>
                    <a:pt x="18733" y="1250"/>
                  </a:lnTo>
                  <a:lnTo>
                    <a:pt x="18426" y="1346"/>
                  </a:lnTo>
                  <a:lnTo>
                    <a:pt x="18234" y="1428"/>
                  </a:lnTo>
                  <a:lnTo>
                    <a:pt x="18001" y="1483"/>
                  </a:lnTo>
                  <a:lnTo>
                    <a:pt x="17885" y="1455"/>
                  </a:lnTo>
                  <a:lnTo>
                    <a:pt x="17764" y="1282"/>
                  </a:lnTo>
                  <a:lnTo>
                    <a:pt x="17591" y="1204"/>
                  </a:lnTo>
                  <a:lnTo>
                    <a:pt x="17472" y="1218"/>
                  </a:lnTo>
                  <a:lnTo>
                    <a:pt x="17205" y="1314"/>
                  </a:lnTo>
                  <a:lnTo>
                    <a:pt x="16942" y="1479"/>
                  </a:lnTo>
                  <a:lnTo>
                    <a:pt x="16671" y="1671"/>
                  </a:lnTo>
                  <a:lnTo>
                    <a:pt x="16451" y="1882"/>
                  </a:lnTo>
                  <a:lnTo>
                    <a:pt x="16191" y="2147"/>
                  </a:lnTo>
                  <a:lnTo>
                    <a:pt x="16038" y="2203"/>
                  </a:lnTo>
                  <a:lnTo>
                    <a:pt x="15932" y="2029"/>
                  </a:lnTo>
                  <a:lnTo>
                    <a:pt x="15829" y="1988"/>
                  </a:lnTo>
                  <a:lnTo>
                    <a:pt x="15732" y="1892"/>
                  </a:lnTo>
                  <a:lnTo>
                    <a:pt x="15762" y="1710"/>
                  </a:lnTo>
                  <a:lnTo>
                    <a:pt x="15657" y="1417"/>
                  </a:lnTo>
                  <a:lnTo>
                    <a:pt x="15517" y="1390"/>
                  </a:lnTo>
                  <a:lnTo>
                    <a:pt x="15378" y="1390"/>
                  </a:lnTo>
                  <a:lnTo>
                    <a:pt x="15253" y="1481"/>
                  </a:lnTo>
                  <a:lnTo>
                    <a:pt x="15278" y="1641"/>
                  </a:lnTo>
                  <a:lnTo>
                    <a:pt x="15392" y="1819"/>
                  </a:lnTo>
                  <a:lnTo>
                    <a:pt x="15384" y="1998"/>
                  </a:lnTo>
                  <a:lnTo>
                    <a:pt x="15457" y="2135"/>
                  </a:lnTo>
                  <a:lnTo>
                    <a:pt x="15449" y="2313"/>
                  </a:lnTo>
                  <a:lnTo>
                    <a:pt x="15372" y="2418"/>
                  </a:lnTo>
                  <a:lnTo>
                    <a:pt x="15165" y="2528"/>
                  </a:lnTo>
                  <a:lnTo>
                    <a:pt x="14864" y="2652"/>
                  </a:lnTo>
                  <a:lnTo>
                    <a:pt x="14558" y="2802"/>
                  </a:lnTo>
                  <a:lnTo>
                    <a:pt x="14501" y="2964"/>
                  </a:lnTo>
                  <a:lnTo>
                    <a:pt x="14580" y="3129"/>
                  </a:lnTo>
                  <a:lnTo>
                    <a:pt x="14535" y="3260"/>
                  </a:lnTo>
                  <a:lnTo>
                    <a:pt x="14301" y="3357"/>
                  </a:lnTo>
                  <a:lnTo>
                    <a:pt x="14167" y="3571"/>
                  </a:lnTo>
                  <a:lnTo>
                    <a:pt x="14002" y="3383"/>
                  </a:lnTo>
                  <a:lnTo>
                    <a:pt x="13882" y="3233"/>
                  </a:lnTo>
                  <a:lnTo>
                    <a:pt x="13736" y="3151"/>
                  </a:lnTo>
                  <a:lnTo>
                    <a:pt x="13601" y="3165"/>
                  </a:lnTo>
                  <a:lnTo>
                    <a:pt x="13544" y="3303"/>
                  </a:lnTo>
                  <a:lnTo>
                    <a:pt x="13684" y="3412"/>
                  </a:lnTo>
                  <a:lnTo>
                    <a:pt x="13810" y="3412"/>
                  </a:lnTo>
                  <a:lnTo>
                    <a:pt x="13898" y="3509"/>
                  </a:lnTo>
                  <a:lnTo>
                    <a:pt x="13968" y="3600"/>
                  </a:lnTo>
                  <a:lnTo>
                    <a:pt x="14044" y="3723"/>
                  </a:lnTo>
                  <a:lnTo>
                    <a:pt x="13921" y="3938"/>
                  </a:lnTo>
                  <a:lnTo>
                    <a:pt x="13743" y="3952"/>
                  </a:lnTo>
                  <a:lnTo>
                    <a:pt x="13682" y="4102"/>
                  </a:lnTo>
                  <a:lnTo>
                    <a:pt x="13545" y="4125"/>
                  </a:lnTo>
                  <a:lnTo>
                    <a:pt x="13425" y="3918"/>
                  </a:lnTo>
                  <a:lnTo>
                    <a:pt x="13296" y="3768"/>
                  </a:lnTo>
                  <a:lnTo>
                    <a:pt x="13175" y="3714"/>
                  </a:lnTo>
                  <a:lnTo>
                    <a:pt x="13055" y="3663"/>
                  </a:lnTo>
                  <a:lnTo>
                    <a:pt x="12975" y="3430"/>
                  </a:lnTo>
                  <a:lnTo>
                    <a:pt x="12892" y="3238"/>
                  </a:lnTo>
                  <a:lnTo>
                    <a:pt x="12851" y="3047"/>
                  </a:lnTo>
                  <a:lnTo>
                    <a:pt x="12766" y="2877"/>
                  </a:lnTo>
                  <a:lnTo>
                    <a:pt x="12599" y="2739"/>
                  </a:lnTo>
                  <a:lnTo>
                    <a:pt x="12494" y="2631"/>
                  </a:lnTo>
                  <a:lnTo>
                    <a:pt x="12368" y="2420"/>
                  </a:lnTo>
                  <a:lnTo>
                    <a:pt x="12304" y="2245"/>
                  </a:lnTo>
                  <a:lnTo>
                    <a:pt x="12377" y="2017"/>
                  </a:lnTo>
                  <a:lnTo>
                    <a:pt x="12699" y="2003"/>
                  </a:lnTo>
                  <a:cubicBezTo>
                    <a:pt x="12738" y="2035"/>
                    <a:pt x="12777" y="2063"/>
                    <a:pt x="12817" y="2090"/>
                  </a:cubicBezTo>
                  <a:cubicBezTo>
                    <a:pt x="12952" y="2178"/>
                    <a:pt x="13094" y="2236"/>
                    <a:pt x="13239" y="2259"/>
                  </a:cubicBezTo>
                  <a:lnTo>
                    <a:pt x="13399" y="2479"/>
                  </a:lnTo>
                  <a:lnTo>
                    <a:pt x="13603" y="2506"/>
                  </a:lnTo>
                  <a:lnTo>
                    <a:pt x="13797" y="2506"/>
                  </a:lnTo>
                  <a:cubicBezTo>
                    <a:pt x="13873" y="2506"/>
                    <a:pt x="13949" y="2506"/>
                    <a:pt x="14025" y="2506"/>
                  </a:cubicBezTo>
                  <a:cubicBezTo>
                    <a:pt x="14058" y="2506"/>
                    <a:pt x="14090" y="2506"/>
                    <a:pt x="14122" y="2506"/>
                  </a:cubicBezTo>
                  <a:lnTo>
                    <a:pt x="14251" y="2356"/>
                  </a:lnTo>
                  <a:lnTo>
                    <a:pt x="14347" y="2302"/>
                  </a:lnTo>
                  <a:lnTo>
                    <a:pt x="14484" y="2237"/>
                  </a:lnTo>
                  <a:lnTo>
                    <a:pt x="14616" y="2210"/>
                  </a:lnTo>
                  <a:lnTo>
                    <a:pt x="14613" y="2040"/>
                  </a:lnTo>
                  <a:lnTo>
                    <a:pt x="14460" y="1889"/>
                  </a:lnTo>
                  <a:lnTo>
                    <a:pt x="14355" y="1605"/>
                  </a:lnTo>
                  <a:cubicBezTo>
                    <a:pt x="14271" y="1573"/>
                    <a:pt x="14188" y="1533"/>
                    <a:pt x="14107" y="1486"/>
                  </a:cubicBezTo>
                  <a:cubicBezTo>
                    <a:pt x="14008" y="1428"/>
                    <a:pt x="13911" y="1359"/>
                    <a:pt x="13817" y="1279"/>
                  </a:cubicBezTo>
                  <a:lnTo>
                    <a:pt x="13451" y="1078"/>
                  </a:lnTo>
                  <a:lnTo>
                    <a:pt x="13212" y="945"/>
                  </a:lnTo>
                  <a:lnTo>
                    <a:pt x="12842" y="766"/>
                  </a:lnTo>
                  <a:lnTo>
                    <a:pt x="12603" y="849"/>
                  </a:lnTo>
                  <a:lnTo>
                    <a:pt x="12436" y="968"/>
                  </a:lnTo>
                  <a:lnTo>
                    <a:pt x="12291" y="899"/>
                  </a:lnTo>
                  <a:lnTo>
                    <a:pt x="12112" y="639"/>
                  </a:lnTo>
                  <a:lnTo>
                    <a:pt x="11879" y="402"/>
                  </a:lnTo>
                  <a:lnTo>
                    <a:pt x="11669" y="320"/>
                  </a:lnTo>
                  <a:lnTo>
                    <a:pt x="11486" y="252"/>
                  </a:lnTo>
                  <a:lnTo>
                    <a:pt x="11279" y="156"/>
                  </a:lnTo>
                  <a:lnTo>
                    <a:pt x="11086" y="73"/>
                  </a:lnTo>
                  <a:lnTo>
                    <a:pt x="10931" y="18"/>
                  </a:lnTo>
                  <a:lnTo>
                    <a:pt x="10715" y="114"/>
                  </a:lnTo>
                  <a:lnTo>
                    <a:pt x="10556" y="192"/>
                  </a:lnTo>
                  <a:lnTo>
                    <a:pt x="10395" y="137"/>
                  </a:lnTo>
                  <a:lnTo>
                    <a:pt x="10285" y="82"/>
                  </a:lnTo>
                  <a:lnTo>
                    <a:pt x="10146" y="27"/>
                  </a:lnTo>
                  <a:lnTo>
                    <a:pt x="10010" y="0"/>
                  </a:lnTo>
                  <a:lnTo>
                    <a:pt x="9706" y="83"/>
                  </a:lnTo>
                  <a:lnTo>
                    <a:pt x="9387" y="184"/>
                  </a:lnTo>
                  <a:lnTo>
                    <a:pt x="8981" y="564"/>
                  </a:lnTo>
                  <a:lnTo>
                    <a:pt x="8797" y="728"/>
                  </a:lnTo>
                  <a:lnTo>
                    <a:pt x="8584" y="783"/>
                  </a:lnTo>
                  <a:lnTo>
                    <a:pt x="8320" y="915"/>
                  </a:lnTo>
                  <a:lnTo>
                    <a:pt x="8160" y="996"/>
                  </a:lnTo>
                  <a:lnTo>
                    <a:pt x="7967" y="1147"/>
                  </a:lnTo>
                  <a:lnTo>
                    <a:pt x="7886" y="1297"/>
                  </a:lnTo>
                  <a:lnTo>
                    <a:pt x="7888" y="1470"/>
                  </a:lnTo>
                  <a:lnTo>
                    <a:pt x="7855" y="1675"/>
                  </a:lnTo>
                  <a:lnTo>
                    <a:pt x="7776" y="1784"/>
                  </a:lnTo>
                  <a:lnTo>
                    <a:pt x="7655" y="1839"/>
                  </a:lnTo>
                  <a:lnTo>
                    <a:pt x="7530" y="1894"/>
                  </a:lnTo>
                  <a:lnTo>
                    <a:pt x="7376" y="2183"/>
                  </a:lnTo>
                  <a:lnTo>
                    <a:pt x="7276" y="2430"/>
                  </a:lnTo>
                  <a:lnTo>
                    <a:pt x="7123" y="2673"/>
                  </a:lnTo>
                  <a:lnTo>
                    <a:pt x="7099" y="2824"/>
                  </a:lnTo>
                  <a:lnTo>
                    <a:pt x="7051" y="3056"/>
                  </a:lnTo>
                  <a:lnTo>
                    <a:pt x="6924" y="3316"/>
                  </a:lnTo>
                  <a:lnTo>
                    <a:pt x="6795" y="3550"/>
                  </a:lnTo>
                  <a:lnTo>
                    <a:pt x="6610" y="3688"/>
                  </a:lnTo>
                  <a:lnTo>
                    <a:pt x="6375" y="3930"/>
                  </a:lnTo>
                  <a:lnTo>
                    <a:pt x="6295" y="4053"/>
                  </a:lnTo>
                  <a:lnTo>
                    <a:pt x="6207" y="4241"/>
                  </a:lnTo>
                  <a:lnTo>
                    <a:pt x="6072" y="4323"/>
                  </a:lnTo>
                  <a:lnTo>
                    <a:pt x="5796" y="4429"/>
                  </a:lnTo>
                  <a:lnTo>
                    <a:pt x="5615" y="4524"/>
                  </a:lnTo>
                  <a:lnTo>
                    <a:pt x="5511" y="4647"/>
                  </a:lnTo>
                  <a:lnTo>
                    <a:pt x="5386" y="4780"/>
                  </a:lnTo>
                  <a:lnTo>
                    <a:pt x="5249" y="4999"/>
                  </a:lnTo>
                  <a:lnTo>
                    <a:pt x="5158" y="5155"/>
                  </a:lnTo>
                  <a:lnTo>
                    <a:pt x="5088" y="5329"/>
                  </a:lnTo>
                  <a:lnTo>
                    <a:pt x="5065" y="5480"/>
                  </a:lnTo>
                  <a:lnTo>
                    <a:pt x="5065" y="5754"/>
                  </a:lnTo>
                  <a:lnTo>
                    <a:pt x="5089" y="5900"/>
                  </a:lnTo>
                  <a:lnTo>
                    <a:pt x="5118" y="6123"/>
                  </a:lnTo>
                  <a:lnTo>
                    <a:pt x="5094" y="6315"/>
                  </a:lnTo>
                  <a:lnTo>
                    <a:pt x="5118" y="6590"/>
                  </a:lnTo>
                  <a:lnTo>
                    <a:pt x="5312" y="6948"/>
                  </a:lnTo>
                  <a:lnTo>
                    <a:pt x="5497" y="7278"/>
                  </a:lnTo>
                  <a:lnTo>
                    <a:pt x="5698" y="7360"/>
                  </a:lnTo>
                  <a:lnTo>
                    <a:pt x="6010" y="7347"/>
                  </a:lnTo>
                  <a:lnTo>
                    <a:pt x="6179" y="7123"/>
                  </a:lnTo>
                  <a:lnTo>
                    <a:pt x="6421" y="6806"/>
                  </a:lnTo>
                  <a:lnTo>
                    <a:pt x="6673" y="6770"/>
                  </a:lnTo>
                  <a:lnTo>
                    <a:pt x="6722" y="7029"/>
                  </a:lnTo>
                  <a:lnTo>
                    <a:pt x="6859" y="7341"/>
                  </a:lnTo>
                  <a:lnTo>
                    <a:pt x="6923" y="7657"/>
                  </a:lnTo>
                  <a:lnTo>
                    <a:pt x="7026" y="7817"/>
                  </a:lnTo>
                  <a:lnTo>
                    <a:pt x="7026" y="8065"/>
                  </a:lnTo>
                  <a:lnTo>
                    <a:pt x="7034" y="8312"/>
                  </a:lnTo>
                  <a:lnTo>
                    <a:pt x="7120" y="8458"/>
                  </a:lnTo>
                  <a:lnTo>
                    <a:pt x="7192" y="8650"/>
                  </a:lnTo>
                  <a:lnTo>
                    <a:pt x="7493" y="8925"/>
                  </a:lnTo>
                  <a:lnTo>
                    <a:pt x="7581" y="8833"/>
                  </a:lnTo>
                  <a:lnTo>
                    <a:pt x="7850" y="8512"/>
                  </a:lnTo>
                  <a:lnTo>
                    <a:pt x="7962" y="8471"/>
                  </a:lnTo>
                  <a:lnTo>
                    <a:pt x="8086" y="8224"/>
                  </a:lnTo>
                  <a:lnTo>
                    <a:pt x="8142" y="7954"/>
                  </a:lnTo>
                  <a:lnTo>
                    <a:pt x="8118" y="7546"/>
                  </a:lnTo>
                  <a:lnTo>
                    <a:pt x="8183" y="7331"/>
                  </a:lnTo>
                  <a:lnTo>
                    <a:pt x="8408" y="7069"/>
                  </a:lnTo>
                  <a:lnTo>
                    <a:pt x="8596" y="6868"/>
                  </a:lnTo>
                  <a:lnTo>
                    <a:pt x="8782" y="6652"/>
                  </a:lnTo>
                  <a:lnTo>
                    <a:pt x="8870" y="6378"/>
                  </a:lnTo>
                  <a:lnTo>
                    <a:pt x="8870" y="6199"/>
                  </a:lnTo>
                  <a:lnTo>
                    <a:pt x="8675" y="6099"/>
                  </a:lnTo>
                  <a:lnTo>
                    <a:pt x="8400" y="5782"/>
                  </a:lnTo>
                  <a:cubicBezTo>
                    <a:pt x="8345" y="5725"/>
                    <a:pt x="8303" y="5638"/>
                    <a:pt x="8280" y="5535"/>
                  </a:cubicBezTo>
                  <a:cubicBezTo>
                    <a:pt x="8253" y="5415"/>
                    <a:pt x="8255" y="5284"/>
                    <a:pt x="8280" y="5163"/>
                  </a:cubicBezTo>
                  <a:cubicBezTo>
                    <a:pt x="8308" y="5024"/>
                    <a:pt x="8366" y="4907"/>
                    <a:pt x="8441" y="4834"/>
                  </a:cubicBezTo>
                  <a:cubicBezTo>
                    <a:pt x="8456" y="4723"/>
                    <a:pt x="8474" y="4613"/>
                    <a:pt x="8494" y="4505"/>
                  </a:cubicBezTo>
                  <a:cubicBezTo>
                    <a:pt x="8510" y="4424"/>
                    <a:pt x="8527" y="4342"/>
                    <a:pt x="8558" y="4276"/>
                  </a:cubicBezTo>
                  <a:cubicBezTo>
                    <a:pt x="8643" y="4100"/>
                    <a:pt x="8795" y="4075"/>
                    <a:pt x="8897" y="4221"/>
                  </a:cubicBezTo>
                  <a:cubicBezTo>
                    <a:pt x="8958" y="4155"/>
                    <a:pt x="9013" y="4077"/>
                    <a:pt x="9061" y="3987"/>
                  </a:cubicBezTo>
                  <a:cubicBezTo>
                    <a:pt x="9136" y="3848"/>
                    <a:pt x="9193" y="3684"/>
                    <a:pt x="9260" y="3534"/>
                  </a:cubicBezTo>
                  <a:cubicBezTo>
                    <a:pt x="9306" y="3430"/>
                    <a:pt x="9356" y="3332"/>
                    <a:pt x="9405" y="3232"/>
                  </a:cubicBezTo>
                  <a:cubicBezTo>
                    <a:pt x="9452" y="3137"/>
                    <a:pt x="9497" y="3041"/>
                    <a:pt x="9542" y="2943"/>
                  </a:cubicBezTo>
                  <a:lnTo>
                    <a:pt x="9832" y="2723"/>
                  </a:lnTo>
                  <a:lnTo>
                    <a:pt x="9993" y="2545"/>
                  </a:lnTo>
                  <a:lnTo>
                    <a:pt x="10111" y="2705"/>
                  </a:lnTo>
                  <a:lnTo>
                    <a:pt x="10183" y="2884"/>
                  </a:lnTo>
                  <a:lnTo>
                    <a:pt x="10183" y="3144"/>
                  </a:lnTo>
                  <a:lnTo>
                    <a:pt x="10098" y="3332"/>
                  </a:lnTo>
                  <a:lnTo>
                    <a:pt x="10098" y="3689"/>
                  </a:lnTo>
                  <a:lnTo>
                    <a:pt x="10082" y="3859"/>
                  </a:lnTo>
                  <a:lnTo>
                    <a:pt x="9930" y="3957"/>
                  </a:lnTo>
                  <a:lnTo>
                    <a:pt x="9906" y="4204"/>
                  </a:lnTo>
                  <a:lnTo>
                    <a:pt x="9849" y="4492"/>
                  </a:lnTo>
                  <a:lnTo>
                    <a:pt x="9683" y="4633"/>
                  </a:lnTo>
                  <a:lnTo>
                    <a:pt x="9586" y="4780"/>
                  </a:lnTo>
                  <a:lnTo>
                    <a:pt x="9482" y="5082"/>
                  </a:lnTo>
                  <a:lnTo>
                    <a:pt x="9514" y="5403"/>
                  </a:lnTo>
                  <a:lnTo>
                    <a:pt x="9716" y="5586"/>
                  </a:lnTo>
                  <a:cubicBezTo>
                    <a:pt x="9796" y="5549"/>
                    <a:pt x="9881" y="5586"/>
                    <a:pt x="9941" y="5682"/>
                  </a:cubicBezTo>
                  <a:cubicBezTo>
                    <a:pt x="9990" y="5760"/>
                    <a:pt x="10017" y="5871"/>
                    <a:pt x="10065" y="5951"/>
                  </a:cubicBezTo>
                  <a:cubicBezTo>
                    <a:pt x="10132" y="6062"/>
                    <a:pt x="10229" y="6103"/>
                    <a:pt x="10318" y="6056"/>
                  </a:cubicBezTo>
                  <a:lnTo>
                    <a:pt x="10508" y="6070"/>
                  </a:lnTo>
                  <a:lnTo>
                    <a:pt x="10731" y="6002"/>
                  </a:lnTo>
                  <a:lnTo>
                    <a:pt x="10946" y="5851"/>
                  </a:lnTo>
                  <a:lnTo>
                    <a:pt x="11105" y="5786"/>
                  </a:lnTo>
                  <a:lnTo>
                    <a:pt x="11391" y="5848"/>
                  </a:lnTo>
                  <a:lnTo>
                    <a:pt x="11503" y="6039"/>
                  </a:lnTo>
                  <a:lnTo>
                    <a:pt x="11785" y="6094"/>
                  </a:lnTo>
                  <a:lnTo>
                    <a:pt x="11854" y="6226"/>
                  </a:lnTo>
                  <a:lnTo>
                    <a:pt x="11801" y="6390"/>
                  </a:lnTo>
                  <a:lnTo>
                    <a:pt x="11600" y="6542"/>
                  </a:lnTo>
                  <a:lnTo>
                    <a:pt x="11427" y="6730"/>
                  </a:lnTo>
                  <a:lnTo>
                    <a:pt x="11242" y="6739"/>
                  </a:lnTo>
                  <a:lnTo>
                    <a:pt x="11084" y="6698"/>
                  </a:lnTo>
                  <a:lnTo>
                    <a:pt x="10942" y="6629"/>
                  </a:lnTo>
                  <a:lnTo>
                    <a:pt x="10752" y="6588"/>
                  </a:lnTo>
                  <a:lnTo>
                    <a:pt x="10578" y="6629"/>
                  </a:lnTo>
                  <a:lnTo>
                    <a:pt x="10435" y="6670"/>
                  </a:lnTo>
                  <a:lnTo>
                    <a:pt x="10291" y="6748"/>
                  </a:lnTo>
                  <a:lnTo>
                    <a:pt x="10218" y="6936"/>
                  </a:lnTo>
                  <a:lnTo>
                    <a:pt x="10315" y="7045"/>
                  </a:lnTo>
                  <a:lnTo>
                    <a:pt x="10580" y="7535"/>
                  </a:lnTo>
                  <a:lnTo>
                    <a:pt x="10580" y="7737"/>
                  </a:lnTo>
                  <a:lnTo>
                    <a:pt x="10500" y="7925"/>
                  </a:lnTo>
                  <a:lnTo>
                    <a:pt x="10333" y="8021"/>
                  </a:lnTo>
                  <a:lnTo>
                    <a:pt x="10285" y="8145"/>
                  </a:lnTo>
                  <a:lnTo>
                    <a:pt x="10181" y="8076"/>
                  </a:lnTo>
                  <a:lnTo>
                    <a:pt x="10133" y="7815"/>
                  </a:lnTo>
                  <a:lnTo>
                    <a:pt x="10012" y="7706"/>
                  </a:lnTo>
                  <a:lnTo>
                    <a:pt x="9771" y="7733"/>
                  </a:lnTo>
                  <a:lnTo>
                    <a:pt x="9701" y="7811"/>
                  </a:lnTo>
                  <a:lnTo>
                    <a:pt x="9701" y="8017"/>
                  </a:lnTo>
                  <a:lnTo>
                    <a:pt x="9581" y="8163"/>
                  </a:lnTo>
                  <a:lnTo>
                    <a:pt x="9597" y="8488"/>
                  </a:lnTo>
                  <a:lnTo>
                    <a:pt x="9637" y="8686"/>
                  </a:lnTo>
                  <a:lnTo>
                    <a:pt x="9693" y="8944"/>
                  </a:lnTo>
                  <a:lnTo>
                    <a:pt x="9588" y="9131"/>
                  </a:lnTo>
                  <a:lnTo>
                    <a:pt x="9435" y="9310"/>
                  </a:lnTo>
                  <a:lnTo>
                    <a:pt x="9298" y="9530"/>
                  </a:lnTo>
                  <a:lnTo>
                    <a:pt x="9180" y="9627"/>
                  </a:lnTo>
                  <a:lnTo>
                    <a:pt x="9092" y="9735"/>
                  </a:lnTo>
                  <a:lnTo>
                    <a:pt x="8983" y="9736"/>
                  </a:lnTo>
                  <a:cubicBezTo>
                    <a:pt x="8962" y="9703"/>
                    <a:pt x="8942" y="9671"/>
                    <a:pt x="8921" y="9640"/>
                  </a:cubicBezTo>
                  <a:cubicBezTo>
                    <a:pt x="8891" y="9595"/>
                    <a:pt x="8861" y="9551"/>
                    <a:pt x="8830" y="9508"/>
                  </a:cubicBezTo>
                  <a:lnTo>
                    <a:pt x="8564" y="9467"/>
                  </a:lnTo>
                  <a:lnTo>
                    <a:pt x="8300" y="9659"/>
                  </a:lnTo>
                  <a:lnTo>
                    <a:pt x="7986" y="9865"/>
                  </a:lnTo>
                  <a:lnTo>
                    <a:pt x="7905" y="9974"/>
                  </a:lnTo>
                  <a:lnTo>
                    <a:pt x="7739" y="10070"/>
                  </a:lnTo>
                  <a:lnTo>
                    <a:pt x="7634" y="10001"/>
                  </a:lnTo>
                  <a:lnTo>
                    <a:pt x="7465" y="9864"/>
                  </a:lnTo>
                  <a:lnTo>
                    <a:pt x="7314" y="9781"/>
                  </a:lnTo>
                  <a:lnTo>
                    <a:pt x="7226" y="9644"/>
                  </a:lnTo>
                  <a:lnTo>
                    <a:pt x="7149" y="9740"/>
                  </a:lnTo>
                  <a:lnTo>
                    <a:pt x="6975" y="9746"/>
                  </a:lnTo>
                  <a:lnTo>
                    <a:pt x="6769" y="9966"/>
                  </a:lnTo>
                  <a:lnTo>
                    <a:pt x="6586" y="9828"/>
                  </a:lnTo>
                  <a:lnTo>
                    <a:pt x="6498" y="9655"/>
                  </a:lnTo>
                  <a:lnTo>
                    <a:pt x="6359" y="9499"/>
                  </a:lnTo>
                  <a:lnTo>
                    <a:pt x="6246" y="9210"/>
                  </a:lnTo>
                  <a:lnTo>
                    <a:pt x="6332" y="9059"/>
                  </a:lnTo>
                  <a:lnTo>
                    <a:pt x="6468" y="9059"/>
                  </a:lnTo>
                  <a:lnTo>
                    <a:pt x="6436" y="9269"/>
                  </a:lnTo>
                  <a:lnTo>
                    <a:pt x="6594" y="9356"/>
                  </a:lnTo>
                  <a:lnTo>
                    <a:pt x="6642" y="9122"/>
                  </a:lnTo>
                  <a:lnTo>
                    <a:pt x="6779" y="9264"/>
                  </a:lnTo>
                  <a:lnTo>
                    <a:pt x="6939" y="9386"/>
                  </a:lnTo>
                  <a:lnTo>
                    <a:pt x="7020" y="9181"/>
                  </a:lnTo>
                  <a:lnTo>
                    <a:pt x="7095" y="8939"/>
                  </a:lnTo>
                  <a:lnTo>
                    <a:pt x="7009" y="8646"/>
                  </a:lnTo>
                  <a:lnTo>
                    <a:pt x="6883" y="8491"/>
                  </a:lnTo>
                  <a:lnTo>
                    <a:pt x="6741" y="8555"/>
                  </a:lnTo>
                  <a:lnTo>
                    <a:pt x="6645" y="8802"/>
                  </a:lnTo>
                  <a:lnTo>
                    <a:pt x="6668" y="8966"/>
                  </a:lnTo>
                  <a:lnTo>
                    <a:pt x="6572" y="8980"/>
                  </a:lnTo>
                  <a:lnTo>
                    <a:pt x="6524" y="8733"/>
                  </a:lnTo>
                  <a:lnTo>
                    <a:pt x="6425" y="8870"/>
                  </a:lnTo>
                  <a:lnTo>
                    <a:pt x="6282" y="8896"/>
                  </a:lnTo>
                  <a:lnTo>
                    <a:pt x="6298" y="8622"/>
                  </a:lnTo>
                  <a:lnTo>
                    <a:pt x="6338" y="8473"/>
                  </a:lnTo>
                  <a:lnTo>
                    <a:pt x="6394" y="8309"/>
                  </a:lnTo>
                  <a:lnTo>
                    <a:pt x="6394" y="7953"/>
                  </a:lnTo>
                  <a:lnTo>
                    <a:pt x="6380" y="7651"/>
                  </a:lnTo>
                  <a:lnTo>
                    <a:pt x="6254" y="7719"/>
                  </a:lnTo>
                  <a:lnTo>
                    <a:pt x="6189" y="7989"/>
                  </a:lnTo>
                  <a:lnTo>
                    <a:pt x="6096" y="8126"/>
                  </a:lnTo>
                  <a:lnTo>
                    <a:pt x="5932" y="8300"/>
                  </a:lnTo>
                  <a:lnTo>
                    <a:pt x="5836" y="8520"/>
                  </a:lnTo>
                  <a:lnTo>
                    <a:pt x="5819" y="8717"/>
                  </a:lnTo>
                  <a:lnTo>
                    <a:pt x="5921" y="8917"/>
                  </a:lnTo>
                  <a:lnTo>
                    <a:pt x="5974" y="9081"/>
                  </a:lnTo>
                  <a:lnTo>
                    <a:pt x="5934" y="9324"/>
                  </a:lnTo>
                  <a:lnTo>
                    <a:pt x="6004" y="9512"/>
                  </a:lnTo>
                  <a:lnTo>
                    <a:pt x="6235" y="9416"/>
                  </a:lnTo>
                  <a:lnTo>
                    <a:pt x="6253" y="9581"/>
                  </a:lnTo>
                  <a:lnTo>
                    <a:pt x="6088" y="9704"/>
                  </a:lnTo>
                  <a:lnTo>
                    <a:pt x="6016" y="9787"/>
                  </a:lnTo>
                  <a:lnTo>
                    <a:pt x="5983" y="10057"/>
                  </a:lnTo>
                  <a:lnTo>
                    <a:pt x="5865" y="10144"/>
                  </a:lnTo>
                  <a:lnTo>
                    <a:pt x="5664" y="10172"/>
                  </a:lnTo>
                  <a:lnTo>
                    <a:pt x="5506" y="10172"/>
                  </a:lnTo>
                  <a:lnTo>
                    <a:pt x="5370" y="10240"/>
                  </a:lnTo>
                  <a:lnTo>
                    <a:pt x="5273" y="10337"/>
                  </a:lnTo>
                  <a:lnTo>
                    <a:pt x="5101" y="10364"/>
                  </a:lnTo>
                  <a:lnTo>
                    <a:pt x="5002" y="10364"/>
                  </a:lnTo>
                  <a:lnTo>
                    <a:pt x="4982" y="10538"/>
                  </a:lnTo>
                  <a:lnTo>
                    <a:pt x="4867" y="10739"/>
                  </a:lnTo>
                  <a:lnTo>
                    <a:pt x="4738" y="10945"/>
                  </a:lnTo>
                  <a:lnTo>
                    <a:pt x="4563" y="11169"/>
                  </a:lnTo>
                  <a:lnTo>
                    <a:pt x="4385" y="11316"/>
                  </a:lnTo>
                  <a:lnTo>
                    <a:pt x="4328" y="11463"/>
                  </a:lnTo>
                  <a:lnTo>
                    <a:pt x="4152" y="11706"/>
                  </a:lnTo>
                  <a:lnTo>
                    <a:pt x="4065" y="11719"/>
                  </a:lnTo>
                  <a:lnTo>
                    <a:pt x="3934" y="11751"/>
                  </a:lnTo>
                  <a:lnTo>
                    <a:pt x="3849" y="11911"/>
                  </a:lnTo>
                  <a:lnTo>
                    <a:pt x="3781" y="12158"/>
                  </a:lnTo>
                  <a:lnTo>
                    <a:pt x="3725" y="12255"/>
                  </a:lnTo>
                  <a:lnTo>
                    <a:pt x="3603" y="12585"/>
                  </a:lnTo>
                  <a:lnTo>
                    <a:pt x="3316" y="12676"/>
                  </a:lnTo>
                  <a:lnTo>
                    <a:pt x="3265" y="12951"/>
                  </a:lnTo>
                  <a:lnTo>
                    <a:pt x="3134" y="12987"/>
                  </a:lnTo>
                  <a:lnTo>
                    <a:pt x="3035" y="12919"/>
                  </a:lnTo>
                  <a:lnTo>
                    <a:pt x="2939" y="12754"/>
                  </a:lnTo>
                  <a:cubicBezTo>
                    <a:pt x="2886" y="12812"/>
                    <a:pt x="2837" y="12876"/>
                    <a:pt x="2790" y="12947"/>
                  </a:cubicBezTo>
                  <a:cubicBezTo>
                    <a:pt x="2744" y="13015"/>
                    <a:pt x="2702" y="13088"/>
                    <a:pt x="2663" y="13166"/>
                  </a:cubicBezTo>
                  <a:lnTo>
                    <a:pt x="2511" y="13235"/>
                  </a:lnTo>
                  <a:lnTo>
                    <a:pt x="2334" y="13327"/>
                  </a:lnTo>
                  <a:lnTo>
                    <a:pt x="2256" y="13258"/>
                  </a:lnTo>
                  <a:lnTo>
                    <a:pt x="2079" y="13176"/>
                  </a:lnTo>
                  <a:lnTo>
                    <a:pt x="1886" y="13313"/>
                  </a:lnTo>
                  <a:lnTo>
                    <a:pt x="1701" y="13451"/>
                  </a:lnTo>
                  <a:lnTo>
                    <a:pt x="1776" y="13589"/>
                  </a:lnTo>
                  <a:lnTo>
                    <a:pt x="1890" y="13693"/>
                  </a:lnTo>
                  <a:lnTo>
                    <a:pt x="2105" y="13776"/>
                  </a:lnTo>
                  <a:lnTo>
                    <a:pt x="2379" y="13955"/>
                  </a:lnTo>
                  <a:lnTo>
                    <a:pt x="2554" y="14129"/>
                  </a:lnTo>
                  <a:lnTo>
                    <a:pt x="2659" y="14413"/>
                  </a:lnTo>
                  <a:lnTo>
                    <a:pt x="2704" y="14587"/>
                  </a:lnTo>
                  <a:lnTo>
                    <a:pt x="2768" y="14861"/>
                  </a:lnTo>
                  <a:lnTo>
                    <a:pt x="2792" y="15475"/>
                  </a:lnTo>
                  <a:lnTo>
                    <a:pt x="2771" y="15814"/>
                  </a:lnTo>
                  <a:cubicBezTo>
                    <a:pt x="2745" y="15996"/>
                    <a:pt x="2708" y="16172"/>
                    <a:pt x="2661" y="16341"/>
                  </a:cubicBezTo>
                  <a:cubicBezTo>
                    <a:pt x="2629" y="16460"/>
                    <a:pt x="2591" y="16574"/>
                    <a:pt x="2549" y="16684"/>
                  </a:cubicBezTo>
                  <a:lnTo>
                    <a:pt x="2342" y="16817"/>
                  </a:lnTo>
                  <a:lnTo>
                    <a:pt x="2030" y="16830"/>
                  </a:lnTo>
                  <a:lnTo>
                    <a:pt x="1856" y="16830"/>
                  </a:lnTo>
                  <a:lnTo>
                    <a:pt x="1549" y="16804"/>
                  </a:lnTo>
                  <a:lnTo>
                    <a:pt x="1329" y="16707"/>
                  </a:lnTo>
                  <a:lnTo>
                    <a:pt x="970" y="16537"/>
                  </a:lnTo>
                  <a:lnTo>
                    <a:pt x="739" y="16469"/>
                  </a:lnTo>
                  <a:lnTo>
                    <a:pt x="478" y="16547"/>
                  </a:lnTo>
                  <a:lnTo>
                    <a:pt x="293" y="16647"/>
                  </a:lnTo>
                  <a:lnTo>
                    <a:pt x="164" y="17042"/>
                  </a:lnTo>
                  <a:lnTo>
                    <a:pt x="199" y="17371"/>
                  </a:lnTo>
                  <a:lnTo>
                    <a:pt x="231" y="17765"/>
                  </a:lnTo>
                  <a:lnTo>
                    <a:pt x="199" y="18217"/>
                  </a:lnTo>
                  <a:lnTo>
                    <a:pt x="86" y="18602"/>
                  </a:lnTo>
                  <a:lnTo>
                    <a:pt x="24" y="19028"/>
                  </a:lnTo>
                  <a:lnTo>
                    <a:pt x="0" y="19390"/>
                  </a:lnTo>
                  <a:lnTo>
                    <a:pt x="32" y="19623"/>
                  </a:lnTo>
                  <a:lnTo>
                    <a:pt x="105" y="19880"/>
                  </a:lnTo>
                  <a:lnTo>
                    <a:pt x="97" y="20137"/>
                  </a:lnTo>
                  <a:lnTo>
                    <a:pt x="40" y="20343"/>
                  </a:lnTo>
                  <a:lnTo>
                    <a:pt x="81" y="20612"/>
                  </a:lnTo>
                  <a:lnTo>
                    <a:pt x="245" y="20708"/>
                  </a:lnTo>
                  <a:lnTo>
                    <a:pt x="417" y="20644"/>
                  </a:lnTo>
                  <a:lnTo>
                    <a:pt x="624" y="20794"/>
                  </a:lnTo>
                  <a:lnTo>
                    <a:pt x="693" y="20881"/>
                  </a:lnTo>
                  <a:lnTo>
                    <a:pt x="1007" y="21211"/>
                  </a:lnTo>
                  <a:lnTo>
                    <a:pt x="1064" y="21408"/>
                  </a:lnTo>
                  <a:lnTo>
                    <a:pt x="1160" y="21436"/>
                  </a:lnTo>
                  <a:lnTo>
                    <a:pt x="1241" y="21600"/>
                  </a:lnTo>
                  <a:lnTo>
                    <a:pt x="1286" y="21437"/>
                  </a:lnTo>
                  <a:lnTo>
                    <a:pt x="1286" y="21236"/>
                  </a:lnTo>
                  <a:lnTo>
                    <a:pt x="1358" y="21119"/>
                  </a:lnTo>
                  <a:lnTo>
                    <a:pt x="1562" y="21092"/>
                  </a:lnTo>
                  <a:lnTo>
                    <a:pt x="1667" y="21105"/>
                  </a:lnTo>
                  <a:cubicBezTo>
                    <a:pt x="1731" y="21119"/>
                    <a:pt x="1796" y="21128"/>
                    <a:pt x="1860" y="21133"/>
                  </a:cubicBezTo>
                  <a:cubicBezTo>
                    <a:pt x="1936" y="21139"/>
                    <a:pt x="2011" y="21139"/>
                    <a:pt x="2086" y="21133"/>
                  </a:cubicBezTo>
                  <a:lnTo>
                    <a:pt x="2247" y="21051"/>
                  </a:lnTo>
                  <a:lnTo>
                    <a:pt x="2333" y="20941"/>
                  </a:lnTo>
                  <a:lnTo>
                    <a:pt x="2422" y="20693"/>
                  </a:lnTo>
                  <a:lnTo>
                    <a:pt x="2519" y="20556"/>
                  </a:lnTo>
                  <a:lnTo>
                    <a:pt x="2655" y="20387"/>
                  </a:lnTo>
                  <a:lnTo>
                    <a:pt x="2784" y="20214"/>
                  </a:lnTo>
                  <a:lnTo>
                    <a:pt x="2897" y="20063"/>
                  </a:lnTo>
                  <a:lnTo>
                    <a:pt x="2921" y="19885"/>
                  </a:lnTo>
                  <a:lnTo>
                    <a:pt x="2921" y="19541"/>
                  </a:lnTo>
                  <a:lnTo>
                    <a:pt x="2969" y="19349"/>
                  </a:lnTo>
                  <a:lnTo>
                    <a:pt x="3039" y="19161"/>
                  </a:lnTo>
                  <a:lnTo>
                    <a:pt x="3241" y="18748"/>
                  </a:lnTo>
                  <a:lnTo>
                    <a:pt x="3257" y="18515"/>
                  </a:lnTo>
                  <a:cubicBezTo>
                    <a:pt x="3267" y="18464"/>
                    <a:pt x="3283" y="18417"/>
                    <a:pt x="3305" y="18379"/>
                  </a:cubicBezTo>
                  <a:cubicBezTo>
                    <a:pt x="3367" y="18269"/>
                    <a:pt x="3459" y="18240"/>
                    <a:pt x="3541" y="18187"/>
                  </a:cubicBezTo>
                  <a:cubicBezTo>
                    <a:pt x="3616" y="18139"/>
                    <a:pt x="3685" y="18071"/>
                    <a:pt x="3745" y="17985"/>
                  </a:cubicBezTo>
                  <a:lnTo>
                    <a:pt x="3923" y="17728"/>
                  </a:lnTo>
                  <a:lnTo>
                    <a:pt x="4081" y="17581"/>
                  </a:lnTo>
                  <a:lnTo>
                    <a:pt x="4167" y="17554"/>
                  </a:lnTo>
                  <a:lnTo>
                    <a:pt x="4059" y="17247"/>
                  </a:lnTo>
                  <a:lnTo>
                    <a:pt x="3955" y="17261"/>
                  </a:lnTo>
                  <a:lnTo>
                    <a:pt x="3938" y="16973"/>
                  </a:lnTo>
                  <a:lnTo>
                    <a:pt x="4118" y="16859"/>
                  </a:lnTo>
                  <a:lnTo>
                    <a:pt x="4354" y="16726"/>
                  </a:lnTo>
                  <a:lnTo>
                    <a:pt x="4432" y="16658"/>
                  </a:lnTo>
                  <a:lnTo>
                    <a:pt x="4620" y="16554"/>
                  </a:lnTo>
                  <a:lnTo>
                    <a:pt x="4738" y="16663"/>
                  </a:lnTo>
                  <a:lnTo>
                    <a:pt x="4945" y="16842"/>
                  </a:lnTo>
                  <a:lnTo>
                    <a:pt x="5057" y="16801"/>
                  </a:lnTo>
                  <a:lnTo>
                    <a:pt x="5270" y="16614"/>
                  </a:lnTo>
                  <a:cubicBezTo>
                    <a:pt x="5348" y="16588"/>
                    <a:pt x="5424" y="16547"/>
                    <a:pt x="5495" y="16490"/>
                  </a:cubicBezTo>
                  <a:cubicBezTo>
                    <a:pt x="5582" y="16422"/>
                    <a:pt x="5661" y="16332"/>
                    <a:pt x="5732" y="16224"/>
                  </a:cubicBezTo>
                  <a:lnTo>
                    <a:pt x="5896" y="16096"/>
                  </a:lnTo>
                  <a:lnTo>
                    <a:pt x="6009" y="16027"/>
                  </a:lnTo>
                  <a:lnTo>
                    <a:pt x="6185" y="15959"/>
                  </a:lnTo>
                  <a:lnTo>
                    <a:pt x="6336" y="16187"/>
                  </a:lnTo>
                  <a:lnTo>
                    <a:pt x="6513" y="16558"/>
                  </a:lnTo>
                  <a:lnTo>
                    <a:pt x="6478" y="16957"/>
                  </a:lnTo>
                  <a:lnTo>
                    <a:pt x="6566" y="17191"/>
                  </a:lnTo>
                  <a:cubicBezTo>
                    <a:pt x="6627" y="17266"/>
                    <a:pt x="6693" y="17327"/>
                    <a:pt x="6762" y="17374"/>
                  </a:cubicBezTo>
                  <a:cubicBezTo>
                    <a:pt x="6828" y="17418"/>
                    <a:pt x="6896" y="17449"/>
                    <a:pt x="6961" y="17493"/>
                  </a:cubicBezTo>
                  <a:cubicBezTo>
                    <a:pt x="7076" y="17571"/>
                    <a:pt x="7181" y="17688"/>
                    <a:pt x="7268" y="17837"/>
                  </a:cubicBezTo>
                  <a:lnTo>
                    <a:pt x="7381" y="17960"/>
                  </a:lnTo>
                  <a:lnTo>
                    <a:pt x="7502" y="18097"/>
                  </a:lnTo>
                  <a:lnTo>
                    <a:pt x="7652" y="18230"/>
                  </a:lnTo>
                  <a:lnTo>
                    <a:pt x="7765" y="18312"/>
                  </a:lnTo>
                  <a:lnTo>
                    <a:pt x="7950" y="18500"/>
                  </a:lnTo>
                  <a:lnTo>
                    <a:pt x="8004" y="18619"/>
                  </a:lnTo>
                  <a:lnTo>
                    <a:pt x="8122" y="18894"/>
                  </a:lnTo>
                  <a:lnTo>
                    <a:pt x="8273" y="19251"/>
                  </a:lnTo>
                  <a:lnTo>
                    <a:pt x="8399" y="19535"/>
                  </a:lnTo>
                  <a:lnTo>
                    <a:pt x="8203" y="19705"/>
                  </a:lnTo>
                  <a:lnTo>
                    <a:pt x="8232" y="19896"/>
                  </a:lnTo>
                  <a:lnTo>
                    <a:pt x="8184" y="20192"/>
                  </a:lnTo>
                  <a:lnTo>
                    <a:pt x="8313" y="20256"/>
                  </a:lnTo>
                  <a:lnTo>
                    <a:pt x="8369" y="20092"/>
                  </a:lnTo>
                  <a:lnTo>
                    <a:pt x="8471" y="19927"/>
                  </a:lnTo>
                  <a:lnTo>
                    <a:pt x="8584" y="19703"/>
                  </a:lnTo>
                  <a:lnTo>
                    <a:pt x="8621" y="19542"/>
                  </a:lnTo>
                  <a:lnTo>
                    <a:pt x="8570" y="19314"/>
                  </a:lnTo>
                  <a:lnTo>
                    <a:pt x="8522" y="19090"/>
                  </a:lnTo>
                  <a:lnTo>
                    <a:pt x="8493" y="18927"/>
                  </a:lnTo>
                  <a:lnTo>
                    <a:pt x="8573" y="18716"/>
                  </a:lnTo>
                  <a:lnTo>
                    <a:pt x="8735" y="18702"/>
                  </a:lnTo>
                  <a:lnTo>
                    <a:pt x="8831" y="18752"/>
                  </a:lnTo>
                  <a:lnTo>
                    <a:pt x="8888" y="18876"/>
                  </a:lnTo>
                  <a:lnTo>
                    <a:pt x="9070" y="18944"/>
                  </a:lnTo>
                  <a:lnTo>
                    <a:pt x="9159" y="18880"/>
                  </a:lnTo>
                  <a:lnTo>
                    <a:pt x="9054" y="18697"/>
                  </a:lnTo>
                  <a:lnTo>
                    <a:pt x="8898" y="18523"/>
                  </a:lnTo>
                  <a:lnTo>
                    <a:pt x="8594" y="18261"/>
                  </a:lnTo>
                  <a:lnTo>
                    <a:pt x="8368" y="18041"/>
                  </a:lnTo>
                  <a:lnTo>
                    <a:pt x="8097" y="17835"/>
                  </a:lnTo>
                  <a:lnTo>
                    <a:pt x="7917" y="17422"/>
                  </a:lnTo>
                  <a:lnTo>
                    <a:pt x="7716" y="17353"/>
                  </a:lnTo>
                  <a:lnTo>
                    <a:pt x="7485" y="16964"/>
                  </a:lnTo>
                  <a:lnTo>
                    <a:pt x="7541" y="16565"/>
                  </a:lnTo>
                  <a:lnTo>
                    <a:pt x="7398" y="16378"/>
                  </a:lnTo>
                  <a:lnTo>
                    <a:pt x="7222" y="16240"/>
                  </a:lnTo>
                  <a:lnTo>
                    <a:pt x="6975" y="15938"/>
                  </a:lnTo>
                  <a:lnTo>
                    <a:pt x="6974" y="15498"/>
                  </a:lnTo>
                  <a:lnTo>
                    <a:pt x="7213" y="15265"/>
                  </a:lnTo>
                  <a:lnTo>
                    <a:pt x="7388" y="15320"/>
                  </a:lnTo>
                  <a:lnTo>
                    <a:pt x="7527" y="15712"/>
                  </a:lnTo>
                  <a:lnTo>
                    <a:pt x="7790" y="15919"/>
                  </a:lnTo>
                  <a:cubicBezTo>
                    <a:pt x="7896" y="15936"/>
                    <a:pt x="7997" y="15992"/>
                    <a:pt x="8089" y="16084"/>
                  </a:cubicBezTo>
                  <a:cubicBezTo>
                    <a:pt x="8148" y="16143"/>
                    <a:pt x="8203" y="16217"/>
                    <a:pt x="8250" y="16304"/>
                  </a:cubicBezTo>
                  <a:lnTo>
                    <a:pt x="8390" y="16623"/>
                  </a:lnTo>
                  <a:lnTo>
                    <a:pt x="8497" y="16783"/>
                  </a:lnTo>
                  <a:lnTo>
                    <a:pt x="8659" y="16893"/>
                  </a:lnTo>
                  <a:cubicBezTo>
                    <a:pt x="8718" y="16911"/>
                    <a:pt x="8777" y="16939"/>
                    <a:pt x="8833" y="16975"/>
                  </a:cubicBezTo>
                  <a:cubicBezTo>
                    <a:pt x="8886" y="17009"/>
                    <a:pt x="8937" y="17050"/>
                    <a:pt x="8986" y="17098"/>
                  </a:cubicBezTo>
                  <a:lnTo>
                    <a:pt x="9201" y="17368"/>
                  </a:lnTo>
                  <a:lnTo>
                    <a:pt x="9367" y="17642"/>
                  </a:lnTo>
                  <a:lnTo>
                    <a:pt x="9448" y="18069"/>
                  </a:lnTo>
                  <a:lnTo>
                    <a:pt x="9472" y="18476"/>
                  </a:lnTo>
                  <a:lnTo>
                    <a:pt x="9480" y="18860"/>
                  </a:lnTo>
                  <a:lnTo>
                    <a:pt x="9606" y="19231"/>
                  </a:lnTo>
                  <a:lnTo>
                    <a:pt x="9708" y="19433"/>
                  </a:lnTo>
                  <a:lnTo>
                    <a:pt x="9931" y="19550"/>
                  </a:lnTo>
                  <a:lnTo>
                    <a:pt x="10097" y="19631"/>
                  </a:lnTo>
                  <a:lnTo>
                    <a:pt x="10223" y="19645"/>
                  </a:lnTo>
                  <a:lnTo>
                    <a:pt x="10379" y="19791"/>
                  </a:lnTo>
                  <a:lnTo>
                    <a:pt x="10473" y="19924"/>
                  </a:lnTo>
                  <a:lnTo>
                    <a:pt x="10384" y="20183"/>
                  </a:lnTo>
                  <a:lnTo>
                    <a:pt x="10159" y="20128"/>
                  </a:lnTo>
                  <a:lnTo>
                    <a:pt x="10073" y="20243"/>
                  </a:lnTo>
                  <a:lnTo>
                    <a:pt x="10193" y="20472"/>
                  </a:lnTo>
                  <a:lnTo>
                    <a:pt x="10266" y="20815"/>
                  </a:lnTo>
                  <a:cubicBezTo>
                    <a:pt x="10273" y="20912"/>
                    <a:pt x="10304" y="20999"/>
                    <a:pt x="10352" y="21053"/>
                  </a:cubicBezTo>
                  <a:cubicBezTo>
                    <a:pt x="10384" y="21090"/>
                    <a:pt x="10423" y="21109"/>
                    <a:pt x="10462" y="21108"/>
                  </a:cubicBezTo>
                  <a:lnTo>
                    <a:pt x="10696" y="20998"/>
                  </a:lnTo>
                  <a:lnTo>
                    <a:pt x="10712" y="20701"/>
                  </a:lnTo>
                  <a:cubicBezTo>
                    <a:pt x="10707" y="20596"/>
                    <a:pt x="10707" y="20491"/>
                    <a:pt x="10712" y="20387"/>
                  </a:cubicBezTo>
                  <a:cubicBezTo>
                    <a:pt x="10716" y="20296"/>
                    <a:pt x="10724" y="20206"/>
                    <a:pt x="10736" y="20117"/>
                  </a:cubicBezTo>
                  <a:cubicBezTo>
                    <a:pt x="10735" y="20034"/>
                    <a:pt x="10727" y="19953"/>
                    <a:pt x="10712" y="19874"/>
                  </a:cubicBezTo>
                  <a:cubicBezTo>
                    <a:pt x="10684" y="19724"/>
                    <a:pt x="10633" y="19589"/>
                    <a:pt x="10564" y="19484"/>
                  </a:cubicBezTo>
                  <a:lnTo>
                    <a:pt x="10443" y="19117"/>
                  </a:lnTo>
                  <a:cubicBezTo>
                    <a:pt x="10405" y="19035"/>
                    <a:pt x="10398" y="18922"/>
                    <a:pt x="10427" y="18829"/>
                  </a:cubicBezTo>
                  <a:cubicBezTo>
                    <a:pt x="10451" y="18751"/>
                    <a:pt x="10497" y="18700"/>
                    <a:pt x="10548" y="18692"/>
                  </a:cubicBezTo>
                  <a:lnTo>
                    <a:pt x="10680" y="18705"/>
                  </a:lnTo>
                  <a:lnTo>
                    <a:pt x="10811" y="18765"/>
                  </a:lnTo>
                  <a:lnTo>
                    <a:pt x="10929" y="18911"/>
                  </a:lnTo>
                  <a:lnTo>
                    <a:pt x="10953" y="18597"/>
                  </a:lnTo>
                  <a:lnTo>
                    <a:pt x="11025" y="18391"/>
                  </a:lnTo>
                  <a:lnTo>
                    <a:pt x="11310" y="18336"/>
                  </a:lnTo>
                  <a:lnTo>
                    <a:pt x="11533" y="18336"/>
                  </a:lnTo>
                  <a:lnTo>
                    <a:pt x="11766" y="18570"/>
                  </a:lnTo>
                  <a:lnTo>
                    <a:pt x="11991" y="18469"/>
                  </a:lnTo>
                  <a:lnTo>
                    <a:pt x="12104" y="18400"/>
                  </a:lnTo>
                  <a:lnTo>
                    <a:pt x="12392" y="18317"/>
                  </a:lnTo>
                  <a:lnTo>
                    <a:pt x="12469" y="18171"/>
                  </a:lnTo>
                  <a:cubicBezTo>
                    <a:pt x="12441" y="18118"/>
                    <a:pt x="12413" y="18066"/>
                    <a:pt x="12383" y="18015"/>
                  </a:cubicBezTo>
                  <a:cubicBezTo>
                    <a:pt x="12320" y="17907"/>
                    <a:pt x="12252" y="17806"/>
                    <a:pt x="12181" y="17713"/>
                  </a:cubicBezTo>
                  <a:cubicBezTo>
                    <a:pt x="12169" y="17590"/>
                    <a:pt x="12166" y="17465"/>
                    <a:pt x="12173" y="17342"/>
                  </a:cubicBezTo>
                  <a:cubicBezTo>
                    <a:pt x="12182" y="17201"/>
                    <a:pt x="12204" y="17063"/>
                    <a:pt x="12238" y="16934"/>
                  </a:cubicBezTo>
                  <a:lnTo>
                    <a:pt x="12262" y="16700"/>
                  </a:lnTo>
                  <a:lnTo>
                    <a:pt x="12383" y="16233"/>
                  </a:lnTo>
                  <a:lnTo>
                    <a:pt x="12447" y="15904"/>
                  </a:lnTo>
                  <a:lnTo>
                    <a:pt x="12552" y="15455"/>
                  </a:lnTo>
                  <a:lnTo>
                    <a:pt x="12671" y="15194"/>
                  </a:lnTo>
                  <a:lnTo>
                    <a:pt x="12888" y="14822"/>
                  </a:lnTo>
                  <a:lnTo>
                    <a:pt x="13179" y="14607"/>
                  </a:lnTo>
                  <a:lnTo>
                    <a:pt x="13407" y="14414"/>
                  </a:lnTo>
                  <a:lnTo>
                    <a:pt x="13485" y="14588"/>
                  </a:lnTo>
                  <a:lnTo>
                    <a:pt x="13485" y="14898"/>
                  </a:lnTo>
                  <a:lnTo>
                    <a:pt x="13692" y="14926"/>
                  </a:lnTo>
                  <a:lnTo>
                    <a:pt x="13794" y="15008"/>
                  </a:lnTo>
                  <a:lnTo>
                    <a:pt x="13842" y="15254"/>
                  </a:lnTo>
                  <a:lnTo>
                    <a:pt x="13659" y="15264"/>
                  </a:lnTo>
                  <a:lnTo>
                    <a:pt x="13643" y="15414"/>
                  </a:lnTo>
                  <a:lnTo>
                    <a:pt x="13845" y="15703"/>
                  </a:lnTo>
                  <a:lnTo>
                    <a:pt x="13960" y="15946"/>
                  </a:lnTo>
                  <a:lnTo>
                    <a:pt x="14162" y="15979"/>
                  </a:lnTo>
                  <a:lnTo>
                    <a:pt x="14250" y="15857"/>
                  </a:lnTo>
                  <a:lnTo>
                    <a:pt x="14403" y="15678"/>
                  </a:lnTo>
                  <a:lnTo>
                    <a:pt x="14752" y="15546"/>
                  </a:lnTo>
                  <a:lnTo>
                    <a:pt x="14728" y="15315"/>
                  </a:lnTo>
                  <a:lnTo>
                    <a:pt x="14639" y="15250"/>
                  </a:lnTo>
                  <a:lnTo>
                    <a:pt x="14489" y="15305"/>
                  </a:lnTo>
                  <a:cubicBezTo>
                    <a:pt x="14437" y="15251"/>
                    <a:pt x="14386" y="15193"/>
                    <a:pt x="14336" y="15132"/>
                  </a:cubicBezTo>
                  <a:cubicBezTo>
                    <a:pt x="14301" y="15088"/>
                    <a:pt x="14266" y="15042"/>
                    <a:pt x="14232" y="14994"/>
                  </a:cubicBezTo>
                  <a:lnTo>
                    <a:pt x="14288" y="14817"/>
                  </a:lnTo>
                  <a:lnTo>
                    <a:pt x="14447" y="14721"/>
                  </a:lnTo>
                  <a:lnTo>
                    <a:pt x="14613" y="14569"/>
                  </a:lnTo>
                  <a:lnTo>
                    <a:pt x="14824" y="14382"/>
                  </a:lnTo>
                  <a:lnTo>
                    <a:pt x="14966" y="14231"/>
                  </a:lnTo>
                  <a:lnTo>
                    <a:pt x="15155" y="14089"/>
                  </a:lnTo>
                  <a:lnTo>
                    <a:pt x="15299" y="14048"/>
                  </a:lnTo>
                  <a:lnTo>
                    <a:pt x="15474" y="14204"/>
                  </a:lnTo>
                  <a:lnTo>
                    <a:pt x="15391" y="14386"/>
                  </a:lnTo>
                  <a:lnTo>
                    <a:pt x="15273" y="14666"/>
                  </a:lnTo>
                  <a:lnTo>
                    <a:pt x="15265" y="14990"/>
                  </a:lnTo>
                  <a:lnTo>
                    <a:pt x="15230" y="15325"/>
                  </a:lnTo>
                  <a:lnTo>
                    <a:pt x="15118" y="15517"/>
                  </a:lnTo>
                  <a:lnTo>
                    <a:pt x="15096" y="15705"/>
                  </a:lnTo>
                  <a:lnTo>
                    <a:pt x="15233" y="15800"/>
                  </a:lnTo>
                  <a:cubicBezTo>
                    <a:pt x="15284" y="15813"/>
                    <a:pt x="15335" y="15836"/>
                    <a:pt x="15383" y="15869"/>
                  </a:cubicBezTo>
                  <a:cubicBezTo>
                    <a:pt x="15456" y="15919"/>
                    <a:pt x="15524" y="15992"/>
                    <a:pt x="15582" y="16084"/>
                  </a:cubicBezTo>
                  <a:lnTo>
                    <a:pt x="15792" y="16341"/>
                  </a:lnTo>
                  <a:lnTo>
                    <a:pt x="16009" y="16409"/>
                  </a:lnTo>
                  <a:lnTo>
                    <a:pt x="16163" y="16684"/>
                  </a:lnTo>
                  <a:lnTo>
                    <a:pt x="16364" y="16863"/>
                  </a:lnTo>
                  <a:lnTo>
                    <a:pt x="16519" y="17063"/>
                  </a:lnTo>
                  <a:lnTo>
                    <a:pt x="16602" y="17384"/>
                  </a:lnTo>
                  <a:lnTo>
                    <a:pt x="16900" y="17421"/>
                  </a:lnTo>
                  <a:lnTo>
                    <a:pt x="17231" y="17499"/>
                  </a:lnTo>
                  <a:lnTo>
                    <a:pt x="17545" y="17705"/>
                  </a:lnTo>
                  <a:lnTo>
                    <a:pt x="17840" y="17980"/>
                  </a:lnTo>
                  <a:lnTo>
                    <a:pt x="18090" y="18259"/>
                  </a:lnTo>
                  <a:lnTo>
                    <a:pt x="18475" y="18575"/>
                  </a:lnTo>
                  <a:lnTo>
                    <a:pt x="18792" y="18777"/>
                  </a:lnTo>
                  <a:lnTo>
                    <a:pt x="19129" y="19050"/>
                  </a:lnTo>
                  <a:lnTo>
                    <a:pt x="19351" y="19182"/>
                  </a:lnTo>
                  <a:lnTo>
                    <a:pt x="19359" y="18839"/>
                  </a:lnTo>
                  <a:lnTo>
                    <a:pt x="19201" y="18353"/>
                  </a:lnTo>
                  <a:lnTo>
                    <a:pt x="19056" y="17804"/>
                  </a:lnTo>
                  <a:lnTo>
                    <a:pt x="18836" y="17575"/>
                  </a:lnTo>
                  <a:lnTo>
                    <a:pt x="18691" y="17287"/>
                  </a:lnTo>
                  <a:lnTo>
                    <a:pt x="18580" y="17027"/>
                  </a:lnTo>
                  <a:lnTo>
                    <a:pt x="18437" y="16793"/>
                  </a:lnTo>
                  <a:lnTo>
                    <a:pt x="18437" y="16531"/>
                  </a:lnTo>
                  <a:lnTo>
                    <a:pt x="18220" y="16330"/>
                  </a:lnTo>
                  <a:lnTo>
                    <a:pt x="18064" y="15973"/>
                  </a:lnTo>
                  <a:lnTo>
                    <a:pt x="18247" y="15607"/>
                  </a:lnTo>
                  <a:lnTo>
                    <a:pt x="18424" y="15318"/>
                  </a:lnTo>
                  <a:lnTo>
                    <a:pt x="18655" y="15304"/>
                  </a:lnTo>
                  <a:lnTo>
                    <a:pt x="18759" y="15057"/>
                  </a:lnTo>
                  <a:cubicBezTo>
                    <a:pt x="18777" y="14995"/>
                    <a:pt x="18799" y="14935"/>
                    <a:pt x="18824" y="14880"/>
                  </a:cubicBezTo>
                  <a:cubicBezTo>
                    <a:pt x="18871" y="14776"/>
                    <a:pt x="18929" y="14689"/>
                    <a:pt x="18996" y="14623"/>
                  </a:cubicBezTo>
                  <a:lnTo>
                    <a:pt x="19321" y="14418"/>
                  </a:lnTo>
                  <a:lnTo>
                    <a:pt x="19622" y="14295"/>
                  </a:lnTo>
                  <a:lnTo>
                    <a:pt x="19459" y="13998"/>
                  </a:lnTo>
                  <a:lnTo>
                    <a:pt x="19352" y="13728"/>
                  </a:lnTo>
                  <a:lnTo>
                    <a:pt x="19263" y="13311"/>
                  </a:lnTo>
                  <a:lnTo>
                    <a:pt x="19263" y="12674"/>
                  </a:lnTo>
                  <a:lnTo>
                    <a:pt x="19094" y="12413"/>
                  </a:lnTo>
                  <a:lnTo>
                    <a:pt x="18905" y="12303"/>
                  </a:lnTo>
                  <a:lnTo>
                    <a:pt x="18825" y="11587"/>
                  </a:lnTo>
                  <a:lnTo>
                    <a:pt x="18825" y="11300"/>
                  </a:lnTo>
                  <a:lnTo>
                    <a:pt x="19026" y="11176"/>
                  </a:lnTo>
                  <a:lnTo>
                    <a:pt x="19153" y="11204"/>
                  </a:lnTo>
                  <a:lnTo>
                    <a:pt x="19685" y="11492"/>
                  </a:lnTo>
                  <a:lnTo>
                    <a:pt x="19916" y="11286"/>
                  </a:lnTo>
                  <a:lnTo>
                    <a:pt x="20085" y="11176"/>
                  </a:lnTo>
                  <a:lnTo>
                    <a:pt x="20330" y="11204"/>
                  </a:lnTo>
                  <a:lnTo>
                    <a:pt x="20504" y="11392"/>
                  </a:lnTo>
                  <a:lnTo>
                    <a:pt x="20892" y="11571"/>
                  </a:lnTo>
                  <a:lnTo>
                    <a:pt x="21279" y="11763"/>
                  </a:lnTo>
                  <a:lnTo>
                    <a:pt x="21416" y="11557"/>
                  </a:lnTo>
                  <a:lnTo>
                    <a:pt x="21488" y="11250"/>
                  </a:lnTo>
                  <a:lnTo>
                    <a:pt x="21480" y="10939"/>
                  </a:lnTo>
                  <a:lnTo>
                    <a:pt x="21585" y="10788"/>
                  </a:lnTo>
                  <a:lnTo>
                    <a:pt x="21472" y="10615"/>
                  </a:lnTo>
                  <a:lnTo>
                    <a:pt x="21445" y="10409"/>
                  </a:lnTo>
                  <a:lnTo>
                    <a:pt x="21539" y="10161"/>
                  </a:lnTo>
                  <a:lnTo>
                    <a:pt x="21600" y="9773"/>
                  </a:lnTo>
                  <a:lnTo>
                    <a:pt x="21449" y="9398"/>
                  </a:lnTo>
                  <a:lnTo>
                    <a:pt x="21248" y="9192"/>
                  </a:lnTo>
                  <a:lnTo>
                    <a:pt x="21117" y="9270"/>
                  </a:lnTo>
                  <a:lnTo>
                    <a:pt x="21077" y="9513"/>
                  </a:lnTo>
                  <a:lnTo>
                    <a:pt x="21021" y="9718"/>
                  </a:lnTo>
                  <a:lnTo>
                    <a:pt x="20909" y="9814"/>
                  </a:lnTo>
                  <a:lnTo>
                    <a:pt x="20756" y="9882"/>
                  </a:lnTo>
                  <a:lnTo>
                    <a:pt x="20592" y="9662"/>
                  </a:lnTo>
                  <a:lnTo>
                    <a:pt x="20385" y="9355"/>
                  </a:lnTo>
                  <a:lnTo>
                    <a:pt x="20422" y="9122"/>
                  </a:lnTo>
                  <a:lnTo>
                    <a:pt x="20264" y="8894"/>
                  </a:lnTo>
                  <a:lnTo>
                    <a:pt x="20434" y="8637"/>
                  </a:lnTo>
                  <a:lnTo>
                    <a:pt x="20710" y="8587"/>
                  </a:lnTo>
                  <a:lnTo>
                    <a:pt x="20858" y="8416"/>
                  </a:lnTo>
                  <a:lnTo>
                    <a:pt x="20898" y="8128"/>
                  </a:lnTo>
                  <a:lnTo>
                    <a:pt x="20858" y="7798"/>
                  </a:lnTo>
                  <a:lnTo>
                    <a:pt x="20732" y="7675"/>
                  </a:lnTo>
                  <a:lnTo>
                    <a:pt x="20644" y="7355"/>
                  </a:lnTo>
                  <a:lnTo>
                    <a:pt x="20491" y="7121"/>
                  </a:lnTo>
                  <a:lnTo>
                    <a:pt x="20507" y="6709"/>
                  </a:lnTo>
                  <a:lnTo>
                    <a:pt x="20499" y="6365"/>
                  </a:lnTo>
                  <a:lnTo>
                    <a:pt x="20459" y="5985"/>
                  </a:lnTo>
                  <a:lnTo>
                    <a:pt x="20451" y="5531"/>
                  </a:lnTo>
                  <a:lnTo>
                    <a:pt x="20370" y="5106"/>
                  </a:lnTo>
                  <a:lnTo>
                    <a:pt x="20231" y="4810"/>
                  </a:lnTo>
                  <a:lnTo>
                    <a:pt x="20145" y="4182"/>
                  </a:lnTo>
                  <a:lnTo>
                    <a:pt x="20065" y="3716"/>
                  </a:lnTo>
                  <a:lnTo>
                    <a:pt x="19979" y="3404"/>
                  </a:lnTo>
                  <a:lnTo>
                    <a:pt x="19963" y="3062"/>
                  </a:lnTo>
                  <a:lnTo>
                    <a:pt x="20091" y="2842"/>
                  </a:lnTo>
                  <a:lnTo>
                    <a:pt x="20317" y="2737"/>
                  </a:lnTo>
                  <a:lnTo>
                    <a:pt x="20570" y="2546"/>
                  </a:lnTo>
                  <a:lnTo>
                    <a:pt x="20683" y="2340"/>
                  </a:lnTo>
                  <a:lnTo>
                    <a:pt x="20965" y="2162"/>
                  </a:lnTo>
                  <a:lnTo>
                    <a:pt x="21059" y="2043"/>
                  </a:lnTo>
                  <a:lnTo>
                    <a:pt x="21076" y="1814"/>
                  </a:lnTo>
                  <a:lnTo>
                    <a:pt x="21092" y="1581"/>
                  </a:lnTo>
                  <a:lnTo>
                    <a:pt x="20928" y="1371"/>
                  </a:lnTo>
                  <a:lnTo>
                    <a:pt x="20807" y="1150"/>
                  </a:lnTo>
                  <a:close/>
                </a:path>
              </a:pathLst>
            </a:custGeom>
            <a:grpFill/>
            <a:ln w="25400" cap="flat">
              <a:noFill/>
              <a:prstDash val="solid"/>
              <a:miter lim="400000"/>
            </a:ln>
            <a:effectLst/>
          </p:spPr>
          <p:txBody>
            <a:bodyPr anchor="ctr"/>
            <a:lstStyle/>
            <a:p>
              <a:pPr algn="ctr"/>
              <a:endParaRPr/>
            </a:p>
          </p:txBody>
        </p:sp>
        <p:sp>
          <p:nvSpPr>
            <p:cNvPr id="118" name="îṧlïḋê">
              <a:extLst>
                <a:ext uri="{FF2B5EF4-FFF2-40B4-BE49-F238E27FC236}">
                  <a16:creationId xmlns="" xmlns:p14="http://schemas.microsoft.com/office/powerpoint/2010/main" xmlns:a16="http://schemas.microsoft.com/office/drawing/2014/main" id="{3B008F81-1E1F-4F79-BF7A-A2446476736E}"/>
                </a:ext>
              </a:extLst>
            </p:cNvPr>
            <p:cNvSpPr/>
            <p:nvPr/>
          </p:nvSpPr>
          <p:spPr>
            <a:xfrm>
              <a:off x="6872934" y="1426645"/>
              <a:ext cx="308560" cy="179738"/>
            </a:xfrm>
            <a:custGeom>
              <a:avLst/>
              <a:gdLst/>
              <a:ahLst/>
              <a:cxnLst>
                <a:cxn ang="0">
                  <a:pos x="wd2" y="hd2"/>
                </a:cxn>
                <a:cxn ang="5400000">
                  <a:pos x="wd2" y="hd2"/>
                </a:cxn>
                <a:cxn ang="10800000">
                  <a:pos x="wd2" y="hd2"/>
                </a:cxn>
                <a:cxn ang="16200000">
                  <a:pos x="wd2" y="hd2"/>
                </a:cxn>
              </a:cxnLst>
              <a:rect l="0" t="0" r="r" b="b"/>
              <a:pathLst>
                <a:path w="21600" h="21600" extrusionOk="0">
                  <a:moveTo>
                    <a:pt x="4445" y="7866"/>
                  </a:moveTo>
                  <a:lnTo>
                    <a:pt x="3880" y="8515"/>
                  </a:lnTo>
                  <a:lnTo>
                    <a:pt x="2778" y="8369"/>
                  </a:lnTo>
                  <a:lnTo>
                    <a:pt x="2178" y="9461"/>
                  </a:lnTo>
                  <a:lnTo>
                    <a:pt x="3120" y="10277"/>
                  </a:lnTo>
                  <a:lnTo>
                    <a:pt x="3156" y="12185"/>
                  </a:lnTo>
                  <a:lnTo>
                    <a:pt x="2430" y="12337"/>
                  </a:lnTo>
                  <a:lnTo>
                    <a:pt x="1278" y="11885"/>
                  </a:lnTo>
                  <a:lnTo>
                    <a:pt x="769" y="12613"/>
                  </a:lnTo>
                  <a:lnTo>
                    <a:pt x="566" y="13516"/>
                  </a:lnTo>
                  <a:lnTo>
                    <a:pt x="1354" y="13873"/>
                  </a:lnTo>
                  <a:lnTo>
                    <a:pt x="1463" y="14966"/>
                  </a:lnTo>
                  <a:lnTo>
                    <a:pt x="698" y="15754"/>
                  </a:lnTo>
                  <a:lnTo>
                    <a:pt x="273" y="16479"/>
                  </a:lnTo>
                  <a:lnTo>
                    <a:pt x="0" y="18023"/>
                  </a:lnTo>
                  <a:lnTo>
                    <a:pt x="841" y="18266"/>
                  </a:lnTo>
                  <a:lnTo>
                    <a:pt x="2336" y="18448"/>
                  </a:lnTo>
                  <a:lnTo>
                    <a:pt x="3297" y="19783"/>
                  </a:lnTo>
                  <a:lnTo>
                    <a:pt x="3987" y="20416"/>
                  </a:lnTo>
                  <a:lnTo>
                    <a:pt x="5126" y="21509"/>
                  </a:lnTo>
                  <a:lnTo>
                    <a:pt x="6761" y="21418"/>
                  </a:lnTo>
                  <a:lnTo>
                    <a:pt x="8539" y="21600"/>
                  </a:lnTo>
                  <a:lnTo>
                    <a:pt x="8021" y="19297"/>
                  </a:lnTo>
                  <a:lnTo>
                    <a:pt x="6548" y="18235"/>
                  </a:lnTo>
                  <a:lnTo>
                    <a:pt x="6499" y="15428"/>
                  </a:lnTo>
                  <a:lnTo>
                    <a:pt x="6997" y="13668"/>
                  </a:lnTo>
                  <a:lnTo>
                    <a:pt x="8012" y="10664"/>
                  </a:lnTo>
                  <a:lnTo>
                    <a:pt x="8386" y="8570"/>
                  </a:lnTo>
                  <a:lnTo>
                    <a:pt x="9594" y="6965"/>
                  </a:lnTo>
                  <a:lnTo>
                    <a:pt x="10818" y="7328"/>
                  </a:lnTo>
                  <a:lnTo>
                    <a:pt x="12132" y="6430"/>
                  </a:lnTo>
                  <a:lnTo>
                    <a:pt x="13272" y="5308"/>
                  </a:lnTo>
                  <a:lnTo>
                    <a:pt x="14533" y="4941"/>
                  </a:lnTo>
                  <a:lnTo>
                    <a:pt x="16291" y="4582"/>
                  </a:lnTo>
                  <a:cubicBezTo>
                    <a:pt x="16608" y="4821"/>
                    <a:pt x="16969" y="4821"/>
                    <a:pt x="17286" y="4583"/>
                  </a:cubicBezTo>
                  <a:cubicBezTo>
                    <a:pt x="17607" y="4341"/>
                    <a:pt x="17852" y="3877"/>
                    <a:pt x="17960" y="3308"/>
                  </a:cubicBezTo>
                  <a:lnTo>
                    <a:pt x="19113" y="3551"/>
                  </a:lnTo>
                  <a:lnTo>
                    <a:pt x="19985" y="3581"/>
                  </a:lnTo>
                  <a:lnTo>
                    <a:pt x="20338" y="2523"/>
                  </a:lnTo>
                  <a:lnTo>
                    <a:pt x="21351" y="2592"/>
                  </a:lnTo>
                  <a:lnTo>
                    <a:pt x="21600" y="1704"/>
                  </a:lnTo>
                  <a:lnTo>
                    <a:pt x="20641" y="1406"/>
                  </a:lnTo>
                  <a:lnTo>
                    <a:pt x="20071" y="705"/>
                  </a:lnTo>
                  <a:lnTo>
                    <a:pt x="18972" y="0"/>
                  </a:lnTo>
                  <a:lnTo>
                    <a:pt x="18514" y="430"/>
                  </a:lnTo>
                  <a:lnTo>
                    <a:pt x="18354" y="1523"/>
                  </a:lnTo>
                  <a:lnTo>
                    <a:pt x="17731" y="802"/>
                  </a:lnTo>
                  <a:lnTo>
                    <a:pt x="16469" y="984"/>
                  </a:lnTo>
                  <a:lnTo>
                    <a:pt x="15528" y="1617"/>
                  </a:lnTo>
                  <a:lnTo>
                    <a:pt x="14947" y="2494"/>
                  </a:lnTo>
                  <a:lnTo>
                    <a:pt x="13721" y="2312"/>
                  </a:lnTo>
                  <a:lnTo>
                    <a:pt x="11020" y="2130"/>
                  </a:lnTo>
                  <a:lnTo>
                    <a:pt x="9792" y="2039"/>
                  </a:lnTo>
                  <a:lnTo>
                    <a:pt x="8352" y="2392"/>
                  </a:lnTo>
                  <a:lnTo>
                    <a:pt x="7818" y="3025"/>
                  </a:lnTo>
                  <a:lnTo>
                    <a:pt x="6699" y="4565"/>
                  </a:lnTo>
                  <a:lnTo>
                    <a:pt x="5633" y="4656"/>
                  </a:lnTo>
                  <a:lnTo>
                    <a:pt x="4834" y="5829"/>
                  </a:lnTo>
                  <a:lnTo>
                    <a:pt x="4445" y="7866"/>
                  </a:lnTo>
                  <a:close/>
                </a:path>
              </a:pathLst>
            </a:custGeom>
            <a:grpFill/>
            <a:ln w="25400" cap="flat">
              <a:noFill/>
              <a:prstDash val="solid"/>
              <a:miter lim="400000"/>
            </a:ln>
            <a:effectLst/>
          </p:spPr>
          <p:txBody>
            <a:bodyPr anchor="ctr"/>
            <a:lstStyle/>
            <a:p>
              <a:pPr algn="ctr"/>
              <a:endParaRPr/>
            </a:p>
          </p:txBody>
        </p:sp>
        <p:sp>
          <p:nvSpPr>
            <p:cNvPr id="119" name="îṣľíḍe">
              <a:extLst>
                <a:ext uri="{FF2B5EF4-FFF2-40B4-BE49-F238E27FC236}">
                  <a16:creationId xmlns="" xmlns:p14="http://schemas.microsoft.com/office/powerpoint/2010/main" xmlns:a16="http://schemas.microsoft.com/office/drawing/2014/main" id="{987E3958-C577-414D-A8D1-C28E02B223C1}"/>
                </a:ext>
              </a:extLst>
            </p:cNvPr>
            <p:cNvSpPr/>
            <p:nvPr/>
          </p:nvSpPr>
          <p:spPr>
            <a:xfrm>
              <a:off x="5869377" y="1326101"/>
              <a:ext cx="358160" cy="136980"/>
            </a:xfrm>
            <a:custGeom>
              <a:avLst/>
              <a:gdLst/>
              <a:ahLst/>
              <a:cxnLst>
                <a:cxn ang="0">
                  <a:pos x="wd2" y="hd2"/>
                </a:cxn>
                <a:cxn ang="5400000">
                  <a:pos x="wd2" y="hd2"/>
                </a:cxn>
                <a:cxn ang="10800000">
                  <a:pos x="wd2" y="hd2"/>
                </a:cxn>
                <a:cxn ang="16200000">
                  <a:pos x="wd2" y="hd2"/>
                </a:cxn>
              </a:cxnLst>
              <a:rect l="0" t="0" r="r" b="b"/>
              <a:pathLst>
                <a:path w="21600" h="21600" extrusionOk="0">
                  <a:moveTo>
                    <a:pt x="21036" y="2810"/>
                  </a:moveTo>
                  <a:lnTo>
                    <a:pt x="18126" y="2696"/>
                  </a:lnTo>
                  <a:lnTo>
                    <a:pt x="15876" y="2514"/>
                  </a:lnTo>
                  <a:lnTo>
                    <a:pt x="14560" y="2399"/>
                  </a:lnTo>
                  <a:lnTo>
                    <a:pt x="13964" y="607"/>
                  </a:lnTo>
                  <a:lnTo>
                    <a:pt x="13265" y="0"/>
                  </a:lnTo>
                  <a:lnTo>
                    <a:pt x="13209" y="2844"/>
                  </a:lnTo>
                  <a:lnTo>
                    <a:pt x="12490" y="2839"/>
                  </a:lnTo>
                  <a:lnTo>
                    <a:pt x="12105" y="3909"/>
                  </a:lnTo>
                  <a:lnTo>
                    <a:pt x="12121" y="6612"/>
                  </a:lnTo>
                  <a:lnTo>
                    <a:pt x="11757" y="7673"/>
                  </a:lnTo>
                  <a:lnTo>
                    <a:pt x="11102" y="6284"/>
                  </a:lnTo>
                  <a:lnTo>
                    <a:pt x="11237" y="3700"/>
                  </a:lnTo>
                  <a:lnTo>
                    <a:pt x="10419" y="2546"/>
                  </a:lnTo>
                  <a:lnTo>
                    <a:pt x="9953" y="4134"/>
                  </a:lnTo>
                  <a:lnTo>
                    <a:pt x="9148" y="5886"/>
                  </a:lnTo>
                  <a:lnTo>
                    <a:pt x="7705" y="5408"/>
                  </a:lnTo>
                  <a:lnTo>
                    <a:pt x="6697" y="5288"/>
                  </a:lnTo>
                  <a:lnTo>
                    <a:pt x="6009" y="4218"/>
                  </a:lnTo>
                  <a:lnTo>
                    <a:pt x="5379" y="3745"/>
                  </a:lnTo>
                  <a:lnTo>
                    <a:pt x="2617" y="4347"/>
                  </a:lnTo>
                  <a:lnTo>
                    <a:pt x="1144" y="3636"/>
                  </a:lnTo>
                  <a:lnTo>
                    <a:pt x="135" y="4591"/>
                  </a:lnTo>
                  <a:lnTo>
                    <a:pt x="0" y="6851"/>
                  </a:lnTo>
                  <a:lnTo>
                    <a:pt x="1109" y="8265"/>
                  </a:lnTo>
                  <a:lnTo>
                    <a:pt x="1858" y="9728"/>
                  </a:lnTo>
                  <a:lnTo>
                    <a:pt x="2773" y="10918"/>
                  </a:lnTo>
                  <a:lnTo>
                    <a:pt x="3798" y="10560"/>
                  </a:lnTo>
                  <a:lnTo>
                    <a:pt x="4488" y="11864"/>
                  </a:lnTo>
                  <a:lnTo>
                    <a:pt x="5238" y="12297"/>
                  </a:lnTo>
                  <a:lnTo>
                    <a:pt x="5238" y="9037"/>
                  </a:lnTo>
                  <a:lnTo>
                    <a:pt x="6816" y="8599"/>
                  </a:lnTo>
                  <a:lnTo>
                    <a:pt x="6769" y="11506"/>
                  </a:lnTo>
                  <a:lnTo>
                    <a:pt x="6906" y="13288"/>
                  </a:lnTo>
                  <a:lnTo>
                    <a:pt x="4182" y="13367"/>
                  </a:lnTo>
                  <a:lnTo>
                    <a:pt x="4105" y="14562"/>
                  </a:lnTo>
                  <a:lnTo>
                    <a:pt x="4611" y="15358"/>
                  </a:lnTo>
                  <a:lnTo>
                    <a:pt x="5606" y="16747"/>
                  </a:lnTo>
                  <a:lnTo>
                    <a:pt x="7302" y="19415"/>
                  </a:lnTo>
                  <a:lnTo>
                    <a:pt x="8040" y="21600"/>
                  </a:lnTo>
                  <a:lnTo>
                    <a:pt x="8822" y="21485"/>
                  </a:lnTo>
                  <a:lnTo>
                    <a:pt x="9465" y="18116"/>
                  </a:lnTo>
                  <a:lnTo>
                    <a:pt x="9649" y="15258"/>
                  </a:lnTo>
                  <a:lnTo>
                    <a:pt x="10369" y="13745"/>
                  </a:lnTo>
                  <a:lnTo>
                    <a:pt x="11287" y="14343"/>
                  </a:lnTo>
                  <a:lnTo>
                    <a:pt x="11640" y="11993"/>
                  </a:lnTo>
                  <a:lnTo>
                    <a:pt x="11640" y="9136"/>
                  </a:lnTo>
                  <a:lnTo>
                    <a:pt x="13126" y="8703"/>
                  </a:lnTo>
                  <a:lnTo>
                    <a:pt x="14029" y="10490"/>
                  </a:lnTo>
                  <a:lnTo>
                    <a:pt x="14715" y="12003"/>
                  </a:lnTo>
                  <a:lnTo>
                    <a:pt x="14303" y="13193"/>
                  </a:lnTo>
                  <a:lnTo>
                    <a:pt x="13891" y="14507"/>
                  </a:lnTo>
                  <a:lnTo>
                    <a:pt x="14441" y="16856"/>
                  </a:lnTo>
                  <a:lnTo>
                    <a:pt x="15346" y="16264"/>
                  </a:lnTo>
                  <a:lnTo>
                    <a:pt x="15759" y="14472"/>
                  </a:lnTo>
                  <a:lnTo>
                    <a:pt x="16864" y="14472"/>
                  </a:lnTo>
                  <a:lnTo>
                    <a:pt x="17370" y="15303"/>
                  </a:lnTo>
                  <a:lnTo>
                    <a:pt x="17732" y="17409"/>
                  </a:lnTo>
                  <a:lnTo>
                    <a:pt x="18407" y="16692"/>
                  </a:lnTo>
                  <a:lnTo>
                    <a:pt x="19503" y="15398"/>
                  </a:lnTo>
                  <a:lnTo>
                    <a:pt x="18539" y="14208"/>
                  </a:lnTo>
                  <a:lnTo>
                    <a:pt x="18004" y="13969"/>
                  </a:lnTo>
                  <a:lnTo>
                    <a:pt x="17870" y="12460"/>
                  </a:lnTo>
                  <a:lnTo>
                    <a:pt x="17136" y="11630"/>
                  </a:lnTo>
                  <a:lnTo>
                    <a:pt x="15759" y="11037"/>
                  </a:lnTo>
                  <a:lnTo>
                    <a:pt x="14891" y="9608"/>
                  </a:lnTo>
                  <a:lnTo>
                    <a:pt x="14017" y="8334"/>
                  </a:lnTo>
                  <a:lnTo>
                    <a:pt x="13655" y="7742"/>
                  </a:lnTo>
                  <a:lnTo>
                    <a:pt x="13563" y="5253"/>
                  </a:lnTo>
                  <a:lnTo>
                    <a:pt x="14253" y="4895"/>
                  </a:lnTo>
                  <a:lnTo>
                    <a:pt x="14864" y="7105"/>
                  </a:lnTo>
                  <a:lnTo>
                    <a:pt x="16948" y="7941"/>
                  </a:lnTo>
                  <a:lnTo>
                    <a:pt x="18002" y="8891"/>
                  </a:lnTo>
                  <a:lnTo>
                    <a:pt x="19472" y="7458"/>
                  </a:lnTo>
                  <a:lnTo>
                    <a:pt x="20699" y="6542"/>
                  </a:lnTo>
                  <a:lnTo>
                    <a:pt x="21374" y="4805"/>
                  </a:lnTo>
                  <a:lnTo>
                    <a:pt x="21600" y="3028"/>
                  </a:lnTo>
                  <a:lnTo>
                    <a:pt x="21036" y="2810"/>
                  </a:lnTo>
                  <a:close/>
                </a:path>
              </a:pathLst>
            </a:custGeom>
            <a:grpFill/>
            <a:ln w="25400" cap="flat">
              <a:noFill/>
              <a:prstDash val="solid"/>
              <a:miter lim="400000"/>
            </a:ln>
            <a:effectLst/>
          </p:spPr>
          <p:txBody>
            <a:bodyPr anchor="ctr"/>
            <a:lstStyle/>
            <a:p>
              <a:pPr algn="ctr"/>
              <a:endParaRPr/>
            </a:p>
          </p:txBody>
        </p:sp>
        <p:sp>
          <p:nvSpPr>
            <p:cNvPr id="120" name="îṩlîḑè">
              <a:extLst>
                <a:ext uri="{FF2B5EF4-FFF2-40B4-BE49-F238E27FC236}">
                  <a16:creationId xmlns="" xmlns:p14="http://schemas.microsoft.com/office/powerpoint/2010/main" xmlns:a16="http://schemas.microsoft.com/office/drawing/2014/main" id="{B3E8AD52-6AD7-4495-9B1D-62531F4A6526}"/>
                </a:ext>
              </a:extLst>
            </p:cNvPr>
            <p:cNvSpPr/>
            <p:nvPr/>
          </p:nvSpPr>
          <p:spPr>
            <a:xfrm>
              <a:off x="5016160" y="1729403"/>
              <a:ext cx="228706" cy="93668"/>
            </a:xfrm>
            <a:custGeom>
              <a:avLst/>
              <a:gdLst/>
              <a:ahLst/>
              <a:cxnLst>
                <a:cxn ang="0">
                  <a:pos x="wd2" y="hd2"/>
                </a:cxn>
                <a:cxn ang="5400000">
                  <a:pos x="wd2" y="hd2"/>
                </a:cxn>
                <a:cxn ang="10800000">
                  <a:pos x="wd2" y="hd2"/>
                </a:cxn>
                <a:cxn ang="16200000">
                  <a:pos x="wd2" y="hd2"/>
                </a:cxn>
              </a:cxnLst>
              <a:rect l="0" t="0" r="r" b="b"/>
              <a:pathLst>
                <a:path w="21600" h="21600" extrusionOk="0">
                  <a:moveTo>
                    <a:pt x="17441" y="270"/>
                  </a:moveTo>
                  <a:lnTo>
                    <a:pt x="15742" y="0"/>
                  </a:lnTo>
                  <a:lnTo>
                    <a:pt x="14405" y="1481"/>
                  </a:lnTo>
                  <a:lnTo>
                    <a:pt x="12187" y="4101"/>
                  </a:lnTo>
                  <a:lnTo>
                    <a:pt x="10897" y="4101"/>
                  </a:lnTo>
                  <a:lnTo>
                    <a:pt x="8628" y="1546"/>
                  </a:lnTo>
                  <a:lnTo>
                    <a:pt x="6724" y="2070"/>
                  </a:lnTo>
                  <a:lnTo>
                    <a:pt x="5296" y="4167"/>
                  </a:lnTo>
                  <a:lnTo>
                    <a:pt x="1948" y="7428"/>
                  </a:lnTo>
                  <a:lnTo>
                    <a:pt x="1232" y="7428"/>
                  </a:lnTo>
                  <a:lnTo>
                    <a:pt x="0" y="9510"/>
                  </a:lnTo>
                  <a:lnTo>
                    <a:pt x="92" y="13288"/>
                  </a:lnTo>
                  <a:lnTo>
                    <a:pt x="773" y="15544"/>
                  </a:lnTo>
                  <a:lnTo>
                    <a:pt x="2067" y="12989"/>
                  </a:lnTo>
                  <a:lnTo>
                    <a:pt x="3646" y="15959"/>
                  </a:lnTo>
                  <a:cubicBezTo>
                    <a:pt x="4278" y="16734"/>
                    <a:pt x="4893" y="17587"/>
                    <a:pt x="5489" y="18514"/>
                  </a:cubicBezTo>
                  <a:cubicBezTo>
                    <a:pt x="6102" y="19467"/>
                    <a:pt x="6694" y="20497"/>
                    <a:pt x="7263" y="21600"/>
                  </a:cubicBezTo>
                  <a:lnTo>
                    <a:pt x="8821" y="21600"/>
                  </a:lnTo>
                  <a:lnTo>
                    <a:pt x="10787" y="16890"/>
                  </a:lnTo>
                  <a:lnTo>
                    <a:pt x="12583" y="16890"/>
                  </a:lnTo>
                  <a:lnTo>
                    <a:pt x="15533" y="16716"/>
                  </a:lnTo>
                  <a:lnTo>
                    <a:pt x="17142" y="13513"/>
                  </a:lnTo>
                  <a:lnTo>
                    <a:pt x="18721" y="10914"/>
                  </a:lnTo>
                  <a:lnTo>
                    <a:pt x="20955" y="10041"/>
                  </a:lnTo>
                  <a:lnTo>
                    <a:pt x="21600" y="8323"/>
                  </a:lnTo>
                  <a:lnTo>
                    <a:pt x="20688" y="4902"/>
                  </a:lnTo>
                  <a:lnTo>
                    <a:pt x="19658" y="3045"/>
                  </a:lnTo>
                  <a:lnTo>
                    <a:pt x="18823" y="1655"/>
                  </a:lnTo>
                  <a:lnTo>
                    <a:pt x="17441" y="270"/>
                  </a:lnTo>
                  <a:close/>
                </a:path>
              </a:pathLst>
            </a:custGeom>
            <a:grpFill/>
            <a:ln w="25400" cap="flat">
              <a:noFill/>
              <a:prstDash val="solid"/>
              <a:miter lim="400000"/>
            </a:ln>
            <a:effectLst/>
          </p:spPr>
          <p:txBody>
            <a:bodyPr anchor="ctr"/>
            <a:lstStyle/>
            <a:p>
              <a:pPr algn="ctr"/>
              <a:endParaRPr/>
            </a:p>
          </p:txBody>
        </p:sp>
        <p:sp>
          <p:nvSpPr>
            <p:cNvPr id="121" name="iślïďe">
              <a:extLst>
                <a:ext uri="{FF2B5EF4-FFF2-40B4-BE49-F238E27FC236}">
                  <a16:creationId xmlns="" xmlns:p14="http://schemas.microsoft.com/office/powerpoint/2010/main" xmlns:a16="http://schemas.microsoft.com/office/drawing/2014/main" id="{3A6378EA-6577-4684-96DA-C9668868FA8A}"/>
                </a:ext>
              </a:extLst>
            </p:cNvPr>
            <p:cNvSpPr/>
            <p:nvPr/>
          </p:nvSpPr>
          <p:spPr>
            <a:xfrm>
              <a:off x="5414902" y="1601282"/>
              <a:ext cx="41288" cy="20045"/>
            </a:xfrm>
            <a:custGeom>
              <a:avLst/>
              <a:gdLst/>
              <a:ahLst/>
              <a:cxnLst>
                <a:cxn ang="0">
                  <a:pos x="wd2" y="hd2"/>
                </a:cxn>
                <a:cxn ang="5400000">
                  <a:pos x="wd2" y="hd2"/>
                </a:cxn>
                <a:cxn ang="10800000">
                  <a:pos x="wd2" y="hd2"/>
                </a:cxn>
                <a:cxn ang="16200000">
                  <a:pos x="wd2" y="hd2"/>
                </a:cxn>
              </a:cxnLst>
              <a:rect l="0" t="0" r="r" b="b"/>
              <a:pathLst>
                <a:path w="21600" h="21600" extrusionOk="0">
                  <a:moveTo>
                    <a:pt x="15176" y="0"/>
                  </a:moveTo>
                  <a:lnTo>
                    <a:pt x="10983" y="4657"/>
                  </a:lnTo>
                  <a:lnTo>
                    <a:pt x="5919" y="4185"/>
                  </a:lnTo>
                  <a:lnTo>
                    <a:pt x="0" y="5818"/>
                  </a:lnTo>
                  <a:lnTo>
                    <a:pt x="17" y="18606"/>
                  </a:lnTo>
                  <a:lnTo>
                    <a:pt x="11091" y="21600"/>
                  </a:lnTo>
                  <a:lnTo>
                    <a:pt x="21600" y="16735"/>
                  </a:lnTo>
                  <a:lnTo>
                    <a:pt x="21483" y="2347"/>
                  </a:lnTo>
                  <a:lnTo>
                    <a:pt x="15176" y="0"/>
                  </a:lnTo>
                  <a:close/>
                </a:path>
              </a:pathLst>
            </a:custGeom>
            <a:grpFill/>
            <a:ln w="25400" cap="flat">
              <a:noFill/>
              <a:prstDash val="solid"/>
              <a:miter lim="400000"/>
            </a:ln>
            <a:effectLst/>
          </p:spPr>
          <p:txBody>
            <a:bodyPr anchor="ctr"/>
            <a:lstStyle/>
            <a:p>
              <a:pPr algn="ctr"/>
              <a:endParaRPr/>
            </a:p>
          </p:txBody>
        </p:sp>
        <p:sp>
          <p:nvSpPr>
            <p:cNvPr id="122" name="îṥḷîḓê">
              <a:extLst>
                <a:ext uri="{FF2B5EF4-FFF2-40B4-BE49-F238E27FC236}">
                  <a16:creationId xmlns="" xmlns:p14="http://schemas.microsoft.com/office/powerpoint/2010/main" xmlns:a16="http://schemas.microsoft.com/office/drawing/2014/main" id="{264982FF-C13B-4AA3-8F43-7587357DC00B}"/>
                </a:ext>
              </a:extLst>
            </p:cNvPr>
            <p:cNvSpPr/>
            <p:nvPr/>
          </p:nvSpPr>
          <p:spPr>
            <a:xfrm>
              <a:off x="5426458" y="1837882"/>
              <a:ext cx="35170" cy="22995"/>
            </a:xfrm>
            <a:custGeom>
              <a:avLst/>
              <a:gdLst/>
              <a:ahLst/>
              <a:cxnLst>
                <a:cxn ang="0">
                  <a:pos x="wd2" y="hd2"/>
                </a:cxn>
                <a:cxn ang="5400000">
                  <a:pos x="wd2" y="hd2"/>
                </a:cxn>
                <a:cxn ang="10800000">
                  <a:pos x="wd2" y="hd2"/>
                </a:cxn>
                <a:cxn ang="16200000">
                  <a:pos x="wd2" y="hd2"/>
                </a:cxn>
              </a:cxnLst>
              <a:rect l="0" t="0" r="r" b="b"/>
              <a:pathLst>
                <a:path w="21600" h="21600" extrusionOk="0">
                  <a:moveTo>
                    <a:pt x="9779" y="0"/>
                  </a:moveTo>
                  <a:lnTo>
                    <a:pt x="0" y="1898"/>
                  </a:lnTo>
                  <a:lnTo>
                    <a:pt x="497" y="14515"/>
                  </a:lnTo>
                  <a:lnTo>
                    <a:pt x="10043" y="15938"/>
                  </a:lnTo>
                  <a:lnTo>
                    <a:pt x="21600" y="21600"/>
                  </a:lnTo>
                  <a:lnTo>
                    <a:pt x="18457" y="5083"/>
                  </a:lnTo>
                  <a:lnTo>
                    <a:pt x="9779" y="0"/>
                  </a:lnTo>
                  <a:close/>
                </a:path>
              </a:pathLst>
            </a:custGeom>
            <a:grpFill/>
            <a:ln w="25400" cap="flat">
              <a:noFill/>
              <a:prstDash val="solid"/>
              <a:miter lim="400000"/>
            </a:ln>
            <a:effectLst/>
          </p:spPr>
          <p:txBody>
            <a:bodyPr anchor="ctr"/>
            <a:lstStyle/>
            <a:p>
              <a:pPr algn="ctr"/>
              <a:endParaRPr/>
            </a:p>
          </p:txBody>
        </p:sp>
        <p:sp>
          <p:nvSpPr>
            <p:cNvPr id="123" name="ïṣļïḋê">
              <a:extLst>
                <a:ext uri="{FF2B5EF4-FFF2-40B4-BE49-F238E27FC236}">
                  <a16:creationId xmlns="" xmlns:p14="http://schemas.microsoft.com/office/powerpoint/2010/main" xmlns:a16="http://schemas.microsoft.com/office/drawing/2014/main" id="{CB002FA2-2E97-4152-A87D-333528B614D3}"/>
                </a:ext>
              </a:extLst>
            </p:cNvPr>
            <p:cNvSpPr/>
            <p:nvPr/>
          </p:nvSpPr>
          <p:spPr>
            <a:xfrm>
              <a:off x="5430421" y="1863360"/>
              <a:ext cx="21346" cy="16360"/>
            </a:xfrm>
            <a:custGeom>
              <a:avLst/>
              <a:gdLst/>
              <a:ahLst/>
              <a:cxnLst>
                <a:cxn ang="0">
                  <a:pos x="wd2" y="hd2"/>
                </a:cxn>
                <a:cxn ang="5400000">
                  <a:pos x="wd2" y="hd2"/>
                </a:cxn>
                <a:cxn ang="10800000">
                  <a:pos x="wd2" y="hd2"/>
                </a:cxn>
                <a:cxn ang="16200000">
                  <a:pos x="wd2" y="hd2"/>
                </a:cxn>
              </a:cxnLst>
              <a:rect l="0" t="0" r="r" b="b"/>
              <a:pathLst>
                <a:path w="21600" h="21600" extrusionOk="0">
                  <a:moveTo>
                    <a:pt x="12170" y="2345"/>
                  </a:moveTo>
                  <a:lnTo>
                    <a:pt x="2749" y="0"/>
                  </a:lnTo>
                  <a:lnTo>
                    <a:pt x="0" y="17437"/>
                  </a:lnTo>
                  <a:lnTo>
                    <a:pt x="16227" y="21600"/>
                  </a:lnTo>
                  <a:lnTo>
                    <a:pt x="21600" y="10871"/>
                  </a:lnTo>
                  <a:lnTo>
                    <a:pt x="12170" y="2345"/>
                  </a:lnTo>
                  <a:close/>
                </a:path>
              </a:pathLst>
            </a:custGeom>
            <a:grpFill/>
            <a:ln w="25400" cap="flat">
              <a:noFill/>
              <a:prstDash val="solid"/>
              <a:miter lim="400000"/>
            </a:ln>
            <a:effectLst/>
          </p:spPr>
          <p:txBody>
            <a:bodyPr anchor="ctr"/>
            <a:lstStyle/>
            <a:p>
              <a:pPr algn="ctr"/>
              <a:endParaRPr/>
            </a:p>
          </p:txBody>
        </p:sp>
        <p:sp>
          <p:nvSpPr>
            <p:cNvPr id="124" name="iṧ1ídê">
              <a:extLst>
                <a:ext uri="{FF2B5EF4-FFF2-40B4-BE49-F238E27FC236}">
                  <a16:creationId xmlns="" xmlns:p14="http://schemas.microsoft.com/office/powerpoint/2010/main" xmlns:a16="http://schemas.microsoft.com/office/drawing/2014/main" id="{E161C785-1873-4ABB-9AF8-62E882920260}"/>
                </a:ext>
              </a:extLst>
            </p:cNvPr>
            <p:cNvSpPr/>
            <p:nvPr/>
          </p:nvSpPr>
          <p:spPr>
            <a:xfrm>
              <a:off x="5276566" y="2090226"/>
              <a:ext cx="141495" cy="136887"/>
            </a:xfrm>
            <a:custGeom>
              <a:avLst/>
              <a:gdLst/>
              <a:ahLst/>
              <a:cxnLst>
                <a:cxn ang="0">
                  <a:pos x="wd2" y="hd2"/>
                </a:cxn>
                <a:cxn ang="5400000">
                  <a:pos x="wd2" y="hd2"/>
                </a:cxn>
                <a:cxn ang="10800000">
                  <a:pos x="wd2" y="hd2"/>
                </a:cxn>
                <a:cxn ang="16200000">
                  <a:pos x="wd2" y="hd2"/>
                </a:cxn>
              </a:cxnLst>
              <a:rect l="0" t="0" r="r" b="b"/>
              <a:pathLst>
                <a:path w="21600" h="21600" extrusionOk="0">
                  <a:moveTo>
                    <a:pt x="15382" y="115"/>
                  </a:moveTo>
                  <a:lnTo>
                    <a:pt x="11359" y="0"/>
                  </a:lnTo>
                  <a:lnTo>
                    <a:pt x="9153" y="2568"/>
                  </a:lnTo>
                  <a:lnTo>
                    <a:pt x="6986" y="4361"/>
                  </a:lnTo>
                  <a:lnTo>
                    <a:pt x="4456" y="4002"/>
                  </a:lnTo>
                  <a:lnTo>
                    <a:pt x="1440" y="5073"/>
                  </a:lnTo>
                  <a:lnTo>
                    <a:pt x="1800" y="7574"/>
                  </a:lnTo>
                  <a:lnTo>
                    <a:pt x="3652" y="8406"/>
                  </a:lnTo>
                  <a:lnTo>
                    <a:pt x="4457" y="9915"/>
                  </a:lnTo>
                  <a:lnTo>
                    <a:pt x="3642" y="11583"/>
                  </a:lnTo>
                  <a:lnTo>
                    <a:pt x="2953" y="12535"/>
                  </a:lnTo>
                  <a:lnTo>
                    <a:pt x="2371" y="14995"/>
                  </a:lnTo>
                  <a:lnTo>
                    <a:pt x="42" y="15588"/>
                  </a:lnTo>
                  <a:lnTo>
                    <a:pt x="0" y="17102"/>
                  </a:lnTo>
                  <a:lnTo>
                    <a:pt x="974" y="18138"/>
                  </a:lnTo>
                  <a:lnTo>
                    <a:pt x="1672" y="20768"/>
                  </a:lnTo>
                  <a:lnTo>
                    <a:pt x="3483" y="21600"/>
                  </a:lnTo>
                  <a:lnTo>
                    <a:pt x="5773" y="20165"/>
                  </a:lnTo>
                  <a:lnTo>
                    <a:pt x="8334" y="18253"/>
                  </a:lnTo>
                  <a:lnTo>
                    <a:pt x="10697" y="17097"/>
                  </a:lnTo>
                  <a:cubicBezTo>
                    <a:pt x="11878" y="17476"/>
                    <a:pt x="13148" y="17434"/>
                    <a:pt x="14302" y="16978"/>
                  </a:cubicBezTo>
                  <a:cubicBezTo>
                    <a:pt x="14998" y="16703"/>
                    <a:pt x="15630" y="16284"/>
                    <a:pt x="16161" y="15748"/>
                  </a:cubicBezTo>
                  <a:cubicBezTo>
                    <a:pt x="16616" y="15267"/>
                    <a:pt x="16972" y="14698"/>
                    <a:pt x="17209" y="14074"/>
                  </a:cubicBezTo>
                  <a:cubicBezTo>
                    <a:pt x="17751" y="12641"/>
                    <a:pt x="17639" y="11035"/>
                    <a:pt x="16903" y="9696"/>
                  </a:cubicBezTo>
                  <a:lnTo>
                    <a:pt x="17252" y="7434"/>
                  </a:lnTo>
                  <a:lnTo>
                    <a:pt x="18650" y="5686"/>
                  </a:lnTo>
                  <a:lnTo>
                    <a:pt x="20358" y="4730"/>
                  </a:lnTo>
                  <a:lnTo>
                    <a:pt x="21600" y="2658"/>
                  </a:lnTo>
                  <a:lnTo>
                    <a:pt x="19703" y="870"/>
                  </a:lnTo>
                  <a:lnTo>
                    <a:pt x="16922" y="162"/>
                  </a:lnTo>
                  <a:lnTo>
                    <a:pt x="15382" y="115"/>
                  </a:lnTo>
                  <a:close/>
                </a:path>
              </a:pathLst>
            </a:custGeom>
            <a:grpFill/>
            <a:ln w="25400" cap="flat">
              <a:noFill/>
              <a:prstDash val="solid"/>
              <a:miter lim="400000"/>
            </a:ln>
            <a:effectLst/>
          </p:spPr>
          <p:txBody>
            <a:bodyPr anchor="ctr"/>
            <a:lstStyle/>
            <a:p>
              <a:pPr algn="ctr"/>
              <a:endParaRPr/>
            </a:p>
          </p:txBody>
        </p:sp>
        <p:sp>
          <p:nvSpPr>
            <p:cNvPr id="125" name="îśļîḓe">
              <a:extLst>
                <a:ext uri="{FF2B5EF4-FFF2-40B4-BE49-F238E27FC236}">
                  <a16:creationId xmlns="" xmlns:p14="http://schemas.microsoft.com/office/powerpoint/2010/main" xmlns:a16="http://schemas.microsoft.com/office/drawing/2014/main" id="{F23DA1AE-1979-46E1-AF1E-057332CE50FC}"/>
                </a:ext>
              </a:extLst>
            </p:cNvPr>
            <p:cNvSpPr/>
            <p:nvPr/>
          </p:nvSpPr>
          <p:spPr>
            <a:xfrm>
              <a:off x="5407156" y="1993299"/>
              <a:ext cx="206900" cy="271619"/>
            </a:xfrm>
            <a:custGeom>
              <a:avLst/>
              <a:gdLst/>
              <a:ahLst/>
              <a:cxnLst>
                <a:cxn ang="0">
                  <a:pos x="wd2" y="hd2"/>
                </a:cxn>
                <a:cxn ang="5400000">
                  <a:pos x="wd2" y="hd2"/>
                </a:cxn>
                <a:cxn ang="10800000">
                  <a:pos x="wd2" y="hd2"/>
                </a:cxn>
                <a:cxn ang="16200000">
                  <a:pos x="wd2" y="hd2"/>
                </a:cxn>
              </a:cxnLst>
              <a:rect l="0" t="0" r="r" b="b"/>
              <a:pathLst>
                <a:path w="21600" h="21600" extrusionOk="0">
                  <a:moveTo>
                    <a:pt x="6288" y="0"/>
                  </a:moveTo>
                  <a:lnTo>
                    <a:pt x="5027" y="806"/>
                  </a:lnTo>
                  <a:lnTo>
                    <a:pt x="3705" y="828"/>
                  </a:lnTo>
                  <a:lnTo>
                    <a:pt x="3047" y="1789"/>
                  </a:lnTo>
                  <a:lnTo>
                    <a:pt x="3106" y="2665"/>
                  </a:lnTo>
                  <a:lnTo>
                    <a:pt x="2104" y="3622"/>
                  </a:lnTo>
                  <a:lnTo>
                    <a:pt x="2256" y="4561"/>
                  </a:lnTo>
                  <a:lnTo>
                    <a:pt x="3288" y="5341"/>
                  </a:lnTo>
                  <a:lnTo>
                    <a:pt x="4241" y="6303"/>
                  </a:lnTo>
                  <a:lnTo>
                    <a:pt x="3288" y="6900"/>
                  </a:lnTo>
                  <a:lnTo>
                    <a:pt x="3129" y="7663"/>
                  </a:lnTo>
                  <a:cubicBezTo>
                    <a:pt x="3378" y="7883"/>
                    <a:pt x="3663" y="8077"/>
                    <a:pt x="3979" y="8241"/>
                  </a:cubicBezTo>
                  <a:cubicBezTo>
                    <a:pt x="4404" y="8461"/>
                    <a:pt x="4878" y="8624"/>
                    <a:pt x="5379" y="8720"/>
                  </a:cubicBezTo>
                  <a:lnTo>
                    <a:pt x="6013" y="7816"/>
                  </a:lnTo>
                  <a:lnTo>
                    <a:pt x="7340" y="7877"/>
                  </a:lnTo>
                  <a:lnTo>
                    <a:pt x="8475" y="8655"/>
                  </a:lnTo>
                  <a:lnTo>
                    <a:pt x="8475" y="9799"/>
                  </a:lnTo>
                  <a:cubicBezTo>
                    <a:pt x="8649" y="10161"/>
                    <a:pt x="8756" y="10540"/>
                    <a:pt x="8794" y="10924"/>
                  </a:cubicBezTo>
                  <a:cubicBezTo>
                    <a:pt x="8852" y="11516"/>
                    <a:pt x="8744" y="12110"/>
                    <a:pt x="8478" y="12668"/>
                  </a:cubicBezTo>
                  <a:lnTo>
                    <a:pt x="6756" y="12970"/>
                  </a:lnTo>
                  <a:lnTo>
                    <a:pt x="5830" y="13030"/>
                  </a:lnTo>
                  <a:lnTo>
                    <a:pt x="3796" y="13504"/>
                  </a:lnTo>
                  <a:lnTo>
                    <a:pt x="3975" y="14368"/>
                  </a:lnTo>
                  <a:lnTo>
                    <a:pt x="4901" y="14529"/>
                  </a:lnTo>
                  <a:lnTo>
                    <a:pt x="4662" y="15465"/>
                  </a:lnTo>
                  <a:lnTo>
                    <a:pt x="3020" y="15884"/>
                  </a:lnTo>
                  <a:lnTo>
                    <a:pt x="2091" y="16123"/>
                  </a:lnTo>
                  <a:lnTo>
                    <a:pt x="3022" y="16841"/>
                  </a:lnTo>
                  <a:lnTo>
                    <a:pt x="4564" y="17538"/>
                  </a:lnTo>
                  <a:lnTo>
                    <a:pt x="5725" y="17538"/>
                  </a:lnTo>
                  <a:lnTo>
                    <a:pt x="8134" y="17880"/>
                  </a:lnTo>
                  <a:lnTo>
                    <a:pt x="8426" y="18623"/>
                  </a:lnTo>
                  <a:lnTo>
                    <a:pt x="7232" y="19258"/>
                  </a:lnTo>
                  <a:lnTo>
                    <a:pt x="4232" y="19559"/>
                  </a:lnTo>
                  <a:lnTo>
                    <a:pt x="2642" y="20099"/>
                  </a:lnTo>
                  <a:lnTo>
                    <a:pt x="735" y="20340"/>
                  </a:lnTo>
                  <a:lnTo>
                    <a:pt x="0" y="21060"/>
                  </a:lnTo>
                  <a:lnTo>
                    <a:pt x="502" y="21600"/>
                  </a:lnTo>
                  <a:lnTo>
                    <a:pt x="2782" y="21359"/>
                  </a:lnTo>
                  <a:cubicBezTo>
                    <a:pt x="3310" y="21133"/>
                    <a:pt x="3861" y="20938"/>
                    <a:pt x="4428" y="20777"/>
                  </a:cubicBezTo>
                  <a:cubicBezTo>
                    <a:pt x="5234" y="20547"/>
                    <a:pt x="6071" y="20386"/>
                    <a:pt x="6924" y="20295"/>
                  </a:cubicBezTo>
                  <a:lnTo>
                    <a:pt x="8622" y="20174"/>
                  </a:lnTo>
                  <a:lnTo>
                    <a:pt x="11277" y="19873"/>
                  </a:lnTo>
                  <a:lnTo>
                    <a:pt x="12657" y="19753"/>
                  </a:lnTo>
                  <a:lnTo>
                    <a:pt x="14884" y="19050"/>
                  </a:lnTo>
                  <a:lnTo>
                    <a:pt x="16583" y="19391"/>
                  </a:lnTo>
                  <a:lnTo>
                    <a:pt x="19689" y="19030"/>
                  </a:lnTo>
                  <a:lnTo>
                    <a:pt x="18335" y="18548"/>
                  </a:lnTo>
                  <a:lnTo>
                    <a:pt x="16662" y="17767"/>
                  </a:lnTo>
                  <a:lnTo>
                    <a:pt x="21520" y="16502"/>
                  </a:lnTo>
                  <a:lnTo>
                    <a:pt x="21600" y="15842"/>
                  </a:lnTo>
                  <a:lnTo>
                    <a:pt x="21042" y="14238"/>
                  </a:lnTo>
                  <a:lnTo>
                    <a:pt x="19695" y="14120"/>
                  </a:lnTo>
                  <a:lnTo>
                    <a:pt x="18773" y="15157"/>
                  </a:lnTo>
                  <a:lnTo>
                    <a:pt x="16954" y="14916"/>
                  </a:lnTo>
                  <a:cubicBezTo>
                    <a:pt x="16658" y="14546"/>
                    <a:pt x="16446" y="14141"/>
                    <a:pt x="16327" y="13718"/>
                  </a:cubicBezTo>
                  <a:cubicBezTo>
                    <a:pt x="16175" y="13182"/>
                    <a:pt x="16175" y="12628"/>
                    <a:pt x="16327" y="12092"/>
                  </a:cubicBezTo>
                  <a:cubicBezTo>
                    <a:pt x="16208" y="11609"/>
                    <a:pt x="15994" y="11142"/>
                    <a:pt x="15690" y="10709"/>
                  </a:cubicBezTo>
                  <a:cubicBezTo>
                    <a:pt x="15360" y="10238"/>
                    <a:pt x="14929" y="9811"/>
                    <a:pt x="14416" y="9446"/>
                  </a:cubicBezTo>
                  <a:lnTo>
                    <a:pt x="13327" y="7779"/>
                  </a:lnTo>
                  <a:lnTo>
                    <a:pt x="10543" y="6097"/>
                  </a:lnTo>
                  <a:lnTo>
                    <a:pt x="8818" y="6097"/>
                  </a:lnTo>
                  <a:lnTo>
                    <a:pt x="7603" y="5799"/>
                  </a:lnTo>
                  <a:cubicBezTo>
                    <a:pt x="7249" y="5554"/>
                    <a:pt x="7071" y="5196"/>
                    <a:pt x="7125" y="4835"/>
                  </a:cubicBezTo>
                  <a:cubicBezTo>
                    <a:pt x="7216" y="4226"/>
                    <a:pt x="7901" y="3767"/>
                    <a:pt x="8711" y="3773"/>
                  </a:cubicBezTo>
                  <a:lnTo>
                    <a:pt x="10301" y="2689"/>
                  </a:lnTo>
                  <a:lnTo>
                    <a:pt x="8469" y="2151"/>
                  </a:lnTo>
                  <a:lnTo>
                    <a:pt x="6346" y="1730"/>
                  </a:lnTo>
                  <a:lnTo>
                    <a:pt x="6979" y="1072"/>
                  </a:lnTo>
                  <a:lnTo>
                    <a:pt x="7431" y="111"/>
                  </a:lnTo>
                  <a:lnTo>
                    <a:pt x="6288" y="0"/>
                  </a:lnTo>
                  <a:close/>
                </a:path>
              </a:pathLst>
            </a:custGeom>
            <a:grpFill/>
            <a:ln w="25400" cap="flat">
              <a:noFill/>
              <a:prstDash val="solid"/>
              <a:miter lim="400000"/>
            </a:ln>
            <a:effectLst/>
          </p:spPr>
          <p:txBody>
            <a:bodyPr anchor="ctr"/>
            <a:lstStyle/>
            <a:p>
              <a:pPr algn="ctr"/>
              <a:endParaRPr/>
            </a:p>
          </p:txBody>
        </p:sp>
        <p:sp>
          <p:nvSpPr>
            <p:cNvPr id="126" name="îş1îḓè">
              <a:extLst>
                <a:ext uri="{FF2B5EF4-FFF2-40B4-BE49-F238E27FC236}">
                  <a16:creationId xmlns="" xmlns:p14="http://schemas.microsoft.com/office/powerpoint/2010/main" xmlns:a16="http://schemas.microsoft.com/office/drawing/2014/main" id="{29718D3B-CFD6-4F57-812C-4ABC81D98672}"/>
                </a:ext>
              </a:extLst>
            </p:cNvPr>
            <p:cNvSpPr/>
            <p:nvPr/>
          </p:nvSpPr>
          <p:spPr>
            <a:xfrm>
              <a:off x="5439609" y="2113104"/>
              <a:ext cx="16360" cy="21150"/>
            </a:xfrm>
            <a:custGeom>
              <a:avLst/>
              <a:gdLst/>
              <a:ahLst/>
              <a:cxnLst>
                <a:cxn ang="0">
                  <a:pos x="wd2" y="hd2"/>
                </a:cxn>
                <a:cxn ang="5400000">
                  <a:pos x="wd2" y="hd2"/>
                </a:cxn>
                <a:cxn ang="10800000">
                  <a:pos x="wd2" y="hd2"/>
                </a:cxn>
                <a:cxn ang="16200000">
                  <a:pos x="wd2" y="hd2"/>
                </a:cxn>
              </a:cxnLst>
              <a:rect l="0" t="0" r="r" b="b"/>
              <a:pathLst>
                <a:path w="21600" h="21600" extrusionOk="0">
                  <a:moveTo>
                    <a:pt x="4405" y="858"/>
                  </a:moveTo>
                  <a:lnTo>
                    <a:pt x="0" y="8854"/>
                  </a:lnTo>
                  <a:lnTo>
                    <a:pt x="5633" y="18505"/>
                  </a:lnTo>
                  <a:lnTo>
                    <a:pt x="16548" y="21600"/>
                  </a:lnTo>
                  <a:lnTo>
                    <a:pt x="21600" y="10060"/>
                  </a:lnTo>
                  <a:lnTo>
                    <a:pt x="18861" y="0"/>
                  </a:lnTo>
                  <a:lnTo>
                    <a:pt x="4405" y="858"/>
                  </a:lnTo>
                  <a:close/>
                </a:path>
              </a:pathLst>
            </a:custGeom>
            <a:grpFill/>
            <a:ln w="25400" cap="flat">
              <a:noFill/>
              <a:prstDash val="solid"/>
              <a:miter lim="400000"/>
            </a:ln>
            <a:effectLst/>
          </p:spPr>
          <p:txBody>
            <a:bodyPr anchor="ctr"/>
            <a:lstStyle/>
            <a:p>
              <a:pPr algn="ctr"/>
              <a:endParaRPr/>
            </a:p>
          </p:txBody>
        </p:sp>
        <p:sp>
          <p:nvSpPr>
            <p:cNvPr id="127" name="ïŝḻidé">
              <a:extLst>
                <a:ext uri="{FF2B5EF4-FFF2-40B4-BE49-F238E27FC236}">
                  <a16:creationId xmlns="" xmlns:p14="http://schemas.microsoft.com/office/powerpoint/2010/main" xmlns:a16="http://schemas.microsoft.com/office/drawing/2014/main" id="{C0664E3D-0464-4BBC-BC4D-208B97592BDA}"/>
                </a:ext>
              </a:extLst>
            </p:cNvPr>
            <p:cNvSpPr/>
            <p:nvPr/>
          </p:nvSpPr>
          <p:spPr>
            <a:xfrm>
              <a:off x="5461229" y="2281207"/>
              <a:ext cx="17764" cy="16360"/>
            </a:xfrm>
            <a:custGeom>
              <a:avLst/>
              <a:gdLst/>
              <a:ahLst/>
              <a:cxnLst>
                <a:cxn ang="0">
                  <a:pos x="wd2" y="hd2"/>
                </a:cxn>
                <a:cxn ang="5400000">
                  <a:pos x="wd2" y="hd2"/>
                </a:cxn>
                <a:cxn ang="10800000">
                  <a:pos x="wd2" y="hd2"/>
                </a:cxn>
                <a:cxn ang="16200000">
                  <a:pos x="wd2" y="hd2"/>
                </a:cxn>
              </a:cxnLst>
              <a:rect l="0" t="0" r="r" b="b"/>
              <a:pathLst>
                <a:path w="21600" h="21600" extrusionOk="0">
                  <a:moveTo>
                    <a:pt x="13214" y="0"/>
                  </a:moveTo>
                  <a:lnTo>
                    <a:pt x="0" y="6137"/>
                  </a:lnTo>
                  <a:lnTo>
                    <a:pt x="4727" y="21600"/>
                  </a:lnTo>
                  <a:lnTo>
                    <a:pt x="21600" y="12940"/>
                  </a:lnTo>
                  <a:lnTo>
                    <a:pt x="13214" y="0"/>
                  </a:lnTo>
                  <a:close/>
                </a:path>
              </a:pathLst>
            </a:custGeom>
            <a:grpFill/>
            <a:ln w="25400" cap="flat">
              <a:noFill/>
              <a:prstDash val="solid"/>
              <a:miter lim="400000"/>
            </a:ln>
            <a:effectLst/>
          </p:spPr>
          <p:txBody>
            <a:bodyPr anchor="ctr"/>
            <a:lstStyle/>
            <a:p>
              <a:pPr algn="ctr"/>
              <a:endParaRPr/>
            </a:p>
          </p:txBody>
        </p:sp>
        <p:sp>
          <p:nvSpPr>
            <p:cNvPr id="128" name="isḷîḑê">
              <a:extLst>
                <a:ext uri="{FF2B5EF4-FFF2-40B4-BE49-F238E27FC236}">
                  <a16:creationId xmlns="" xmlns:p14="http://schemas.microsoft.com/office/powerpoint/2010/main" xmlns:a16="http://schemas.microsoft.com/office/drawing/2014/main" id="{EEB2ED1A-30E9-48D7-9B48-6BC9F04F26DF}"/>
                </a:ext>
              </a:extLst>
            </p:cNvPr>
            <p:cNvSpPr/>
            <p:nvPr/>
          </p:nvSpPr>
          <p:spPr>
            <a:xfrm>
              <a:off x="5486629" y="2286760"/>
              <a:ext cx="16360" cy="16360"/>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4630" y="1789"/>
                  </a:lnTo>
                  <a:lnTo>
                    <a:pt x="0" y="17575"/>
                  </a:lnTo>
                  <a:lnTo>
                    <a:pt x="16425" y="21600"/>
                  </a:lnTo>
                  <a:lnTo>
                    <a:pt x="21600" y="0"/>
                  </a:lnTo>
                  <a:close/>
                </a:path>
              </a:pathLst>
            </a:custGeom>
            <a:grpFill/>
            <a:ln w="25400" cap="flat">
              <a:noFill/>
              <a:prstDash val="solid"/>
              <a:miter lim="400000"/>
            </a:ln>
            <a:effectLst/>
          </p:spPr>
          <p:txBody>
            <a:bodyPr anchor="ctr"/>
            <a:lstStyle/>
            <a:p>
              <a:pPr algn="ctr"/>
              <a:endParaRPr/>
            </a:p>
          </p:txBody>
        </p:sp>
        <p:sp>
          <p:nvSpPr>
            <p:cNvPr id="129" name="îšlíḍê">
              <a:extLst>
                <a:ext uri="{FF2B5EF4-FFF2-40B4-BE49-F238E27FC236}">
                  <a16:creationId xmlns="" xmlns:p14="http://schemas.microsoft.com/office/powerpoint/2010/main" xmlns:a16="http://schemas.microsoft.com/office/drawing/2014/main" id="{62057FEF-65BE-4F0F-9208-4EDD8A183099}"/>
                </a:ext>
              </a:extLst>
            </p:cNvPr>
            <p:cNvSpPr/>
            <p:nvPr/>
          </p:nvSpPr>
          <p:spPr>
            <a:xfrm>
              <a:off x="5605003" y="2617425"/>
              <a:ext cx="39478" cy="45925"/>
            </a:xfrm>
            <a:custGeom>
              <a:avLst/>
              <a:gdLst/>
              <a:ahLst/>
              <a:cxnLst>
                <a:cxn ang="0">
                  <a:pos x="wd2" y="hd2"/>
                </a:cxn>
                <a:cxn ang="5400000">
                  <a:pos x="wd2" y="hd2"/>
                </a:cxn>
                <a:cxn ang="10800000">
                  <a:pos x="wd2" y="hd2"/>
                </a:cxn>
                <a:cxn ang="16200000">
                  <a:pos x="wd2" y="hd2"/>
                </a:cxn>
              </a:cxnLst>
              <a:rect l="0" t="0" r="r" b="b"/>
              <a:pathLst>
                <a:path w="20245" h="21188" extrusionOk="0">
                  <a:moveTo>
                    <a:pt x="11664" y="4816"/>
                  </a:moveTo>
                  <a:lnTo>
                    <a:pt x="9025" y="9331"/>
                  </a:lnTo>
                  <a:lnTo>
                    <a:pt x="6223" y="14637"/>
                  </a:lnTo>
                  <a:lnTo>
                    <a:pt x="0" y="13938"/>
                  </a:lnTo>
                  <a:lnTo>
                    <a:pt x="635" y="18481"/>
                  </a:lnTo>
                  <a:lnTo>
                    <a:pt x="7824" y="19865"/>
                  </a:lnTo>
                  <a:cubicBezTo>
                    <a:pt x="10049" y="21332"/>
                    <a:pt x="12992" y="21600"/>
                    <a:pt x="15502" y="20564"/>
                  </a:cubicBezTo>
                  <a:cubicBezTo>
                    <a:pt x="19950" y="18729"/>
                    <a:pt x="21600" y="13831"/>
                    <a:pt x="19023" y="10107"/>
                  </a:cubicBezTo>
                  <a:lnTo>
                    <a:pt x="19415" y="0"/>
                  </a:lnTo>
                  <a:lnTo>
                    <a:pt x="11664" y="4816"/>
                  </a:lnTo>
                  <a:close/>
                </a:path>
              </a:pathLst>
            </a:custGeom>
            <a:grpFill/>
            <a:ln w="25400" cap="flat">
              <a:noFill/>
              <a:prstDash val="solid"/>
              <a:miter lim="400000"/>
            </a:ln>
            <a:effectLst/>
          </p:spPr>
          <p:txBody>
            <a:bodyPr anchor="ctr"/>
            <a:lstStyle/>
            <a:p>
              <a:pPr algn="ctr"/>
              <a:endParaRPr/>
            </a:p>
          </p:txBody>
        </p:sp>
        <p:sp>
          <p:nvSpPr>
            <p:cNvPr id="130" name="išlíḋé">
              <a:extLst>
                <a:ext uri="{FF2B5EF4-FFF2-40B4-BE49-F238E27FC236}">
                  <a16:creationId xmlns="" xmlns:p14="http://schemas.microsoft.com/office/powerpoint/2010/main" xmlns:a16="http://schemas.microsoft.com/office/drawing/2014/main" id="{56686EC9-86FF-430C-A52E-0804B1DDB75D}"/>
                </a:ext>
              </a:extLst>
            </p:cNvPr>
            <p:cNvSpPr/>
            <p:nvPr/>
          </p:nvSpPr>
          <p:spPr>
            <a:xfrm>
              <a:off x="5813157" y="2519155"/>
              <a:ext cx="32675" cy="52401"/>
            </a:xfrm>
            <a:custGeom>
              <a:avLst/>
              <a:gdLst/>
              <a:ahLst/>
              <a:cxnLst>
                <a:cxn ang="0">
                  <a:pos x="wd2" y="hd2"/>
                </a:cxn>
                <a:cxn ang="5400000">
                  <a:pos x="wd2" y="hd2"/>
                </a:cxn>
                <a:cxn ang="10800000">
                  <a:pos x="wd2" y="hd2"/>
                </a:cxn>
                <a:cxn ang="16200000">
                  <a:pos x="wd2" y="hd2"/>
                </a:cxn>
              </a:cxnLst>
              <a:rect l="0" t="0" r="r" b="b"/>
              <a:pathLst>
                <a:path w="21600" h="21600" extrusionOk="0">
                  <a:moveTo>
                    <a:pt x="13661" y="1731"/>
                  </a:moveTo>
                  <a:lnTo>
                    <a:pt x="11853" y="5894"/>
                  </a:lnTo>
                  <a:lnTo>
                    <a:pt x="4206" y="5101"/>
                  </a:lnTo>
                  <a:lnTo>
                    <a:pt x="0" y="9460"/>
                  </a:lnTo>
                  <a:lnTo>
                    <a:pt x="168" y="14442"/>
                  </a:lnTo>
                  <a:cubicBezTo>
                    <a:pt x="2798" y="15061"/>
                    <a:pt x="5194" y="16010"/>
                    <a:pt x="7206" y="17228"/>
                  </a:cubicBezTo>
                  <a:cubicBezTo>
                    <a:pt x="9251" y="18466"/>
                    <a:pt x="10854" y="19955"/>
                    <a:pt x="11913" y="21600"/>
                  </a:cubicBezTo>
                  <a:lnTo>
                    <a:pt x="21600" y="20338"/>
                  </a:lnTo>
                  <a:lnTo>
                    <a:pt x="21600" y="12245"/>
                  </a:lnTo>
                  <a:lnTo>
                    <a:pt x="20591" y="5088"/>
                  </a:lnTo>
                  <a:lnTo>
                    <a:pt x="18069" y="0"/>
                  </a:lnTo>
                  <a:lnTo>
                    <a:pt x="13661" y="1731"/>
                  </a:lnTo>
                  <a:close/>
                </a:path>
              </a:pathLst>
            </a:custGeom>
            <a:grpFill/>
            <a:ln w="25400" cap="flat">
              <a:noFill/>
              <a:prstDash val="solid"/>
              <a:miter lim="400000"/>
            </a:ln>
            <a:effectLst/>
          </p:spPr>
          <p:txBody>
            <a:bodyPr anchor="ctr"/>
            <a:lstStyle/>
            <a:p>
              <a:pPr algn="ctr"/>
              <a:endParaRPr/>
            </a:p>
          </p:txBody>
        </p:sp>
        <p:sp>
          <p:nvSpPr>
            <p:cNvPr id="131" name="íSḻîďê">
              <a:extLst>
                <a:ext uri="{FF2B5EF4-FFF2-40B4-BE49-F238E27FC236}">
                  <a16:creationId xmlns="" xmlns:p14="http://schemas.microsoft.com/office/powerpoint/2010/main" xmlns:a16="http://schemas.microsoft.com/office/drawing/2014/main" id="{3A5F879C-E5C2-4583-B4C2-A47C153C9FD0}"/>
                </a:ext>
              </a:extLst>
            </p:cNvPr>
            <p:cNvSpPr/>
            <p:nvPr/>
          </p:nvSpPr>
          <p:spPr>
            <a:xfrm>
              <a:off x="5800394" y="2590774"/>
              <a:ext cx="44328" cy="77472"/>
            </a:xfrm>
            <a:custGeom>
              <a:avLst/>
              <a:gdLst/>
              <a:ahLst/>
              <a:cxnLst>
                <a:cxn ang="0">
                  <a:pos x="wd2" y="hd2"/>
                </a:cxn>
                <a:cxn ang="5400000">
                  <a:pos x="wd2" y="hd2"/>
                </a:cxn>
                <a:cxn ang="10800000">
                  <a:pos x="wd2" y="hd2"/>
                </a:cxn>
                <a:cxn ang="16200000">
                  <a:pos x="wd2" y="hd2"/>
                </a:cxn>
              </a:cxnLst>
              <a:rect l="0" t="0" r="r" b="b"/>
              <a:pathLst>
                <a:path w="21055" h="21324" extrusionOk="0">
                  <a:moveTo>
                    <a:pt x="8993" y="0"/>
                  </a:moveTo>
                  <a:lnTo>
                    <a:pt x="4720" y="2328"/>
                  </a:lnTo>
                  <a:lnTo>
                    <a:pt x="264" y="4061"/>
                  </a:lnTo>
                  <a:lnTo>
                    <a:pt x="0" y="7596"/>
                  </a:lnTo>
                  <a:lnTo>
                    <a:pt x="4908" y="9951"/>
                  </a:lnTo>
                  <a:lnTo>
                    <a:pt x="4908" y="14304"/>
                  </a:lnTo>
                  <a:lnTo>
                    <a:pt x="7308" y="16172"/>
                  </a:lnTo>
                  <a:lnTo>
                    <a:pt x="8380" y="19699"/>
                  </a:lnTo>
                  <a:cubicBezTo>
                    <a:pt x="8501" y="20496"/>
                    <a:pt x="9534" y="21148"/>
                    <a:pt x="10902" y="21289"/>
                  </a:cubicBezTo>
                  <a:cubicBezTo>
                    <a:pt x="13902" y="21600"/>
                    <a:pt x="16165" y="19752"/>
                    <a:pt x="14647" y="18231"/>
                  </a:cubicBezTo>
                  <a:lnTo>
                    <a:pt x="18270" y="17605"/>
                  </a:lnTo>
                  <a:cubicBezTo>
                    <a:pt x="19422" y="16417"/>
                    <a:pt x="20233" y="15129"/>
                    <a:pt x="20671" y="13792"/>
                  </a:cubicBezTo>
                  <a:cubicBezTo>
                    <a:pt x="21600" y="10953"/>
                    <a:pt x="20834" y="8017"/>
                    <a:pt x="18496" y="5460"/>
                  </a:cubicBezTo>
                  <a:lnTo>
                    <a:pt x="18149" y="907"/>
                  </a:lnTo>
                  <a:lnTo>
                    <a:pt x="8993" y="0"/>
                  </a:lnTo>
                  <a:close/>
                </a:path>
              </a:pathLst>
            </a:custGeom>
            <a:grpFill/>
            <a:ln w="25400" cap="flat">
              <a:noFill/>
              <a:prstDash val="solid"/>
              <a:miter lim="400000"/>
            </a:ln>
            <a:effectLst/>
          </p:spPr>
          <p:txBody>
            <a:bodyPr anchor="ctr"/>
            <a:lstStyle/>
            <a:p>
              <a:pPr algn="ctr"/>
              <a:endParaRPr/>
            </a:p>
          </p:txBody>
        </p:sp>
        <p:sp>
          <p:nvSpPr>
            <p:cNvPr id="132" name="îṡḻiďè">
              <a:extLst>
                <a:ext uri="{FF2B5EF4-FFF2-40B4-BE49-F238E27FC236}">
                  <a16:creationId xmlns="" xmlns:p14="http://schemas.microsoft.com/office/powerpoint/2010/main" xmlns:a16="http://schemas.microsoft.com/office/drawing/2014/main" id="{9C00E52A-9029-4715-A112-8025AEF11F30}"/>
                </a:ext>
              </a:extLst>
            </p:cNvPr>
            <p:cNvSpPr/>
            <p:nvPr/>
          </p:nvSpPr>
          <p:spPr>
            <a:xfrm>
              <a:off x="5935621" y="2695122"/>
              <a:ext cx="87464" cy="46959"/>
            </a:xfrm>
            <a:custGeom>
              <a:avLst/>
              <a:gdLst/>
              <a:ahLst/>
              <a:cxnLst>
                <a:cxn ang="0">
                  <a:pos x="wd2" y="hd2"/>
                </a:cxn>
                <a:cxn ang="5400000">
                  <a:pos x="wd2" y="hd2"/>
                </a:cxn>
                <a:cxn ang="10800000">
                  <a:pos x="wd2" y="hd2"/>
                </a:cxn>
                <a:cxn ang="16200000">
                  <a:pos x="wd2" y="hd2"/>
                </a:cxn>
              </a:cxnLst>
              <a:rect l="0" t="0" r="r" b="b"/>
              <a:pathLst>
                <a:path w="21600" h="21334" extrusionOk="0">
                  <a:moveTo>
                    <a:pt x="7882" y="0"/>
                  </a:moveTo>
                  <a:lnTo>
                    <a:pt x="5685" y="3441"/>
                  </a:lnTo>
                  <a:lnTo>
                    <a:pt x="1488" y="2877"/>
                  </a:lnTo>
                  <a:lnTo>
                    <a:pt x="0" y="5287"/>
                  </a:lnTo>
                  <a:lnTo>
                    <a:pt x="2117" y="8371"/>
                  </a:lnTo>
                  <a:lnTo>
                    <a:pt x="8892" y="11123"/>
                  </a:lnTo>
                  <a:lnTo>
                    <a:pt x="13224" y="15942"/>
                  </a:lnTo>
                  <a:lnTo>
                    <a:pt x="17549" y="21334"/>
                  </a:lnTo>
                  <a:lnTo>
                    <a:pt x="19418" y="15125"/>
                  </a:lnTo>
                  <a:lnTo>
                    <a:pt x="19418" y="11123"/>
                  </a:lnTo>
                  <a:lnTo>
                    <a:pt x="21600" y="5502"/>
                  </a:lnTo>
                  <a:cubicBezTo>
                    <a:pt x="21188" y="3626"/>
                    <a:pt x="20374" y="2139"/>
                    <a:pt x="19348" y="1386"/>
                  </a:cubicBezTo>
                  <a:cubicBezTo>
                    <a:pt x="17095" y="-266"/>
                    <a:pt x="14537" y="1740"/>
                    <a:pt x="13641" y="5861"/>
                  </a:cubicBezTo>
                  <a:lnTo>
                    <a:pt x="11263" y="1414"/>
                  </a:lnTo>
                  <a:lnTo>
                    <a:pt x="7882" y="0"/>
                  </a:lnTo>
                  <a:close/>
                </a:path>
              </a:pathLst>
            </a:custGeom>
            <a:grpFill/>
            <a:ln w="25400" cap="flat">
              <a:noFill/>
              <a:prstDash val="solid"/>
              <a:miter lim="400000"/>
            </a:ln>
            <a:effectLst/>
          </p:spPr>
          <p:txBody>
            <a:bodyPr anchor="ctr"/>
            <a:lstStyle/>
            <a:p>
              <a:pPr algn="ctr"/>
              <a:endParaRPr/>
            </a:p>
          </p:txBody>
        </p:sp>
        <p:sp>
          <p:nvSpPr>
            <p:cNvPr id="133" name="ïSļídê">
              <a:extLst>
                <a:ext uri="{FF2B5EF4-FFF2-40B4-BE49-F238E27FC236}">
                  <a16:creationId xmlns="" xmlns:p14="http://schemas.microsoft.com/office/powerpoint/2010/main" xmlns:a16="http://schemas.microsoft.com/office/drawing/2014/main" id="{89B34769-F6CB-4465-9C83-3AD93BDBD1E1}"/>
                </a:ext>
              </a:extLst>
            </p:cNvPr>
            <p:cNvSpPr/>
            <p:nvPr/>
          </p:nvSpPr>
          <p:spPr>
            <a:xfrm>
              <a:off x="5977156" y="2768475"/>
              <a:ext cx="19383" cy="16966"/>
            </a:xfrm>
            <a:custGeom>
              <a:avLst/>
              <a:gdLst/>
              <a:ahLst/>
              <a:cxnLst>
                <a:cxn ang="0">
                  <a:pos x="wd2" y="hd2"/>
                </a:cxn>
                <a:cxn ang="5400000">
                  <a:pos x="wd2" y="hd2"/>
                </a:cxn>
                <a:cxn ang="10800000">
                  <a:pos x="wd2" y="hd2"/>
                </a:cxn>
                <a:cxn ang="16200000">
                  <a:pos x="wd2" y="hd2"/>
                </a:cxn>
              </a:cxnLst>
              <a:rect l="0" t="0" r="r" b="b"/>
              <a:pathLst>
                <a:path w="21600" h="21600" extrusionOk="0">
                  <a:moveTo>
                    <a:pt x="15774" y="1048"/>
                  </a:moveTo>
                  <a:lnTo>
                    <a:pt x="1426" y="0"/>
                  </a:lnTo>
                  <a:lnTo>
                    <a:pt x="0" y="17702"/>
                  </a:lnTo>
                  <a:lnTo>
                    <a:pt x="21600" y="21600"/>
                  </a:lnTo>
                  <a:lnTo>
                    <a:pt x="15774" y="1048"/>
                  </a:lnTo>
                  <a:close/>
                </a:path>
              </a:pathLst>
            </a:custGeom>
            <a:grpFill/>
            <a:ln w="25400" cap="flat">
              <a:noFill/>
              <a:prstDash val="solid"/>
              <a:miter lim="400000"/>
            </a:ln>
            <a:effectLst/>
          </p:spPr>
          <p:txBody>
            <a:bodyPr anchor="ctr"/>
            <a:lstStyle/>
            <a:p>
              <a:pPr algn="ctr"/>
              <a:endParaRPr/>
            </a:p>
          </p:txBody>
        </p:sp>
        <p:sp>
          <p:nvSpPr>
            <p:cNvPr id="134" name="işḷïdê">
              <a:extLst>
                <a:ext uri="{FF2B5EF4-FFF2-40B4-BE49-F238E27FC236}">
                  <a16:creationId xmlns="" xmlns:p14="http://schemas.microsoft.com/office/powerpoint/2010/main" xmlns:a16="http://schemas.microsoft.com/office/drawing/2014/main" id="{ACE87F57-457C-472E-8B4C-B636AE46786F}"/>
                </a:ext>
              </a:extLst>
            </p:cNvPr>
            <p:cNvSpPr/>
            <p:nvPr/>
          </p:nvSpPr>
          <p:spPr>
            <a:xfrm>
              <a:off x="6277853" y="2784962"/>
              <a:ext cx="97332" cy="33679"/>
            </a:xfrm>
            <a:custGeom>
              <a:avLst/>
              <a:gdLst/>
              <a:ahLst/>
              <a:cxnLst>
                <a:cxn ang="0">
                  <a:pos x="wd2" y="hd2"/>
                </a:cxn>
                <a:cxn ang="5400000">
                  <a:pos x="wd2" y="hd2"/>
                </a:cxn>
                <a:cxn ang="10800000">
                  <a:pos x="wd2" y="hd2"/>
                </a:cxn>
                <a:cxn ang="16200000">
                  <a:pos x="wd2" y="hd2"/>
                </a:cxn>
              </a:cxnLst>
              <a:rect l="0" t="0" r="r" b="b"/>
              <a:pathLst>
                <a:path w="21565" h="19779" extrusionOk="0">
                  <a:moveTo>
                    <a:pt x="12434" y="4397"/>
                  </a:moveTo>
                  <a:lnTo>
                    <a:pt x="7006" y="2044"/>
                  </a:lnTo>
                  <a:lnTo>
                    <a:pt x="3364" y="1828"/>
                  </a:lnTo>
                  <a:cubicBezTo>
                    <a:pt x="2241" y="-1757"/>
                    <a:pt x="29" y="279"/>
                    <a:pt x="0" y="4926"/>
                  </a:cubicBezTo>
                  <a:cubicBezTo>
                    <a:pt x="-35" y="10379"/>
                    <a:pt x="2718" y="12346"/>
                    <a:pt x="3736" y="7595"/>
                  </a:cubicBezTo>
                  <a:lnTo>
                    <a:pt x="6269" y="12491"/>
                  </a:lnTo>
                  <a:lnTo>
                    <a:pt x="8797" y="17829"/>
                  </a:lnTo>
                  <a:cubicBezTo>
                    <a:pt x="10237" y="18722"/>
                    <a:pt x="11702" y="19311"/>
                    <a:pt x="13178" y="19590"/>
                  </a:cubicBezTo>
                  <a:cubicBezTo>
                    <a:pt x="14509" y="19843"/>
                    <a:pt x="15846" y="19843"/>
                    <a:pt x="17178" y="19590"/>
                  </a:cubicBezTo>
                  <a:lnTo>
                    <a:pt x="21565" y="16031"/>
                  </a:lnTo>
                  <a:lnTo>
                    <a:pt x="21234" y="9358"/>
                  </a:lnTo>
                  <a:cubicBezTo>
                    <a:pt x="20150" y="10055"/>
                    <a:pt x="19031" y="10305"/>
                    <a:pt x="17917" y="10099"/>
                  </a:cubicBezTo>
                  <a:cubicBezTo>
                    <a:pt x="16919" y="9915"/>
                    <a:pt x="15935" y="9366"/>
                    <a:pt x="14995" y="8468"/>
                  </a:cubicBezTo>
                  <a:lnTo>
                    <a:pt x="12434" y="4397"/>
                  </a:lnTo>
                  <a:close/>
                </a:path>
              </a:pathLst>
            </a:custGeom>
            <a:grpFill/>
            <a:ln w="25400" cap="flat">
              <a:noFill/>
              <a:prstDash val="solid"/>
              <a:miter lim="400000"/>
            </a:ln>
            <a:effectLst/>
          </p:spPr>
          <p:txBody>
            <a:bodyPr anchor="ctr"/>
            <a:lstStyle/>
            <a:p>
              <a:pPr algn="ctr"/>
              <a:endParaRPr/>
            </a:p>
          </p:txBody>
        </p:sp>
        <p:sp>
          <p:nvSpPr>
            <p:cNvPr id="135" name="ï$ľiḋê">
              <a:extLst>
                <a:ext uri="{FF2B5EF4-FFF2-40B4-BE49-F238E27FC236}">
                  <a16:creationId xmlns="" xmlns:p14="http://schemas.microsoft.com/office/powerpoint/2010/main" xmlns:a16="http://schemas.microsoft.com/office/drawing/2014/main" id="{530F839E-6420-4392-8D6F-8B4CF356AD78}"/>
                </a:ext>
              </a:extLst>
            </p:cNvPr>
            <p:cNvSpPr/>
            <p:nvPr/>
          </p:nvSpPr>
          <p:spPr>
            <a:xfrm>
              <a:off x="6105633" y="1911267"/>
              <a:ext cx="32397" cy="27552"/>
            </a:xfrm>
            <a:custGeom>
              <a:avLst/>
              <a:gdLst/>
              <a:ahLst/>
              <a:cxnLst>
                <a:cxn ang="0">
                  <a:pos x="wd2" y="hd2"/>
                </a:cxn>
                <a:cxn ang="5400000">
                  <a:pos x="wd2" y="hd2"/>
                </a:cxn>
                <a:cxn ang="10800000">
                  <a:pos x="wd2" y="hd2"/>
                </a:cxn>
                <a:cxn ang="16200000">
                  <a:pos x="wd2" y="hd2"/>
                </a:cxn>
              </a:cxnLst>
              <a:rect l="0" t="0" r="r" b="b"/>
              <a:pathLst>
                <a:path w="20495" h="21600" extrusionOk="0">
                  <a:moveTo>
                    <a:pt x="13981" y="0"/>
                  </a:moveTo>
                  <a:lnTo>
                    <a:pt x="5719" y="857"/>
                  </a:lnTo>
                  <a:lnTo>
                    <a:pt x="0" y="11369"/>
                  </a:lnTo>
                  <a:lnTo>
                    <a:pt x="5962" y="17640"/>
                  </a:lnTo>
                  <a:lnTo>
                    <a:pt x="14301" y="21600"/>
                  </a:lnTo>
                  <a:cubicBezTo>
                    <a:pt x="17054" y="20527"/>
                    <a:pt x="19207" y="17865"/>
                    <a:pt x="20066" y="14472"/>
                  </a:cubicBezTo>
                  <a:cubicBezTo>
                    <a:pt x="21600" y="8411"/>
                    <a:pt x="18887" y="1959"/>
                    <a:pt x="13981" y="0"/>
                  </a:cubicBezTo>
                  <a:close/>
                </a:path>
              </a:pathLst>
            </a:custGeom>
            <a:grpFill/>
            <a:ln w="25400" cap="flat">
              <a:noFill/>
              <a:prstDash val="solid"/>
              <a:miter lim="400000"/>
            </a:ln>
            <a:effectLst/>
          </p:spPr>
          <p:txBody>
            <a:bodyPr anchor="ctr"/>
            <a:lstStyle/>
            <a:p>
              <a:pPr algn="ctr"/>
              <a:endParaRPr/>
            </a:p>
          </p:txBody>
        </p:sp>
        <p:sp>
          <p:nvSpPr>
            <p:cNvPr id="136" name="iṩļíḑe">
              <a:extLst>
                <a:ext uri="{FF2B5EF4-FFF2-40B4-BE49-F238E27FC236}">
                  <a16:creationId xmlns="" xmlns:p14="http://schemas.microsoft.com/office/powerpoint/2010/main" xmlns:a16="http://schemas.microsoft.com/office/drawing/2014/main" id="{7AA489A3-EFEB-4079-AE71-45AC7C575BF8}"/>
                </a:ext>
              </a:extLst>
            </p:cNvPr>
            <p:cNvSpPr/>
            <p:nvPr/>
          </p:nvSpPr>
          <p:spPr>
            <a:xfrm>
              <a:off x="9216497" y="4500642"/>
              <a:ext cx="1322325" cy="1010305"/>
            </a:xfrm>
            <a:custGeom>
              <a:avLst/>
              <a:gdLst/>
              <a:ahLst/>
              <a:cxnLst>
                <a:cxn ang="0">
                  <a:pos x="wd2" y="hd2"/>
                </a:cxn>
                <a:cxn ang="5400000">
                  <a:pos x="wd2" y="hd2"/>
                </a:cxn>
                <a:cxn ang="10800000">
                  <a:pos x="wd2" y="hd2"/>
                </a:cxn>
                <a:cxn ang="16200000">
                  <a:pos x="wd2" y="hd2"/>
                </a:cxn>
              </a:cxnLst>
              <a:rect l="0" t="0" r="r" b="b"/>
              <a:pathLst>
                <a:path w="21600" h="21587" extrusionOk="0">
                  <a:moveTo>
                    <a:pt x="5954" y="5356"/>
                  </a:moveTo>
                  <a:lnTo>
                    <a:pt x="5796" y="5869"/>
                  </a:lnTo>
                  <a:lnTo>
                    <a:pt x="5503" y="6311"/>
                  </a:lnTo>
                  <a:lnTo>
                    <a:pt x="5365" y="6483"/>
                  </a:lnTo>
                  <a:lnTo>
                    <a:pt x="5082" y="6656"/>
                  </a:lnTo>
                  <a:lnTo>
                    <a:pt x="4719" y="6834"/>
                  </a:lnTo>
                  <a:lnTo>
                    <a:pt x="4278" y="6893"/>
                  </a:lnTo>
                  <a:lnTo>
                    <a:pt x="3867" y="6963"/>
                  </a:lnTo>
                  <a:lnTo>
                    <a:pt x="3605" y="7152"/>
                  </a:lnTo>
                  <a:lnTo>
                    <a:pt x="3201" y="7421"/>
                  </a:lnTo>
                  <a:lnTo>
                    <a:pt x="2840" y="7616"/>
                  </a:lnTo>
                  <a:lnTo>
                    <a:pt x="2159" y="7891"/>
                  </a:lnTo>
                  <a:lnTo>
                    <a:pt x="1627" y="8085"/>
                  </a:lnTo>
                  <a:lnTo>
                    <a:pt x="1116" y="8295"/>
                  </a:lnTo>
                  <a:lnTo>
                    <a:pt x="1025" y="8677"/>
                  </a:lnTo>
                  <a:lnTo>
                    <a:pt x="980" y="8983"/>
                  </a:lnTo>
                  <a:lnTo>
                    <a:pt x="880" y="9313"/>
                  </a:lnTo>
                  <a:lnTo>
                    <a:pt x="718" y="9572"/>
                  </a:lnTo>
                  <a:lnTo>
                    <a:pt x="742" y="9911"/>
                  </a:lnTo>
                  <a:lnTo>
                    <a:pt x="766" y="10200"/>
                  </a:lnTo>
                  <a:lnTo>
                    <a:pt x="887" y="10459"/>
                  </a:lnTo>
                  <a:lnTo>
                    <a:pt x="982" y="10658"/>
                  </a:lnTo>
                  <a:lnTo>
                    <a:pt x="945" y="10981"/>
                  </a:lnTo>
                  <a:lnTo>
                    <a:pt x="804" y="11271"/>
                  </a:lnTo>
                  <a:lnTo>
                    <a:pt x="643" y="11837"/>
                  </a:lnTo>
                  <a:lnTo>
                    <a:pt x="607" y="12409"/>
                  </a:lnTo>
                  <a:lnTo>
                    <a:pt x="619" y="12825"/>
                  </a:lnTo>
                  <a:lnTo>
                    <a:pt x="619" y="14159"/>
                  </a:lnTo>
                  <a:lnTo>
                    <a:pt x="657" y="14449"/>
                  </a:lnTo>
                  <a:lnTo>
                    <a:pt x="756" y="14821"/>
                  </a:lnTo>
                  <a:lnTo>
                    <a:pt x="756" y="15123"/>
                  </a:lnTo>
                  <a:lnTo>
                    <a:pt x="806" y="15510"/>
                  </a:lnTo>
                  <a:lnTo>
                    <a:pt x="856" y="15799"/>
                  </a:lnTo>
                  <a:lnTo>
                    <a:pt x="756" y="16171"/>
                  </a:lnTo>
                  <a:lnTo>
                    <a:pt x="620" y="16478"/>
                  </a:lnTo>
                  <a:lnTo>
                    <a:pt x="546" y="16734"/>
                  </a:lnTo>
                  <a:lnTo>
                    <a:pt x="484" y="17052"/>
                  </a:lnTo>
                  <a:lnTo>
                    <a:pt x="393" y="17251"/>
                  </a:lnTo>
                  <a:lnTo>
                    <a:pt x="218" y="17348"/>
                  </a:lnTo>
                  <a:lnTo>
                    <a:pt x="0" y="17440"/>
                  </a:lnTo>
                  <a:lnTo>
                    <a:pt x="75" y="17639"/>
                  </a:lnTo>
                  <a:lnTo>
                    <a:pt x="148" y="17822"/>
                  </a:lnTo>
                  <a:lnTo>
                    <a:pt x="409" y="18166"/>
                  </a:lnTo>
                  <a:lnTo>
                    <a:pt x="717" y="18165"/>
                  </a:lnTo>
                  <a:lnTo>
                    <a:pt x="954" y="18364"/>
                  </a:lnTo>
                  <a:lnTo>
                    <a:pt x="1202" y="18316"/>
                  </a:lnTo>
                  <a:lnTo>
                    <a:pt x="1439" y="18047"/>
                  </a:lnTo>
                  <a:lnTo>
                    <a:pt x="1767" y="17901"/>
                  </a:lnTo>
                  <a:lnTo>
                    <a:pt x="2169" y="17804"/>
                  </a:lnTo>
                  <a:lnTo>
                    <a:pt x="2597" y="17535"/>
                  </a:lnTo>
                  <a:lnTo>
                    <a:pt x="2792" y="17454"/>
                  </a:lnTo>
                  <a:lnTo>
                    <a:pt x="3078" y="17389"/>
                  </a:lnTo>
                  <a:lnTo>
                    <a:pt x="3572" y="17373"/>
                  </a:lnTo>
                  <a:lnTo>
                    <a:pt x="3783" y="17308"/>
                  </a:lnTo>
                  <a:lnTo>
                    <a:pt x="4016" y="17260"/>
                  </a:lnTo>
                  <a:lnTo>
                    <a:pt x="4277" y="17211"/>
                  </a:lnTo>
                  <a:cubicBezTo>
                    <a:pt x="4368" y="17227"/>
                    <a:pt x="4461" y="17227"/>
                    <a:pt x="4552" y="17211"/>
                  </a:cubicBezTo>
                  <a:cubicBezTo>
                    <a:pt x="4646" y="17194"/>
                    <a:pt x="4738" y="17159"/>
                    <a:pt x="4825" y="17108"/>
                  </a:cubicBezTo>
                  <a:lnTo>
                    <a:pt x="5149" y="16802"/>
                  </a:lnTo>
                  <a:lnTo>
                    <a:pt x="5410" y="16608"/>
                  </a:lnTo>
                  <a:lnTo>
                    <a:pt x="5793" y="16451"/>
                  </a:lnTo>
                  <a:lnTo>
                    <a:pt x="6066" y="16339"/>
                  </a:lnTo>
                  <a:lnTo>
                    <a:pt x="6419" y="16236"/>
                  </a:lnTo>
                  <a:lnTo>
                    <a:pt x="7073" y="16033"/>
                  </a:lnTo>
                  <a:lnTo>
                    <a:pt x="7555" y="15812"/>
                  </a:lnTo>
                  <a:lnTo>
                    <a:pt x="7812" y="15893"/>
                  </a:lnTo>
                  <a:lnTo>
                    <a:pt x="8156" y="15925"/>
                  </a:lnTo>
                  <a:lnTo>
                    <a:pt x="8413" y="15764"/>
                  </a:lnTo>
                  <a:cubicBezTo>
                    <a:pt x="8514" y="15721"/>
                    <a:pt x="8618" y="15693"/>
                    <a:pt x="8724" y="15683"/>
                  </a:cubicBezTo>
                  <a:cubicBezTo>
                    <a:pt x="8850" y="15670"/>
                    <a:pt x="8977" y="15680"/>
                    <a:pt x="9101" y="15714"/>
                  </a:cubicBezTo>
                  <a:lnTo>
                    <a:pt x="9309" y="15811"/>
                  </a:lnTo>
                  <a:lnTo>
                    <a:pt x="9665" y="16129"/>
                  </a:lnTo>
                  <a:lnTo>
                    <a:pt x="9802" y="16323"/>
                  </a:lnTo>
                  <a:lnTo>
                    <a:pt x="10014" y="16431"/>
                  </a:lnTo>
                  <a:cubicBezTo>
                    <a:pt x="10054" y="16535"/>
                    <a:pt x="10087" y="16643"/>
                    <a:pt x="10112" y="16754"/>
                  </a:cubicBezTo>
                  <a:cubicBezTo>
                    <a:pt x="10146" y="16901"/>
                    <a:pt x="10167" y="17052"/>
                    <a:pt x="10174" y="17205"/>
                  </a:cubicBezTo>
                  <a:lnTo>
                    <a:pt x="10302" y="17344"/>
                  </a:lnTo>
                  <a:lnTo>
                    <a:pt x="10401" y="17554"/>
                  </a:lnTo>
                  <a:lnTo>
                    <a:pt x="10451" y="17811"/>
                  </a:lnTo>
                  <a:lnTo>
                    <a:pt x="10476" y="18064"/>
                  </a:lnTo>
                  <a:lnTo>
                    <a:pt x="10688" y="18145"/>
                  </a:lnTo>
                  <a:lnTo>
                    <a:pt x="10787" y="17837"/>
                  </a:lnTo>
                  <a:lnTo>
                    <a:pt x="10899" y="17643"/>
                  </a:lnTo>
                  <a:lnTo>
                    <a:pt x="11281" y="17568"/>
                  </a:lnTo>
                  <a:lnTo>
                    <a:pt x="11514" y="17330"/>
                  </a:lnTo>
                  <a:lnTo>
                    <a:pt x="11659" y="16996"/>
                  </a:lnTo>
                  <a:lnTo>
                    <a:pt x="11759" y="16727"/>
                  </a:lnTo>
                  <a:lnTo>
                    <a:pt x="11983" y="16727"/>
                  </a:lnTo>
                  <a:lnTo>
                    <a:pt x="12102" y="16986"/>
                  </a:lnTo>
                  <a:lnTo>
                    <a:pt x="12069" y="17282"/>
                  </a:lnTo>
                  <a:lnTo>
                    <a:pt x="11874" y="17524"/>
                  </a:lnTo>
                  <a:lnTo>
                    <a:pt x="11654" y="17767"/>
                  </a:lnTo>
                  <a:lnTo>
                    <a:pt x="11510" y="17972"/>
                  </a:lnTo>
                  <a:lnTo>
                    <a:pt x="11473" y="18225"/>
                  </a:lnTo>
                  <a:lnTo>
                    <a:pt x="11274" y="18418"/>
                  </a:lnTo>
                  <a:lnTo>
                    <a:pt x="11125" y="18467"/>
                  </a:lnTo>
                  <a:lnTo>
                    <a:pt x="11188" y="18634"/>
                  </a:lnTo>
                  <a:lnTo>
                    <a:pt x="11336" y="18634"/>
                  </a:lnTo>
                  <a:lnTo>
                    <a:pt x="11507" y="18537"/>
                  </a:lnTo>
                  <a:lnTo>
                    <a:pt x="11648" y="18208"/>
                  </a:lnTo>
                  <a:lnTo>
                    <a:pt x="11859" y="17966"/>
                  </a:lnTo>
                  <a:lnTo>
                    <a:pt x="11982" y="17997"/>
                  </a:lnTo>
                  <a:lnTo>
                    <a:pt x="12028" y="18234"/>
                  </a:lnTo>
                  <a:lnTo>
                    <a:pt x="12003" y="18557"/>
                  </a:lnTo>
                  <a:lnTo>
                    <a:pt x="11990" y="18719"/>
                  </a:lnTo>
                  <a:lnTo>
                    <a:pt x="12143" y="18913"/>
                  </a:lnTo>
                  <a:lnTo>
                    <a:pt x="12243" y="19251"/>
                  </a:lnTo>
                  <a:lnTo>
                    <a:pt x="12130" y="19639"/>
                  </a:lnTo>
                  <a:lnTo>
                    <a:pt x="12031" y="19855"/>
                  </a:lnTo>
                  <a:lnTo>
                    <a:pt x="11944" y="20096"/>
                  </a:lnTo>
                  <a:lnTo>
                    <a:pt x="12193" y="20469"/>
                  </a:lnTo>
                  <a:lnTo>
                    <a:pt x="12600" y="20760"/>
                  </a:lnTo>
                  <a:lnTo>
                    <a:pt x="12912" y="21094"/>
                  </a:lnTo>
                  <a:lnTo>
                    <a:pt x="13119" y="21142"/>
                  </a:lnTo>
                  <a:lnTo>
                    <a:pt x="13372" y="21202"/>
                  </a:lnTo>
                  <a:cubicBezTo>
                    <a:pt x="13427" y="21195"/>
                    <a:pt x="13481" y="21173"/>
                    <a:pt x="13529" y="21138"/>
                  </a:cubicBezTo>
                  <a:cubicBezTo>
                    <a:pt x="13608" y="21080"/>
                    <a:pt x="13669" y="20988"/>
                    <a:pt x="13703" y="20879"/>
                  </a:cubicBezTo>
                  <a:lnTo>
                    <a:pt x="13911" y="20820"/>
                  </a:lnTo>
                  <a:lnTo>
                    <a:pt x="14131" y="20831"/>
                  </a:lnTo>
                  <a:lnTo>
                    <a:pt x="14366" y="21000"/>
                  </a:lnTo>
                  <a:lnTo>
                    <a:pt x="14503" y="21323"/>
                  </a:lnTo>
                  <a:cubicBezTo>
                    <a:pt x="14516" y="21451"/>
                    <a:pt x="14589" y="21554"/>
                    <a:pt x="14686" y="21581"/>
                  </a:cubicBezTo>
                  <a:cubicBezTo>
                    <a:pt x="14755" y="21600"/>
                    <a:pt x="14827" y="21576"/>
                    <a:pt x="14881" y="21516"/>
                  </a:cubicBezTo>
                  <a:lnTo>
                    <a:pt x="15117" y="21042"/>
                  </a:lnTo>
                  <a:cubicBezTo>
                    <a:pt x="15153" y="20962"/>
                    <a:pt x="15199" y="20891"/>
                    <a:pt x="15254" y="20832"/>
                  </a:cubicBezTo>
                  <a:cubicBezTo>
                    <a:pt x="15361" y="20715"/>
                    <a:pt x="15495" y="20649"/>
                    <a:pt x="15635" y="20643"/>
                  </a:cubicBezTo>
                  <a:lnTo>
                    <a:pt x="15896" y="20578"/>
                  </a:lnTo>
                  <a:lnTo>
                    <a:pt x="16108" y="20578"/>
                  </a:lnTo>
                  <a:lnTo>
                    <a:pt x="16320" y="20708"/>
                  </a:lnTo>
                  <a:cubicBezTo>
                    <a:pt x="16368" y="20765"/>
                    <a:pt x="16429" y="20799"/>
                    <a:pt x="16494" y="20805"/>
                  </a:cubicBezTo>
                  <a:cubicBezTo>
                    <a:pt x="16587" y="20814"/>
                    <a:pt x="16677" y="20766"/>
                    <a:pt x="16739" y="20676"/>
                  </a:cubicBezTo>
                  <a:lnTo>
                    <a:pt x="16988" y="20110"/>
                  </a:lnTo>
                  <a:lnTo>
                    <a:pt x="17250" y="19592"/>
                  </a:lnTo>
                  <a:cubicBezTo>
                    <a:pt x="17331" y="19471"/>
                    <a:pt x="17410" y="19347"/>
                    <a:pt x="17487" y="19220"/>
                  </a:cubicBezTo>
                  <a:cubicBezTo>
                    <a:pt x="17562" y="19095"/>
                    <a:pt x="17636" y="18967"/>
                    <a:pt x="17707" y="18837"/>
                  </a:cubicBezTo>
                  <a:lnTo>
                    <a:pt x="18063" y="18805"/>
                  </a:lnTo>
                  <a:lnTo>
                    <a:pt x="18151" y="18627"/>
                  </a:lnTo>
                  <a:lnTo>
                    <a:pt x="18358" y="18341"/>
                  </a:lnTo>
                  <a:lnTo>
                    <a:pt x="18454" y="18136"/>
                  </a:lnTo>
                  <a:lnTo>
                    <a:pt x="18691" y="17893"/>
                  </a:lnTo>
                  <a:cubicBezTo>
                    <a:pt x="18717" y="17817"/>
                    <a:pt x="18736" y="17738"/>
                    <a:pt x="18748" y="17656"/>
                  </a:cubicBezTo>
                  <a:cubicBezTo>
                    <a:pt x="18765" y="17543"/>
                    <a:pt x="18767" y="17423"/>
                    <a:pt x="18810" y="17321"/>
                  </a:cubicBezTo>
                  <a:cubicBezTo>
                    <a:pt x="18860" y="17203"/>
                    <a:pt x="18955" y="17129"/>
                    <a:pt x="19059" y="17127"/>
                  </a:cubicBezTo>
                  <a:lnTo>
                    <a:pt x="19413" y="16924"/>
                  </a:lnTo>
                  <a:lnTo>
                    <a:pt x="19787" y="16655"/>
                  </a:lnTo>
                  <a:lnTo>
                    <a:pt x="19874" y="16445"/>
                  </a:lnTo>
                  <a:lnTo>
                    <a:pt x="20023" y="16251"/>
                  </a:lnTo>
                  <a:lnTo>
                    <a:pt x="20285" y="15880"/>
                  </a:lnTo>
                  <a:lnTo>
                    <a:pt x="20451" y="15642"/>
                  </a:lnTo>
                  <a:lnTo>
                    <a:pt x="20476" y="15370"/>
                  </a:lnTo>
                  <a:cubicBezTo>
                    <a:pt x="20512" y="15250"/>
                    <a:pt x="20553" y="15133"/>
                    <a:pt x="20601" y="15020"/>
                  </a:cubicBezTo>
                  <a:cubicBezTo>
                    <a:pt x="20671" y="14852"/>
                    <a:pt x="20753" y="14693"/>
                    <a:pt x="20846" y="14545"/>
                  </a:cubicBezTo>
                  <a:cubicBezTo>
                    <a:pt x="20913" y="14433"/>
                    <a:pt x="20979" y="14320"/>
                    <a:pt x="21045" y="14206"/>
                  </a:cubicBezTo>
                  <a:cubicBezTo>
                    <a:pt x="21111" y="14091"/>
                    <a:pt x="21176" y="13976"/>
                    <a:pt x="21240" y="13860"/>
                  </a:cubicBezTo>
                  <a:cubicBezTo>
                    <a:pt x="21281" y="13719"/>
                    <a:pt x="21310" y="13572"/>
                    <a:pt x="21327" y="13423"/>
                  </a:cubicBezTo>
                  <a:cubicBezTo>
                    <a:pt x="21345" y="13266"/>
                    <a:pt x="21349" y="13107"/>
                    <a:pt x="21340" y="12948"/>
                  </a:cubicBezTo>
                  <a:lnTo>
                    <a:pt x="21550" y="12563"/>
                  </a:lnTo>
                  <a:cubicBezTo>
                    <a:pt x="21536" y="12461"/>
                    <a:pt x="21532" y="12358"/>
                    <a:pt x="21538" y="12255"/>
                  </a:cubicBezTo>
                  <a:cubicBezTo>
                    <a:pt x="21545" y="12135"/>
                    <a:pt x="21566" y="12016"/>
                    <a:pt x="21600" y="11904"/>
                  </a:cubicBezTo>
                  <a:lnTo>
                    <a:pt x="21600" y="11340"/>
                  </a:lnTo>
                  <a:lnTo>
                    <a:pt x="21538" y="11038"/>
                  </a:lnTo>
                  <a:lnTo>
                    <a:pt x="21389" y="10617"/>
                  </a:lnTo>
                  <a:lnTo>
                    <a:pt x="21281" y="10240"/>
                  </a:lnTo>
                  <a:lnTo>
                    <a:pt x="21028" y="9986"/>
                  </a:lnTo>
                  <a:lnTo>
                    <a:pt x="20791" y="9581"/>
                  </a:lnTo>
                  <a:lnTo>
                    <a:pt x="20733" y="9333"/>
                  </a:lnTo>
                  <a:lnTo>
                    <a:pt x="20397" y="8721"/>
                  </a:lnTo>
                  <a:lnTo>
                    <a:pt x="20297" y="8091"/>
                  </a:lnTo>
                  <a:lnTo>
                    <a:pt x="20106" y="7525"/>
                  </a:lnTo>
                  <a:lnTo>
                    <a:pt x="19820" y="6996"/>
                  </a:lnTo>
                  <a:lnTo>
                    <a:pt x="19620" y="6527"/>
                  </a:lnTo>
                  <a:lnTo>
                    <a:pt x="19210" y="6155"/>
                  </a:lnTo>
                  <a:lnTo>
                    <a:pt x="18886" y="5767"/>
                  </a:lnTo>
                  <a:cubicBezTo>
                    <a:pt x="18800" y="5685"/>
                    <a:pt x="18761" y="5544"/>
                    <a:pt x="18786" y="5410"/>
                  </a:cubicBezTo>
                  <a:cubicBezTo>
                    <a:pt x="18811" y="5280"/>
                    <a:pt x="18892" y="5181"/>
                    <a:pt x="18994" y="5157"/>
                  </a:cubicBezTo>
                  <a:lnTo>
                    <a:pt x="19055" y="4833"/>
                  </a:lnTo>
                  <a:lnTo>
                    <a:pt x="19055" y="4472"/>
                  </a:lnTo>
                  <a:lnTo>
                    <a:pt x="19217" y="4028"/>
                  </a:lnTo>
                  <a:lnTo>
                    <a:pt x="19027" y="3743"/>
                  </a:lnTo>
                  <a:lnTo>
                    <a:pt x="18969" y="3459"/>
                  </a:lnTo>
                  <a:lnTo>
                    <a:pt x="18936" y="3040"/>
                  </a:lnTo>
                  <a:lnTo>
                    <a:pt x="18737" y="2634"/>
                  </a:lnTo>
                  <a:lnTo>
                    <a:pt x="18500" y="2250"/>
                  </a:lnTo>
                  <a:lnTo>
                    <a:pt x="18264" y="1878"/>
                  </a:lnTo>
                  <a:cubicBezTo>
                    <a:pt x="18190" y="1776"/>
                    <a:pt x="18127" y="1662"/>
                    <a:pt x="18077" y="1539"/>
                  </a:cubicBezTo>
                  <a:cubicBezTo>
                    <a:pt x="17997" y="1344"/>
                    <a:pt x="17951" y="1129"/>
                    <a:pt x="17940" y="908"/>
                  </a:cubicBezTo>
                  <a:lnTo>
                    <a:pt x="17870" y="312"/>
                  </a:lnTo>
                  <a:lnTo>
                    <a:pt x="17679" y="0"/>
                  </a:lnTo>
                  <a:lnTo>
                    <a:pt x="17497" y="117"/>
                  </a:lnTo>
                  <a:lnTo>
                    <a:pt x="17298" y="441"/>
                  </a:lnTo>
                  <a:lnTo>
                    <a:pt x="17198" y="989"/>
                  </a:lnTo>
                  <a:lnTo>
                    <a:pt x="17173" y="1475"/>
                  </a:lnTo>
                  <a:lnTo>
                    <a:pt x="17090" y="1927"/>
                  </a:lnTo>
                  <a:lnTo>
                    <a:pt x="17016" y="2271"/>
                  </a:lnTo>
                  <a:lnTo>
                    <a:pt x="17003" y="2864"/>
                  </a:lnTo>
                  <a:lnTo>
                    <a:pt x="17016" y="3290"/>
                  </a:lnTo>
                  <a:cubicBezTo>
                    <a:pt x="16998" y="3361"/>
                    <a:pt x="16974" y="3430"/>
                    <a:pt x="16945" y="3495"/>
                  </a:cubicBezTo>
                  <a:cubicBezTo>
                    <a:pt x="16886" y="3627"/>
                    <a:pt x="16805" y="3742"/>
                    <a:pt x="16709" y="3829"/>
                  </a:cubicBezTo>
                  <a:lnTo>
                    <a:pt x="16476" y="4223"/>
                  </a:lnTo>
                  <a:lnTo>
                    <a:pt x="16090" y="4596"/>
                  </a:lnTo>
                  <a:lnTo>
                    <a:pt x="16028" y="4804"/>
                  </a:lnTo>
                  <a:lnTo>
                    <a:pt x="15868" y="4980"/>
                  </a:lnTo>
                  <a:lnTo>
                    <a:pt x="15471" y="4872"/>
                  </a:lnTo>
                  <a:lnTo>
                    <a:pt x="15263" y="4420"/>
                  </a:lnTo>
                  <a:lnTo>
                    <a:pt x="14941" y="4258"/>
                  </a:lnTo>
                  <a:lnTo>
                    <a:pt x="14663" y="4053"/>
                  </a:lnTo>
                  <a:lnTo>
                    <a:pt x="14476" y="3794"/>
                  </a:lnTo>
                  <a:lnTo>
                    <a:pt x="14089" y="3470"/>
                  </a:lnTo>
                  <a:lnTo>
                    <a:pt x="13749" y="3330"/>
                  </a:lnTo>
                  <a:lnTo>
                    <a:pt x="13637" y="2925"/>
                  </a:lnTo>
                  <a:lnTo>
                    <a:pt x="13637" y="2180"/>
                  </a:lnTo>
                  <a:lnTo>
                    <a:pt x="13757" y="1862"/>
                  </a:lnTo>
                  <a:lnTo>
                    <a:pt x="13894" y="1668"/>
                  </a:lnTo>
                  <a:lnTo>
                    <a:pt x="14093" y="1328"/>
                  </a:lnTo>
                  <a:lnTo>
                    <a:pt x="14301" y="1036"/>
                  </a:lnTo>
                  <a:lnTo>
                    <a:pt x="14077" y="799"/>
                  </a:lnTo>
                  <a:lnTo>
                    <a:pt x="13671" y="626"/>
                  </a:lnTo>
                  <a:lnTo>
                    <a:pt x="13551" y="529"/>
                  </a:lnTo>
                  <a:lnTo>
                    <a:pt x="12919" y="457"/>
                  </a:lnTo>
                  <a:lnTo>
                    <a:pt x="12492" y="155"/>
                  </a:lnTo>
                  <a:lnTo>
                    <a:pt x="12131" y="495"/>
                  </a:lnTo>
                  <a:lnTo>
                    <a:pt x="11861" y="716"/>
                  </a:lnTo>
                  <a:lnTo>
                    <a:pt x="11605" y="888"/>
                  </a:lnTo>
                  <a:lnTo>
                    <a:pt x="11058" y="1017"/>
                  </a:lnTo>
                  <a:lnTo>
                    <a:pt x="10851" y="1226"/>
                  </a:lnTo>
                  <a:lnTo>
                    <a:pt x="10702" y="1608"/>
                  </a:lnTo>
                  <a:lnTo>
                    <a:pt x="10603" y="1737"/>
                  </a:lnTo>
                  <a:lnTo>
                    <a:pt x="10416" y="1964"/>
                  </a:lnTo>
                  <a:lnTo>
                    <a:pt x="10428" y="2286"/>
                  </a:lnTo>
                  <a:lnTo>
                    <a:pt x="10594" y="2561"/>
                  </a:lnTo>
                  <a:lnTo>
                    <a:pt x="10478" y="2739"/>
                  </a:lnTo>
                  <a:lnTo>
                    <a:pt x="10159" y="3090"/>
                  </a:lnTo>
                  <a:cubicBezTo>
                    <a:pt x="10067" y="3086"/>
                    <a:pt x="9978" y="3052"/>
                    <a:pt x="9899" y="2993"/>
                  </a:cubicBezTo>
                  <a:cubicBezTo>
                    <a:pt x="9767" y="2894"/>
                    <a:pt x="9671" y="2731"/>
                    <a:pt x="9633" y="2540"/>
                  </a:cubicBezTo>
                  <a:lnTo>
                    <a:pt x="9197" y="2329"/>
                  </a:lnTo>
                  <a:cubicBezTo>
                    <a:pt x="9181" y="2199"/>
                    <a:pt x="9118" y="2087"/>
                    <a:pt x="9027" y="2027"/>
                  </a:cubicBezTo>
                  <a:cubicBezTo>
                    <a:pt x="8838" y="1903"/>
                    <a:pt x="8608" y="2025"/>
                    <a:pt x="8541" y="2286"/>
                  </a:cubicBezTo>
                  <a:lnTo>
                    <a:pt x="8250" y="2599"/>
                  </a:lnTo>
                  <a:cubicBezTo>
                    <a:pt x="8194" y="2686"/>
                    <a:pt x="8137" y="2772"/>
                    <a:pt x="8080" y="2857"/>
                  </a:cubicBezTo>
                  <a:cubicBezTo>
                    <a:pt x="7985" y="2999"/>
                    <a:pt x="7888" y="3139"/>
                    <a:pt x="7790" y="3277"/>
                  </a:cubicBezTo>
                  <a:lnTo>
                    <a:pt x="7467" y="3599"/>
                  </a:lnTo>
                  <a:lnTo>
                    <a:pt x="7293" y="3739"/>
                  </a:lnTo>
                  <a:lnTo>
                    <a:pt x="6986" y="3783"/>
                  </a:lnTo>
                  <a:lnTo>
                    <a:pt x="6987" y="4025"/>
                  </a:lnTo>
                  <a:lnTo>
                    <a:pt x="7057" y="4165"/>
                  </a:lnTo>
                  <a:lnTo>
                    <a:pt x="7119" y="4374"/>
                  </a:lnTo>
                  <a:lnTo>
                    <a:pt x="7007" y="4628"/>
                  </a:lnTo>
                  <a:cubicBezTo>
                    <a:pt x="7006" y="4750"/>
                    <a:pt x="6931" y="4851"/>
                    <a:pt x="6836" y="4854"/>
                  </a:cubicBezTo>
                  <a:cubicBezTo>
                    <a:pt x="6738" y="4858"/>
                    <a:pt x="6655" y="4756"/>
                    <a:pt x="6654" y="4628"/>
                  </a:cubicBezTo>
                  <a:lnTo>
                    <a:pt x="6421" y="4466"/>
                  </a:lnTo>
                  <a:lnTo>
                    <a:pt x="6280" y="4719"/>
                  </a:lnTo>
                  <a:lnTo>
                    <a:pt x="6160" y="4924"/>
                  </a:lnTo>
                  <a:lnTo>
                    <a:pt x="5954" y="5356"/>
                  </a:lnTo>
                  <a:close/>
                </a:path>
              </a:pathLst>
            </a:custGeom>
            <a:grpFill/>
            <a:ln w="25400" cap="flat">
              <a:noFill/>
              <a:prstDash val="solid"/>
              <a:miter lim="400000"/>
            </a:ln>
            <a:effectLst/>
          </p:spPr>
          <p:txBody>
            <a:bodyPr anchor="ctr"/>
            <a:lstStyle/>
            <a:p>
              <a:pPr algn="ctr"/>
              <a:endParaRPr/>
            </a:p>
          </p:txBody>
        </p:sp>
        <p:sp>
          <p:nvSpPr>
            <p:cNvPr id="137" name="ïṥliďe">
              <a:extLst>
                <a:ext uri="{FF2B5EF4-FFF2-40B4-BE49-F238E27FC236}">
                  <a16:creationId xmlns="" xmlns:p14="http://schemas.microsoft.com/office/powerpoint/2010/main" xmlns:a16="http://schemas.microsoft.com/office/drawing/2014/main" id="{54033BFF-3B20-421F-8776-EA2AC75E7E8A}"/>
                </a:ext>
              </a:extLst>
            </p:cNvPr>
            <p:cNvSpPr/>
            <p:nvPr/>
          </p:nvSpPr>
          <p:spPr>
            <a:xfrm>
              <a:off x="10006023" y="5571304"/>
              <a:ext cx="123850" cy="102464"/>
            </a:xfrm>
            <a:custGeom>
              <a:avLst/>
              <a:gdLst/>
              <a:ahLst/>
              <a:cxnLst>
                <a:cxn ang="0">
                  <a:pos x="wd2" y="hd2"/>
                </a:cxn>
                <a:cxn ang="5400000">
                  <a:pos x="wd2" y="hd2"/>
                </a:cxn>
                <a:cxn ang="10800000">
                  <a:pos x="wd2" y="hd2"/>
                </a:cxn>
                <a:cxn ang="16200000">
                  <a:pos x="wd2" y="hd2"/>
                </a:cxn>
              </a:cxnLst>
              <a:rect l="0" t="0" r="r" b="b"/>
              <a:pathLst>
                <a:path w="21600" h="21600" extrusionOk="0">
                  <a:moveTo>
                    <a:pt x="2734" y="1038"/>
                  </a:moveTo>
                  <a:lnTo>
                    <a:pt x="5578" y="0"/>
                  </a:lnTo>
                  <a:lnTo>
                    <a:pt x="6344" y="2077"/>
                  </a:lnTo>
                  <a:lnTo>
                    <a:pt x="8057" y="3507"/>
                  </a:lnTo>
                  <a:lnTo>
                    <a:pt x="11245" y="5736"/>
                  </a:lnTo>
                  <a:lnTo>
                    <a:pt x="13944" y="4944"/>
                  </a:lnTo>
                  <a:lnTo>
                    <a:pt x="15669" y="2555"/>
                  </a:lnTo>
                  <a:lnTo>
                    <a:pt x="17659" y="2290"/>
                  </a:lnTo>
                  <a:lnTo>
                    <a:pt x="20048" y="2290"/>
                  </a:lnTo>
                  <a:lnTo>
                    <a:pt x="21600" y="3886"/>
                  </a:lnTo>
                  <a:lnTo>
                    <a:pt x="21073" y="6102"/>
                  </a:lnTo>
                  <a:lnTo>
                    <a:pt x="19449" y="6901"/>
                  </a:lnTo>
                  <a:lnTo>
                    <a:pt x="18263" y="8165"/>
                  </a:lnTo>
                  <a:lnTo>
                    <a:pt x="18130" y="10554"/>
                  </a:lnTo>
                  <a:lnTo>
                    <a:pt x="16494" y="13003"/>
                  </a:lnTo>
                  <a:lnTo>
                    <a:pt x="14149" y="14540"/>
                  </a:lnTo>
                  <a:lnTo>
                    <a:pt x="10318" y="16118"/>
                  </a:lnTo>
                  <a:lnTo>
                    <a:pt x="8234" y="17714"/>
                  </a:lnTo>
                  <a:lnTo>
                    <a:pt x="6954" y="19365"/>
                  </a:lnTo>
                  <a:lnTo>
                    <a:pt x="6111" y="21121"/>
                  </a:lnTo>
                  <a:lnTo>
                    <a:pt x="4171" y="21600"/>
                  </a:lnTo>
                  <a:lnTo>
                    <a:pt x="3062" y="19311"/>
                  </a:lnTo>
                  <a:lnTo>
                    <a:pt x="1521" y="19311"/>
                  </a:lnTo>
                  <a:lnTo>
                    <a:pt x="0" y="19258"/>
                  </a:lnTo>
                  <a:lnTo>
                    <a:pt x="667" y="16130"/>
                  </a:lnTo>
                  <a:lnTo>
                    <a:pt x="2456" y="13422"/>
                  </a:lnTo>
                  <a:lnTo>
                    <a:pt x="2806" y="11838"/>
                  </a:lnTo>
                  <a:lnTo>
                    <a:pt x="2673" y="8557"/>
                  </a:lnTo>
                  <a:lnTo>
                    <a:pt x="2673" y="6056"/>
                  </a:lnTo>
                  <a:lnTo>
                    <a:pt x="2190" y="4678"/>
                  </a:lnTo>
                  <a:lnTo>
                    <a:pt x="2734" y="1038"/>
                  </a:lnTo>
                  <a:close/>
                </a:path>
              </a:pathLst>
            </a:custGeom>
            <a:grpFill/>
            <a:ln w="25400" cap="flat">
              <a:noFill/>
              <a:prstDash val="solid"/>
              <a:miter lim="400000"/>
            </a:ln>
            <a:effectLst/>
          </p:spPr>
          <p:txBody>
            <a:bodyPr anchor="ctr"/>
            <a:lstStyle/>
            <a:p>
              <a:pPr algn="ctr"/>
              <a:endParaRPr/>
            </a:p>
          </p:txBody>
        </p:sp>
        <p:sp>
          <p:nvSpPr>
            <p:cNvPr id="138" name="ïśḻïḑè">
              <a:extLst>
                <a:ext uri="{FF2B5EF4-FFF2-40B4-BE49-F238E27FC236}">
                  <a16:creationId xmlns="" xmlns:p14="http://schemas.microsoft.com/office/powerpoint/2010/main" xmlns:a16="http://schemas.microsoft.com/office/drawing/2014/main" id="{6CEE2015-1CC7-48E3-ACD4-B20E80419601}"/>
                </a:ext>
              </a:extLst>
            </p:cNvPr>
            <p:cNvSpPr/>
            <p:nvPr/>
          </p:nvSpPr>
          <p:spPr>
            <a:xfrm>
              <a:off x="10572355" y="5565246"/>
              <a:ext cx="336841" cy="210563"/>
            </a:xfrm>
            <a:custGeom>
              <a:avLst/>
              <a:gdLst/>
              <a:ahLst/>
              <a:cxnLst>
                <a:cxn ang="0">
                  <a:pos x="wd2" y="hd2"/>
                </a:cxn>
                <a:cxn ang="5400000">
                  <a:pos x="wd2" y="hd2"/>
                </a:cxn>
                <a:cxn ang="10800000">
                  <a:pos x="wd2" y="hd2"/>
                </a:cxn>
                <a:cxn ang="16200000">
                  <a:pos x="wd2" y="hd2"/>
                </a:cxn>
              </a:cxnLst>
              <a:rect l="0" t="0" r="r" b="b"/>
              <a:pathLst>
                <a:path w="21600" h="21544" extrusionOk="0">
                  <a:moveTo>
                    <a:pt x="2147" y="16913"/>
                  </a:moveTo>
                  <a:lnTo>
                    <a:pt x="1380" y="17278"/>
                  </a:lnTo>
                  <a:lnTo>
                    <a:pt x="508" y="19015"/>
                  </a:lnTo>
                  <a:lnTo>
                    <a:pt x="0" y="20356"/>
                  </a:lnTo>
                  <a:lnTo>
                    <a:pt x="1241" y="21466"/>
                  </a:lnTo>
                  <a:lnTo>
                    <a:pt x="2749" y="21544"/>
                  </a:lnTo>
                  <a:lnTo>
                    <a:pt x="5044" y="21466"/>
                  </a:lnTo>
                  <a:lnTo>
                    <a:pt x="6332" y="20691"/>
                  </a:lnTo>
                  <a:lnTo>
                    <a:pt x="8044" y="18990"/>
                  </a:lnTo>
                  <a:lnTo>
                    <a:pt x="9316" y="17905"/>
                  </a:lnTo>
                  <a:lnTo>
                    <a:pt x="10246" y="16587"/>
                  </a:lnTo>
                  <a:lnTo>
                    <a:pt x="11501" y="14151"/>
                  </a:lnTo>
                  <a:cubicBezTo>
                    <a:pt x="11635" y="13828"/>
                    <a:pt x="11800" y="13540"/>
                    <a:pt x="11990" y="13298"/>
                  </a:cubicBezTo>
                  <a:cubicBezTo>
                    <a:pt x="12464" y="12694"/>
                    <a:pt x="13064" y="12399"/>
                    <a:pt x="13670" y="12472"/>
                  </a:cubicBezTo>
                  <a:lnTo>
                    <a:pt x="14548" y="12562"/>
                  </a:lnTo>
                  <a:lnTo>
                    <a:pt x="15233" y="12097"/>
                  </a:lnTo>
                  <a:lnTo>
                    <a:pt x="15961" y="11558"/>
                  </a:lnTo>
                  <a:lnTo>
                    <a:pt x="16010" y="10246"/>
                  </a:lnTo>
                  <a:lnTo>
                    <a:pt x="17004" y="9130"/>
                  </a:lnTo>
                  <a:lnTo>
                    <a:pt x="18541" y="7346"/>
                  </a:lnTo>
                  <a:lnTo>
                    <a:pt x="20577" y="6490"/>
                  </a:lnTo>
                  <a:lnTo>
                    <a:pt x="21600" y="5415"/>
                  </a:lnTo>
                  <a:lnTo>
                    <a:pt x="21600" y="4405"/>
                  </a:lnTo>
                  <a:lnTo>
                    <a:pt x="21306" y="2773"/>
                  </a:lnTo>
                  <a:lnTo>
                    <a:pt x="20866" y="1007"/>
                  </a:lnTo>
                  <a:cubicBezTo>
                    <a:pt x="20843" y="468"/>
                    <a:pt x="20572" y="40"/>
                    <a:pt x="20232" y="3"/>
                  </a:cubicBezTo>
                  <a:cubicBezTo>
                    <a:pt x="19700" y="-56"/>
                    <a:pt x="19304" y="769"/>
                    <a:pt x="19482" y="1565"/>
                  </a:cubicBezTo>
                  <a:lnTo>
                    <a:pt x="18669" y="2426"/>
                  </a:lnTo>
                  <a:lnTo>
                    <a:pt x="17564" y="3640"/>
                  </a:lnTo>
                  <a:lnTo>
                    <a:pt x="17108" y="4363"/>
                  </a:lnTo>
                  <a:cubicBezTo>
                    <a:pt x="16812" y="4575"/>
                    <a:pt x="16538" y="4853"/>
                    <a:pt x="16293" y="5190"/>
                  </a:cubicBezTo>
                  <a:cubicBezTo>
                    <a:pt x="15810" y="5854"/>
                    <a:pt x="15457" y="6721"/>
                    <a:pt x="14988" y="7408"/>
                  </a:cubicBezTo>
                  <a:cubicBezTo>
                    <a:pt x="14591" y="7991"/>
                    <a:pt x="14119" y="8431"/>
                    <a:pt x="13604" y="8700"/>
                  </a:cubicBezTo>
                  <a:lnTo>
                    <a:pt x="11698" y="9704"/>
                  </a:lnTo>
                  <a:lnTo>
                    <a:pt x="9302" y="11254"/>
                  </a:lnTo>
                  <a:cubicBezTo>
                    <a:pt x="8906" y="11491"/>
                    <a:pt x="8515" y="11748"/>
                    <a:pt x="8130" y="12026"/>
                  </a:cubicBezTo>
                  <a:cubicBezTo>
                    <a:pt x="7579" y="12424"/>
                    <a:pt x="7040" y="12864"/>
                    <a:pt x="6515" y="13344"/>
                  </a:cubicBezTo>
                  <a:cubicBezTo>
                    <a:pt x="6085" y="13632"/>
                    <a:pt x="5652" y="13908"/>
                    <a:pt x="5215" y="14170"/>
                  </a:cubicBezTo>
                  <a:cubicBezTo>
                    <a:pt x="4730" y="14462"/>
                    <a:pt x="4240" y="14738"/>
                    <a:pt x="3748" y="14997"/>
                  </a:cubicBezTo>
                  <a:lnTo>
                    <a:pt x="2147" y="16913"/>
                  </a:lnTo>
                  <a:close/>
                </a:path>
              </a:pathLst>
            </a:custGeom>
            <a:grpFill/>
            <a:ln w="25400" cap="flat">
              <a:noFill/>
              <a:prstDash val="solid"/>
              <a:miter lim="400000"/>
            </a:ln>
            <a:effectLst/>
          </p:spPr>
          <p:txBody>
            <a:bodyPr anchor="ctr"/>
            <a:lstStyle/>
            <a:p>
              <a:pPr algn="ctr"/>
              <a:endParaRPr/>
            </a:p>
          </p:txBody>
        </p:sp>
        <p:sp>
          <p:nvSpPr>
            <p:cNvPr id="139" name="íšḷiḋè">
              <a:extLst>
                <a:ext uri="{FF2B5EF4-FFF2-40B4-BE49-F238E27FC236}">
                  <a16:creationId xmlns="" xmlns:p14="http://schemas.microsoft.com/office/powerpoint/2010/main" xmlns:a16="http://schemas.microsoft.com/office/drawing/2014/main" id="{B5157375-5A3A-44A6-98A6-4FC39C2F8207}"/>
                </a:ext>
              </a:extLst>
            </p:cNvPr>
            <p:cNvSpPr/>
            <p:nvPr/>
          </p:nvSpPr>
          <p:spPr>
            <a:xfrm>
              <a:off x="10955509" y="5355572"/>
              <a:ext cx="164775" cy="251094"/>
            </a:xfrm>
            <a:custGeom>
              <a:avLst/>
              <a:gdLst/>
              <a:ahLst/>
              <a:cxnLst>
                <a:cxn ang="0">
                  <a:pos x="wd2" y="hd2"/>
                </a:cxn>
                <a:cxn ang="5400000">
                  <a:pos x="wd2" y="hd2"/>
                </a:cxn>
                <a:cxn ang="10800000">
                  <a:pos x="wd2" y="hd2"/>
                </a:cxn>
                <a:cxn ang="16200000">
                  <a:pos x="wd2" y="hd2"/>
                </a:cxn>
              </a:cxnLst>
              <a:rect l="0" t="0" r="r" b="b"/>
              <a:pathLst>
                <a:path w="21600" h="21600" extrusionOk="0">
                  <a:moveTo>
                    <a:pt x="13019" y="321"/>
                  </a:moveTo>
                  <a:lnTo>
                    <a:pt x="11636" y="0"/>
                  </a:lnTo>
                  <a:lnTo>
                    <a:pt x="11352" y="2568"/>
                  </a:lnTo>
                  <a:lnTo>
                    <a:pt x="11383" y="3806"/>
                  </a:lnTo>
                  <a:lnTo>
                    <a:pt x="12079" y="5151"/>
                  </a:lnTo>
                  <a:lnTo>
                    <a:pt x="12375" y="6967"/>
                  </a:lnTo>
                  <a:cubicBezTo>
                    <a:pt x="12672" y="7601"/>
                    <a:pt x="12637" y="8281"/>
                    <a:pt x="12275" y="8900"/>
                  </a:cubicBezTo>
                  <a:cubicBezTo>
                    <a:pt x="12047" y="9291"/>
                    <a:pt x="11695" y="9645"/>
                    <a:pt x="11242" y="9941"/>
                  </a:cubicBezTo>
                  <a:lnTo>
                    <a:pt x="10432" y="11157"/>
                  </a:lnTo>
                  <a:lnTo>
                    <a:pt x="7384" y="11982"/>
                  </a:lnTo>
                  <a:lnTo>
                    <a:pt x="4025" y="12743"/>
                  </a:lnTo>
                  <a:lnTo>
                    <a:pt x="2560" y="14347"/>
                  </a:lnTo>
                  <a:lnTo>
                    <a:pt x="2552" y="16107"/>
                  </a:lnTo>
                  <a:lnTo>
                    <a:pt x="3355" y="17541"/>
                  </a:lnTo>
                  <a:lnTo>
                    <a:pt x="1955" y="19191"/>
                  </a:lnTo>
                  <a:lnTo>
                    <a:pt x="116" y="19974"/>
                  </a:lnTo>
                  <a:lnTo>
                    <a:pt x="0" y="20821"/>
                  </a:lnTo>
                  <a:lnTo>
                    <a:pt x="1421" y="21600"/>
                  </a:lnTo>
                  <a:lnTo>
                    <a:pt x="3317" y="20948"/>
                  </a:lnTo>
                  <a:lnTo>
                    <a:pt x="5646" y="19126"/>
                  </a:lnTo>
                  <a:cubicBezTo>
                    <a:pt x="6124" y="18808"/>
                    <a:pt x="6661" y="18530"/>
                    <a:pt x="7246" y="18301"/>
                  </a:cubicBezTo>
                  <a:cubicBezTo>
                    <a:pt x="7999" y="18006"/>
                    <a:pt x="8821" y="17793"/>
                    <a:pt x="9679" y="17671"/>
                  </a:cubicBezTo>
                  <a:cubicBezTo>
                    <a:pt x="10238" y="17511"/>
                    <a:pt x="10792" y="17345"/>
                    <a:pt x="11342" y="17174"/>
                  </a:cubicBezTo>
                  <a:cubicBezTo>
                    <a:pt x="12241" y="16894"/>
                    <a:pt x="13139" y="16593"/>
                    <a:pt x="13842" y="16131"/>
                  </a:cubicBezTo>
                  <a:cubicBezTo>
                    <a:pt x="14311" y="15823"/>
                    <a:pt x="14674" y="15454"/>
                    <a:pt x="14908" y="15048"/>
                  </a:cubicBezTo>
                  <a:cubicBezTo>
                    <a:pt x="15071" y="14768"/>
                    <a:pt x="15345" y="14521"/>
                    <a:pt x="15704" y="14334"/>
                  </a:cubicBezTo>
                  <a:cubicBezTo>
                    <a:pt x="16529" y="13904"/>
                    <a:pt x="17653" y="13847"/>
                    <a:pt x="18567" y="13508"/>
                  </a:cubicBezTo>
                  <a:cubicBezTo>
                    <a:pt x="19153" y="13291"/>
                    <a:pt x="19628" y="12966"/>
                    <a:pt x="19933" y="12574"/>
                  </a:cubicBezTo>
                  <a:lnTo>
                    <a:pt x="21100" y="11358"/>
                  </a:lnTo>
                  <a:lnTo>
                    <a:pt x="21600" y="10578"/>
                  </a:lnTo>
                  <a:lnTo>
                    <a:pt x="19804" y="10386"/>
                  </a:lnTo>
                  <a:lnTo>
                    <a:pt x="18624" y="10060"/>
                  </a:lnTo>
                  <a:lnTo>
                    <a:pt x="17125" y="9017"/>
                  </a:lnTo>
                  <a:lnTo>
                    <a:pt x="14529" y="7584"/>
                  </a:lnTo>
                  <a:cubicBezTo>
                    <a:pt x="14314" y="7294"/>
                    <a:pt x="14124" y="6997"/>
                    <a:pt x="13962" y="6693"/>
                  </a:cubicBezTo>
                  <a:cubicBezTo>
                    <a:pt x="13643" y="6095"/>
                    <a:pt x="13431" y="5476"/>
                    <a:pt x="13329" y="4847"/>
                  </a:cubicBezTo>
                  <a:lnTo>
                    <a:pt x="14325" y="3524"/>
                  </a:lnTo>
                  <a:lnTo>
                    <a:pt x="14325" y="1808"/>
                  </a:lnTo>
                  <a:lnTo>
                    <a:pt x="13019" y="321"/>
                  </a:lnTo>
                  <a:close/>
                </a:path>
              </a:pathLst>
            </a:custGeom>
            <a:grpFill/>
            <a:ln w="25400" cap="flat">
              <a:noFill/>
              <a:prstDash val="solid"/>
              <a:miter lim="400000"/>
            </a:ln>
            <a:effectLst/>
          </p:spPr>
          <p:txBody>
            <a:bodyPr anchor="ctr"/>
            <a:lstStyle/>
            <a:p>
              <a:pPr algn="ctr"/>
              <a:endParaRPr/>
            </a:p>
          </p:txBody>
        </p:sp>
        <p:sp>
          <p:nvSpPr>
            <p:cNvPr id="140" name="ïṣ1iḓé">
              <a:extLst>
                <a:ext uri="{FF2B5EF4-FFF2-40B4-BE49-F238E27FC236}">
                  <a16:creationId xmlns="" xmlns:p14="http://schemas.microsoft.com/office/powerpoint/2010/main" xmlns:a16="http://schemas.microsoft.com/office/drawing/2014/main" id="{FD029572-46BF-49E7-A2F2-76CDEF95DC6B}"/>
                </a:ext>
              </a:extLst>
            </p:cNvPr>
            <p:cNvSpPr/>
            <p:nvPr/>
          </p:nvSpPr>
          <p:spPr>
            <a:xfrm>
              <a:off x="10967412" y="5132660"/>
              <a:ext cx="16360" cy="28333"/>
            </a:xfrm>
            <a:custGeom>
              <a:avLst/>
              <a:gdLst/>
              <a:ahLst/>
              <a:cxnLst>
                <a:cxn ang="0">
                  <a:pos x="wd2" y="hd2"/>
                </a:cxn>
                <a:cxn ang="5400000">
                  <a:pos x="wd2" y="hd2"/>
                </a:cxn>
                <a:cxn ang="10800000">
                  <a:pos x="wd2" y="hd2"/>
                </a:cxn>
                <a:cxn ang="16200000">
                  <a:pos x="wd2" y="hd2"/>
                </a:cxn>
              </a:cxnLst>
              <a:rect l="0" t="0" r="r" b="b"/>
              <a:pathLst>
                <a:path w="21600" h="21600" extrusionOk="0">
                  <a:moveTo>
                    <a:pt x="7518" y="240"/>
                  </a:moveTo>
                  <a:lnTo>
                    <a:pt x="21579" y="0"/>
                  </a:lnTo>
                  <a:lnTo>
                    <a:pt x="21600" y="11228"/>
                  </a:lnTo>
                  <a:lnTo>
                    <a:pt x="15549" y="21600"/>
                  </a:lnTo>
                  <a:lnTo>
                    <a:pt x="2290" y="19891"/>
                  </a:lnTo>
                  <a:lnTo>
                    <a:pt x="0" y="10674"/>
                  </a:lnTo>
                  <a:lnTo>
                    <a:pt x="7518" y="240"/>
                  </a:lnTo>
                  <a:close/>
                </a:path>
              </a:pathLst>
            </a:custGeom>
            <a:grpFill/>
            <a:ln w="25400" cap="flat">
              <a:noFill/>
              <a:prstDash val="solid"/>
              <a:miter lim="400000"/>
            </a:ln>
            <a:effectLst/>
          </p:spPr>
          <p:txBody>
            <a:bodyPr anchor="ctr"/>
            <a:lstStyle/>
            <a:p>
              <a:pPr algn="ctr"/>
              <a:endParaRPr/>
            </a:p>
          </p:txBody>
        </p:sp>
        <p:sp>
          <p:nvSpPr>
            <p:cNvPr id="141" name="íṥ1idé">
              <a:extLst>
                <a:ext uri="{FF2B5EF4-FFF2-40B4-BE49-F238E27FC236}">
                  <a16:creationId xmlns="" xmlns:p14="http://schemas.microsoft.com/office/powerpoint/2010/main" xmlns:a16="http://schemas.microsoft.com/office/drawing/2014/main" id="{7456F6FF-1CFA-4CCB-A6CC-0D5A04D411DD}"/>
                </a:ext>
              </a:extLst>
            </p:cNvPr>
            <p:cNvSpPr/>
            <p:nvPr/>
          </p:nvSpPr>
          <p:spPr>
            <a:xfrm>
              <a:off x="10931870" y="4777460"/>
              <a:ext cx="105002" cy="129954"/>
            </a:xfrm>
            <a:custGeom>
              <a:avLst/>
              <a:gdLst/>
              <a:ahLst/>
              <a:cxnLst>
                <a:cxn ang="0">
                  <a:pos x="wd2" y="hd2"/>
                </a:cxn>
                <a:cxn ang="5400000">
                  <a:pos x="wd2" y="hd2"/>
                </a:cxn>
                <a:cxn ang="10800000">
                  <a:pos x="wd2" y="hd2"/>
                </a:cxn>
                <a:cxn ang="16200000">
                  <a:pos x="wd2" y="hd2"/>
                </a:cxn>
              </a:cxnLst>
              <a:rect l="0" t="0" r="r" b="b"/>
              <a:pathLst>
                <a:path w="21600" h="21600" extrusionOk="0">
                  <a:moveTo>
                    <a:pt x="2266" y="0"/>
                  </a:moveTo>
                  <a:lnTo>
                    <a:pt x="5698" y="3526"/>
                  </a:lnTo>
                  <a:lnTo>
                    <a:pt x="8576" y="7970"/>
                  </a:lnTo>
                  <a:lnTo>
                    <a:pt x="9046" y="10950"/>
                  </a:lnTo>
                  <a:lnTo>
                    <a:pt x="12812" y="12581"/>
                  </a:lnTo>
                  <a:lnTo>
                    <a:pt x="16578" y="14974"/>
                  </a:lnTo>
                  <a:lnTo>
                    <a:pt x="21600" y="18247"/>
                  </a:lnTo>
                  <a:lnTo>
                    <a:pt x="21286" y="21600"/>
                  </a:lnTo>
                  <a:lnTo>
                    <a:pt x="18775" y="21264"/>
                  </a:lnTo>
                  <a:lnTo>
                    <a:pt x="14754" y="16779"/>
                  </a:lnTo>
                  <a:lnTo>
                    <a:pt x="12093" y="15393"/>
                  </a:lnTo>
                  <a:cubicBezTo>
                    <a:pt x="11092" y="15033"/>
                    <a:pt x="10116" y="14628"/>
                    <a:pt x="9170" y="14182"/>
                  </a:cubicBezTo>
                  <a:cubicBezTo>
                    <a:pt x="8123" y="13687"/>
                    <a:pt x="7114" y="13142"/>
                    <a:pt x="6149" y="12550"/>
                  </a:cubicBezTo>
                  <a:lnTo>
                    <a:pt x="5208" y="9024"/>
                  </a:lnTo>
                  <a:lnTo>
                    <a:pt x="3272" y="6968"/>
                  </a:lnTo>
                  <a:lnTo>
                    <a:pt x="467" y="3584"/>
                  </a:lnTo>
                  <a:lnTo>
                    <a:pt x="0" y="1873"/>
                  </a:lnTo>
                  <a:lnTo>
                    <a:pt x="2266" y="0"/>
                  </a:lnTo>
                  <a:close/>
                </a:path>
              </a:pathLst>
            </a:custGeom>
            <a:grpFill/>
            <a:ln w="25400" cap="flat">
              <a:noFill/>
              <a:prstDash val="solid"/>
              <a:miter lim="400000"/>
            </a:ln>
            <a:effectLst/>
          </p:spPr>
          <p:txBody>
            <a:bodyPr anchor="ctr"/>
            <a:lstStyle/>
            <a:p>
              <a:pPr algn="ctr"/>
              <a:endParaRPr/>
            </a:p>
          </p:txBody>
        </p:sp>
        <p:sp>
          <p:nvSpPr>
            <p:cNvPr id="142" name="ïṥľîḍè">
              <a:extLst>
                <a:ext uri="{FF2B5EF4-FFF2-40B4-BE49-F238E27FC236}">
                  <a16:creationId xmlns="" xmlns:p14="http://schemas.microsoft.com/office/powerpoint/2010/main" xmlns:a16="http://schemas.microsoft.com/office/drawing/2014/main" id="{6A90D5CE-43A0-4137-A3E0-D1925258027D}"/>
                </a:ext>
              </a:extLst>
            </p:cNvPr>
            <p:cNvSpPr/>
            <p:nvPr/>
          </p:nvSpPr>
          <p:spPr>
            <a:xfrm>
              <a:off x="11078753" y="4636331"/>
              <a:ext cx="37595" cy="63302"/>
            </a:xfrm>
            <a:custGeom>
              <a:avLst/>
              <a:gdLst/>
              <a:ahLst/>
              <a:cxnLst>
                <a:cxn ang="0">
                  <a:pos x="wd2" y="hd2"/>
                </a:cxn>
                <a:cxn ang="5400000">
                  <a:pos x="wd2" y="hd2"/>
                </a:cxn>
                <a:cxn ang="10800000">
                  <a:pos x="wd2" y="hd2"/>
                </a:cxn>
                <a:cxn ang="16200000">
                  <a:pos x="wd2" y="hd2"/>
                </a:cxn>
              </a:cxnLst>
              <a:rect l="0" t="0" r="r" b="b"/>
              <a:pathLst>
                <a:path w="21600" h="21600" extrusionOk="0">
                  <a:moveTo>
                    <a:pt x="4384" y="0"/>
                  </a:moveTo>
                  <a:lnTo>
                    <a:pt x="0" y="6366"/>
                  </a:lnTo>
                  <a:lnTo>
                    <a:pt x="4998" y="11561"/>
                  </a:lnTo>
                  <a:lnTo>
                    <a:pt x="9054" y="12853"/>
                  </a:lnTo>
                  <a:lnTo>
                    <a:pt x="11974" y="16462"/>
                  </a:lnTo>
                  <a:lnTo>
                    <a:pt x="18532" y="21600"/>
                  </a:lnTo>
                  <a:lnTo>
                    <a:pt x="21600" y="18003"/>
                  </a:lnTo>
                  <a:lnTo>
                    <a:pt x="19408" y="13360"/>
                  </a:lnTo>
                  <a:lnTo>
                    <a:pt x="14184" y="10517"/>
                  </a:lnTo>
                  <a:lnTo>
                    <a:pt x="9965" y="6822"/>
                  </a:lnTo>
                  <a:lnTo>
                    <a:pt x="9528" y="3503"/>
                  </a:lnTo>
                  <a:lnTo>
                    <a:pt x="4384" y="0"/>
                  </a:lnTo>
                  <a:close/>
                </a:path>
              </a:pathLst>
            </a:custGeom>
            <a:grpFill/>
            <a:ln w="25400" cap="flat">
              <a:noFill/>
              <a:prstDash val="solid"/>
              <a:miter lim="400000"/>
            </a:ln>
            <a:effectLst/>
          </p:spPr>
          <p:txBody>
            <a:bodyPr anchor="ctr"/>
            <a:lstStyle/>
            <a:p>
              <a:pPr algn="ctr"/>
              <a:endParaRPr/>
            </a:p>
          </p:txBody>
        </p:sp>
        <p:sp>
          <p:nvSpPr>
            <p:cNvPr id="143" name="îSḻîďé">
              <a:extLst>
                <a:ext uri="{FF2B5EF4-FFF2-40B4-BE49-F238E27FC236}">
                  <a16:creationId xmlns="" xmlns:p14="http://schemas.microsoft.com/office/powerpoint/2010/main" xmlns:a16="http://schemas.microsoft.com/office/drawing/2014/main" id="{A146FAE0-99D6-420D-941B-2C89104E1CBF}"/>
                </a:ext>
              </a:extLst>
            </p:cNvPr>
            <p:cNvSpPr/>
            <p:nvPr/>
          </p:nvSpPr>
          <p:spPr>
            <a:xfrm>
              <a:off x="10694096" y="4283499"/>
              <a:ext cx="45740" cy="64407"/>
            </a:xfrm>
            <a:custGeom>
              <a:avLst/>
              <a:gdLst/>
              <a:ahLst/>
              <a:cxnLst>
                <a:cxn ang="0">
                  <a:pos x="wd2" y="hd2"/>
                </a:cxn>
                <a:cxn ang="5400000">
                  <a:pos x="wd2" y="hd2"/>
                </a:cxn>
                <a:cxn ang="10800000">
                  <a:pos x="wd2" y="hd2"/>
                </a:cxn>
                <a:cxn ang="16200000">
                  <a:pos x="wd2" y="hd2"/>
                </a:cxn>
              </a:cxnLst>
              <a:rect l="0" t="0" r="r" b="b"/>
              <a:pathLst>
                <a:path w="21600" h="21600" extrusionOk="0">
                  <a:moveTo>
                    <a:pt x="4335" y="0"/>
                  </a:moveTo>
                  <a:lnTo>
                    <a:pt x="8612" y="423"/>
                  </a:lnTo>
                  <a:lnTo>
                    <a:pt x="9548" y="10168"/>
                  </a:lnTo>
                  <a:lnTo>
                    <a:pt x="15069" y="14477"/>
                  </a:lnTo>
                  <a:lnTo>
                    <a:pt x="21600" y="16858"/>
                  </a:lnTo>
                  <a:lnTo>
                    <a:pt x="19199" y="21600"/>
                  </a:lnTo>
                  <a:lnTo>
                    <a:pt x="11398" y="20763"/>
                  </a:lnTo>
                  <a:lnTo>
                    <a:pt x="5755" y="17207"/>
                  </a:lnTo>
                  <a:lnTo>
                    <a:pt x="9" y="12157"/>
                  </a:lnTo>
                  <a:lnTo>
                    <a:pt x="0" y="6578"/>
                  </a:lnTo>
                  <a:lnTo>
                    <a:pt x="4335" y="0"/>
                  </a:lnTo>
                  <a:close/>
                </a:path>
              </a:pathLst>
            </a:custGeom>
            <a:grpFill/>
            <a:ln w="25400" cap="flat">
              <a:noFill/>
              <a:prstDash val="solid"/>
              <a:miter lim="400000"/>
            </a:ln>
            <a:effectLst/>
          </p:spPr>
          <p:txBody>
            <a:bodyPr anchor="ctr"/>
            <a:lstStyle/>
            <a:p>
              <a:pPr algn="ctr"/>
              <a:endParaRPr/>
            </a:p>
          </p:txBody>
        </p:sp>
        <p:sp>
          <p:nvSpPr>
            <p:cNvPr id="144" name="ïSļiďè">
              <a:extLst>
                <a:ext uri="{FF2B5EF4-FFF2-40B4-BE49-F238E27FC236}">
                  <a16:creationId xmlns="" xmlns:p14="http://schemas.microsoft.com/office/powerpoint/2010/main" xmlns:a16="http://schemas.microsoft.com/office/drawing/2014/main" id="{E4793A90-FB0E-402B-A725-3FBDD5508922}"/>
                </a:ext>
              </a:extLst>
            </p:cNvPr>
            <p:cNvSpPr/>
            <p:nvPr/>
          </p:nvSpPr>
          <p:spPr>
            <a:xfrm>
              <a:off x="10754669" y="4332994"/>
              <a:ext cx="45601" cy="39490"/>
            </a:xfrm>
            <a:custGeom>
              <a:avLst/>
              <a:gdLst/>
              <a:ahLst/>
              <a:cxnLst>
                <a:cxn ang="0">
                  <a:pos x="wd2" y="hd2"/>
                </a:cxn>
                <a:cxn ang="5400000">
                  <a:pos x="wd2" y="hd2"/>
                </a:cxn>
                <a:cxn ang="10800000">
                  <a:pos x="wd2" y="hd2"/>
                </a:cxn>
                <a:cxn ang="16200000">
                  <a:pos x="wd2" y="hd2"/>
                </a:cxn>
              </a:cxnLst>
              <a:rect l="0" t="0" r="r" b="b"/>
              <a:pathLst>
                <a:path w="21600" h="21600" extrusionOk="0">
                  <a:moveTo>
                    <a:pt x="7085" y="0"/>
                  </a:moveTo>
                  <a:lnTo>
                    <a:pt x="17293" y="9046"/>
                  </a:lnTo>
                  <a:lnTo>
                    <a:pt x="21600" y="14848"/>
                  </a:lnTo>
                  <a:lnTo>
                    <a:pt x="21013" y="21600"/>
                  </a:lnTo>
                  <a:lnTo>
                    <a:pt x="12837" y="18854"/>
                  </a:lnTo>
                  <a:lnTo>
                    <a:pt x="5986" y="12225"/>
                  </a:lnTo>
                  <a:lnTo>
                    <a:pt x="0" y="7390"/>
                  </a:lnTo>
                  <a:lnTo>
                    <a:pt x="7085" y="0"/>
                  </a:lnTo>
                  <a:close/>
                </a:path>
              </a:pathLst>
            </a:custGeom>
            <a:grpFill/>
            <a:ln w="25400" cap="flat">
              <a:noFill/>
              <a:prstDash val="solid"/>
              <a:miter lim="400000"/>
            </a:ln>
            <a:effectLst/>
          </p:spPr>
          <p:txBody>
            <a:bodyPr anchor="ctr"/>
            <a:lstStyle/>
            <a:p>
              <a:pPr algn="ctr"/>
              <a:endParaRPr/>
            </a:p>
          </p:txBody>
        </p:sp>
        <p:sp>
          <p:nvSpPr>
            <p:cNvPr id="145" name="iš1íḑê">
              <a:extLst>
                <a:ext uri="{FF2B5EF4-FFF2-40B4-BE49-F238E27FC236}">
                  <a16:creationId xmlns="" xmlns:p14="http://schemas.microsoft.com/office/powerpoint/2010/main" xmlns:a16="http://schemas.microsoft.com/office/drawing/2014/main" id="{A775251A-34CE-45DA-8D3F-AE45259AC490}"/>
                </a:ext>
              </a:extLst>
            </p:cNvPr>
            <p:cNvSpPr/>
            <p:nvPr/>
          </p:nvSpPr>
          <p:spPr>
            <a:xfrm>
              <a:off x="10773772" y="4386273"/>
              <a:ext cx="37288" cy="38949"/>
            </a:xfrm>
            <a:custGeom>
              <a:avLst/>
              <a:gdLst/>
              <a:ahLst/>
              <a:cxnLst>
                <a:cxn ang="0">
                  <a:pos x="wd2" y="hd2"/>
                </a:cxn>
                <a:cxn ang="5400000">
                  <a:pos x="wd2" y="hd2"/>
                </a:cxn>
                <a:cxn ang="10800000">
                  <a:pos x="wd2" y="hd2"/>
                </a:cxn>
                <a:cxn ang="16200000">
                  <a:pos x="wd2" y="hd2"/>
                </a:cxn>
              </a:cxnLst>
              <a:rect l="0" t="0" r="r" b="b"/>
              <a:pathLst>
                <a:path w="21600" h="21600" extrusionOk="0">
                  <a:moveTo>
                    <a:pt x="6399" y="0"/>
                  </a:moveTo>
                  <a:lnTo>
                    <a:pt x="12290" y="1855"/>
                  </a:lnTo>
                  <a:lnTo>
                    <a:pt x="12799" y="9871"/>
                  </a:lnTo>
                  <a:lnTo>
                    <a:pt x="15725" y="15036"/>
                  </a:lnTo>
                  <a:lnTo>
                    <a:pt x="21600" y="16577"/>
                  </a:lnTo>
                  <a:lnTo>
                    <a:pt x="18230" y="21600"/>
                  </a:lnTo>
                  <a:lnTo>
                    <a:pt x="12781" y="19919"/>
                  </a:lnTo>
                  <a:cubicBezTo>
                    <a:pt x="10763" y="19240"/>
                    <a:pt x="9023" y="17972"/>
                    <a:pt x="7808" y="16297"/>
                  </a:cubicBezTo>
                  <a:cubicBezTo>
                    <a:pt x="6475" y="14458"/>
                    <a:pt x="5850" y="12237"/>
                    <a:pt x="6040" y="10011"/>
                  </a:cubicBezTo>
                  <a:lnTo>
                    <a:pt x="0" y="5671"/>
                  </a:lnTo>
                  <a:lnTo>
                    <a:pt x="6399" y="0"/>
                  </a:lnTo>
                  <a:close/>
                </a:path>
              </a:pathLst>
            </a:custGeom>
            <a:grpFill/>
            <a:ln w="25400" cap="flat">
              <a:noFill/>
              <a:prstDash val="solid"/>
              <a:miter lim="400000"/>
            </a:ln>
            <a:effectLst/>
          </p:spPr>
          <p:txBody>
            <a:bodyPr anchor="ctr"/>
            <a:lstStyle/>
            <a:p>
              <a:pPr algn="ctr"/>
              <a:endParaRPr/>
            </a:p>
          </p:txBody>
        </p:sp>
        <p:sp>
          <p:nvSpPr>
            <p:cNvPr id="146" name="iṧḷîḑè">
              <a:extLst>
                <a:ext uri="{FF2B5EF4-FFF2-40B4-BE49-F238E27FC236}">
                  <a16:creationId xmlns="" xmlns:p14="http://schemas.microsoft.com/office/powerpoint/2010/main" xmlns:a16="http://schemas.microsoft.com/office/drawing/2014/main" id="{94C751BC-967B-407F-98B1-7E0AB45C951F}"/>
                </a:ext>
              </a:extLst>
            </p:cNvPr>
            <p:cNvSpPr/>
            <p:nvPr/>
          </p:nvSpPr>
          <p:spPr>
            <a:xfrm>
              <a:off x="10819989" y="4368723"/>
              <a:ext cx="46739" cy="42114"/>
            </a:xfrm>
            <a:custGeom>
              <a:avLst/>
              <a:gdLst/>
              <a:ahLst/>
              <a:cxnLst>
                <a:cxn ang="0">
                  <a:pos x="wd2" y="hd2"/>
                </a:cxn>
                <a:cxn ang="5400000">
                  <a:pos x="wd2" y="hd2"/>
                </a:cxn>
                <a:cxn ang="10800000">
                  <a:pos x="wd2" y="hd2"/>
                </a:cxn>
                <a:cxn ang="16200000">
                  <a:pos x="wd2" y="hd2"/>
                </a:cxn>
              </a:cxnLst>
              <a:rect l="0" t="0" r="r" b="b"/>
              <a:pathLst>
                <a:path w="21600" h="21600" extrusionOk="0">
                  <a:moveTo>
                    <a:pt x="4105" y="0"/>
                  </a:moveTo>
                  <a:lnTo>
                    <a:pt x="8950" y="5326"/>
                  </a:lnTo>
                  <a:lnTo>
                    <a:pt x="16429" y="10105"/>
                  </a:lnTo>
                  <a:lnTo>
                    <a:pt x="21247" y="15787"/>
                  </a:lnTo>
                  <a:lnTo>
                    <a:pt x="21600" y="21227"/>
                  </a:lnTo>
                  <a:lnTo>
                    <a:pt x="14814" y="21600"/>
                  </a:lnTo>
                  <a:lnTo>
                    <a:pt x="10715" y="19268"/>
                  </a:lnTo>
                  <a:lnTo>
                    <a:pt x="6249" y="13959"/>
                  </a:lnTo>
                  <a:lnTo>
                    <a:pt x="3576" y="9700"/>
                  </a:lnTo>
                  <a:lnTo>
                    <a:pt x="25" y="6121"/>
                  </a:lnTo>
                  <a:lnTo>
                    <a:pt x="0" y="1589"/>
                  </a:lnTo>
                  <a:lnTo>
                    <a:pt x="4105" y="0"/>
                  </a:lnTo>
                  <a:close/>
                </a:path>
              </a:pathLst>
            </a:custGeom>
            <a:grpFill/>
            <a:ln w="25400" cap="flat">
              <a:noFill/>
              <a:prstDash val="solid"/>
              <a:miter lim="400000"/>
            </a:ln>
            <a:effectLst/>
          </p:spPr>
          <p:txBody>
            <a:bodyPr anchor="ctr"/>
            <a:lstStyle/>
            <a:p>
              <a:pPr algn="ctr"/>
              <a:endParaRPr/>
            </a:p>
          </p:txBody>
        </p:sp>
        <p:sp>
          <p:nvSpPr>
            <p:cNvPr id="147" name="ïšlíďe">
              <a:extLst>
                <a:ext uri="{FF2B5EF4-FFF2-40B4-BE49-F238E27FC236}">
                  <a16:creationId xmlns="" xmlns:p14="http://schemas.microsoft.com/office/powerpoint/2010/main" xmlns:a16="http://schemas.microsoft.com/office/drawing/2014/main" id="{03DC2FA9-FAC3-445C-900F-8F9E9CFBD737}"/>
                </a:ext>
              </a:extLst>
            </p:cNvPr>
            <p:cNvSpPr/>
            <p:nvPr/>
          </p:nvSpPr>
          <p:spPr>
            <a:xfrm>
              <a:off x="10844148" y="4433313"/>
              <a:ext cx="37473" cy="23925"/>
            </a:xfrm>
            <a:custGeom>
              <a:avLst/>
              <a:gdLst/>
              <a:ahLst/>
              <a:cxnLst>
                <a:cxn ang="0">
                  <a:pos x="wd2" y="hd2"/>
                </a:cxn>
                <a:cxn ang="5400000">
                  <a:pos x="wd2" y="hd2"/>
                </a:cxn>
                <a:cxn ang="10800000">
                  <a:pos x="wd2" y="hd2"/>
                </a:cxn>
                <a:cxn ang="16200000">
                  <a:pos x="wd2" y="hd2"/>
                </a:cxn>
              </a:cxnLst>
              <a:rect l="0" t="0" r="r" b="b"/>
              <a:pathLst>
                <a:path w="21600" h="21600" extrusionOk="0">
                  <a:moveTo>
                    <a:pt x="8649" y="530"/>
                  </a:moveTo>
                  <a:lnTo>
                    <a:pt x="13099" y="8995"/>
                  </a:lnTo>
                  <a:lnTo>
                    <a:pt x="21600" y="8519"/>
                  </a:lnTo>
                  <a:lnTo>
                    <a:pt x="21600" y="17555"/>
                  </a:lnTo>
                  <a:lnTo>
                    <a:pt x="15901" y="21600"/>
                  </a:lnTo>
                  <a:lnTo>
                    <a:pt x="8481" y="18211"/>
                  </a:lnTo>
                  <a:lnTo>
                    <a:pt x="1799" y="7978"/>
                  </a:lnTo>
                  <a:lnTo>
                    <a:pt x="0" y="0"/>
                  </a:lnTo>
                  <a:lnTo>
                    <a:pt x="8649" y="530"/>
                  </a:lnTo>
                  <a:close/>
                </a:path>
              </a:pathLst>
            </a:custGeom>
            <a:grpFill/>
            <a:ln w="25400" cap="flat">
              <a:noFill/>
              <a:prstDash val="solid"/>
              <a:miter lim="400000"/>
            </a:ln>
            <a:effectLst/>
          </p:spPr>
          <p:txBody>
            <a:bodyPr anchor="ctr"/>
            <a:lstStyle/>
            <a:p>
              <a:pPr algn="ctr"/>
              <a:endParaRPr/>
            </a:p>
          </p:txBody>
        </p:sp>
        <p:sp>
          <p:nvSpPr>
            <p:cNvPr id="148" name="ïŝľíḑè">
              <a:extLst>
                <a:ext uri="{FF2B5EF4-FFF2-40B4-BE49-F238E27FC236}">
                  <a16:creationId xmlns="" xmlns:p14="http://schemas.microsoft.com/office/powerpoint/2010/main" xmlns:a16="http://schemas.microsoft.com/office/drawing/2014/main" id="{4B3AF95C-CF50-44F1-8C6E-F3CA1118D85F}"/>
                </a:ext>
              </a:extLst>
            </p:cNvPr>
            <p:cNvSpPr/>
            <p:nvPr/>
          </p:nvSpPr>
          <p:spPr>
            <a:xfrm>
              <a:off x="10888902" y="4398838"/>
              <a:ext cx="27449" cy="54123"/>
            </a:xfrm>
            <a:custGeom>
              <a:avLst/>
              <a:gdLst/>
              <a:ahLst/>
              <a:cxnLst>
                <a:cxn ang="0">
                  <a:pos x="wd2" y="hd2"/>
                </a:cxn>
                <a:cxn ang="5400000">
                  <a:pos x="wd2" y="hd2"/>
                </a:cxn>
                <a:cxn ang="10800000">
                  <a:pos x="wd2" y="hd2"/>
                </a:cxn>
                <a:cxn ang="16200000">
                  <a:pos x="wd2" y="hd2"/>
                </a:cxn>
              </a:cxnLst>
              <a:rect l="0" t="0" r="r" b="b"/>
              <a:pathLst>
                <a:path w="21600" h="21600" extrusionOk="0">
                  <a:moveTo>
                    <a:pt x="4203" y="0"/>
                  </a:moveTo>
                  <a:lnTo>
                    <a:pt x="0" y="4749"/>
                  </a:lnTo>
                  <a:lnTo>
                    <a:pt x="263" y="12857"/>
                  </a:lnTo>
                  <a:lnTo>
                    <a:pt x="8018" y="13953"/>
                  </a:lnTo>
                  <a:lnTo>
                    <a:pt x="8018" y="17984"/>
                  </a:lnTo>
                  <a:lnTo>
                    <a:pt x="13422" y="21600"/>
                  </a:lnTo>
                  <a:lnTo>
                    <a:pt x="21600" y="17064"/>
                  </a:lnTo>
                  <a:lnTo>
                    <a:pt x="14422" y="12038"/>
                  </a:lnTo>
                  <a:lnTo>
                    <a:pt x="7443" y="8221"/>
                  </a:lnTo>
                  <a:lnTo>
                    <a:pt x="4203" y="0"/>
                  </a:lnTo>
                  <a:close/>
                </a:path>
              </a:pathLst>
            </a:custGeom>
            <a:grpFill/>
            <a:ln w="25400" cap="flat">
              <a:noFill/>
              <a:prstDash val="solid"/>
              <a:miter lim="400000"/>
            </a:ln>
            <a:effectLst/>
          </p:spPr>
          <p:txBody>
            <a:bodyPr anchor="ctr"/>
            <a:lstStyle/>
            <a:p>
              <a:pPr algn="ctr"/>
              <a:endParaRPr/>
            </a:p>
          </p:txBody>
        </p:sp>
        <p:sp>
          <p:nvSpPr>
            <p:cNvPr id="149" name="íSḷídé">
              <a:extLst>
                <a:ext uri="{FF2B5EF4-FFF2-40B4-BE49-F238E27FC236}">
                  <a16:creationId xmlns="" xmlns:p14="http://schemas.microsoft.com/office/powerpoint/2010/main" xmlns:a16="http://schemas.microsoft.com/office/drawing/2014/main" id="{FDB65167-5853-43DB-90A5-8BC17BD0D0CE}"/>
                </a:ext>
              </a:extLst>
            </p:cNvPr>
            <p:cNvSpPr/>
            <p:nvPr/>
          </p:nvSpPr>
          <p:spPr>
            <a:xfrm>
              <a:off x="10903842" y="4471308"/>
              <a:ext cx="24415" cy="2107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703" y="9868"/>
                  </a:lnTo>
                  <a:lnTo>
                    <a:pt x="12853" y="21600"/>
                  </a:lnTo>
                  <a:lnTo>
                    <a:pt x="21600" y="16680"/>
                  </a:lnTo>
                  <a:lnTo>
                    <a:pt x="12403" y="144"/>
                  </a:lnTo>
                  <a:lnTo>
                    <a:pt x="0" y="0"/>
                  </a:lnTo>
                  <a:close/>
                </a:path>
              </a:pathLst>
            </a:custGeom>
            <a:grpFill/>
            <a:ln w="25400" cap="flat">
              <a:noFill/>
              <a:prstDash val="solid"/>
              <a:miter lim="400000"/>
            </a:ln>
            <a:effectLst/>
          </p:spPr>
          <p:txBody>
            <a:bodyPr anchor="ctr"/>
            <a:lstStyle/>
            <a:p>
              <a:pPr algn="ctr"/>
              <a:endParaRPr/>
            </a:p>
          </p:txBody>
        </p:sp>
        <p:sp>
          <p:nvSpPr>
            <p:cNvPr id="150" name="iśļîde">
              <a:extLst>
                <a:ext uri="{FF2B5EF4-FFF2-40B4-BE49-F238E27FC236}">
                  <a16:creationId xmlns="" xmlns:p14="http://schemas.microsoft.com/office/powerpoint/2010/main" xmlns:a16="http://schemas.microsoft.com/office/drawing/2014/main" id="{62DC7EF6-603F-497A-87B5-D678828295EE}"/>
                </a:ext>
              </a:extLst>
            </p:cNvPr>
            <p:cNvSpPr/>
            <p:nvPr/>
          </p:nvSpPr>
          <p:spPr>
            <a:xfrm>
              <a:off x="10588123" y="4181404"/>
              <a:ext cx="87031" cy="76197"/>
            </a:xfrm>
            <a:custGeom>
              <a:avLst/>
              <a:gdLst/>
              <a:ahLst/>
              <a:cxnLst>
                <a:cxn ang="0">
                  <a:pos x="wd2" y="hd2"/>
                </a:cxn>
                <a:cxn ang="5400000">
                  <a:pos x="wd2" y="hd2"/>
                </a:cxn>
                <a:cxn ang="10800000">
                  <a:pos x="wd2" y="hd2"/>
                </a:cxn>
                <a:cxn ang="16200000">
                  <a:pos x="wd2" y="hd2"/>
                </a:cxn>
              </a:cxnLst>
              <a:rect l="0" t="0" r="r" b="b"/>
              <a:pathLst>
                <a:path w="21600" h="21600" extrusionOk="0">
                  <a:moveTo>
                    <a:pt x="560" y="0"/>
                  </a:moveTo>
                  <a:lnTo>
                    <a:pt x="0" y="2479"/>
                  </a:lnTo>
                  <a:lnTo>
                    <a:pt x="4688" y="4518"/>
                  </a:lnTo>
                  <a:lnTo>
                    <a:pt x="9042" y="7739"/>
                  </a:lnTo>
                  <a:lnTo>
                    <a:pt x="12639" y="11175"/>
                  </a:lnTo>
                  <a:lnTo>
                    <a:pt x="16173" y="15327"/>
                  </a:lnTo>
                  <a:lnTo>
                    <a:pt x="17687" y="21385"/>
                  </a:lnTo>
                  <a:lnTo>
                    <a:pt x="21600" y="21600"/>
                  </a:lnTo>
                  <a:lnTo>
                    <a:pt x="19336" y="12589"/>
                  </a:lnTo>
                  <a:lnTo>
                    <a:pt x="12733" y="8079"/>
                  </a:lnTo>
                  <a:lnTo>
                    <a:pt x="7069" y="2791"/>
                  </a:lnTo>
                  <a:lnTo>
                    <a:pt x="3732" y="804"/>
                  </a:lnTo>
                  <a:lnTo>
                    <a:pt x="560" y="0"/>
                  </a:lnTo>
                  <a:close/>
                </a:path>
              </a:pathLst>
            </a:custGeom>
            <a:grpFill/>
            <a:ln w="25400" cap="flat">
              <a:noFill/>
              <a:prstDash val="solid"/>
              <a:miter lim="400000"/>
            </a:ln>
            <a:effectLst/>
          </p:spPr>
          <p:txBody>
            <a:bodyPr anchor="ctr"/>
            <a:lstStyle/>
            <a:p>
              <a:pPr algn="ctr"/>
              <a:endParaRPr/>
            </a:p>
          </p:txBody>
        </p:sp>
        <p:sp>
          <p:nvSpPr>
            <p:cNvPr id="151" name="íṣḻíḍé">
              <a:extLst>
                <a:ext uri="{FF2B5EF4-FFF2-40B4-BE49-F238E27FC236}">
                  <a16:creationId xmlns="" xmlns:p14="http://schemas.microsoft.com/office/powerpoint/2010/main" xmlns:a16="http://schemas.microsoft.com/office/drawing/2014/main" id="{2FF5B9C4-BB26-40CE-A0FE-C7B483A6BAA1}"/>
                </a:ext>
              </a:extLst>
            </p:cNvPr>
            <p:cNvSpPr/>
            <p:nvPr/>
          </p:nvSpPr>
          <p:spPr>
            <a:xfrm>
              <a:off x="10528896" y="4237475"/>
              <a:ext cx="115414" cy="92661"/>
            </a:xfrm>
            <a:custGeom>
              <a:avLst/>
              <a:gdLst/>
              <a:ahLst/>
              <a:cxnLst>
                <a:cxn ang="0">
                  <a:pos x="wd2" y="hd2"/>
                </a:cxn>
                <a:cxn ang="5400000">
                  <a:pos x="wd2" y="hd2"/>
                </a:cxn>
                <a:cxn ang="10800000">
                  <a:pos x="wd2" y="hd2"/>
                </a:cxn>
                <a:cxn ang="16200000">
                  <a:pos x="wd2" y="hd2"/>
                </a:cxn>
              </a:cxnLst>
              <a:rect l="0" t="0" r="r" b="b"/>
              <a:pathLst>
                <a:path w="21600" h="21600" extrusionOk="0">
                  <a:moveTo>
                    <a:pt x="18234" y="5118"/>
                  </a:moveTo>
                  <a:lnTo>
                    <a:pt x="15276" y="8929"/>
                  </a:lnTo>
                  <a:lnTo>
                    <a:pt x="12042" y="12689"/>
                  </a:lnTo>
                  <a:lnTo>
                    <a:pt x="9529" y="13918"/>
                  </a:lnTo>
                  <a:lnTo>
                    <a:pt x="6129" y="13388"/>
                  </a:lnTo>
                  <a:lnTo>
                    <a:pt x="4458" y="14970"/>
                  </a:lnTo>
                  <a:lnTo>
                    <a:pt x="2410" y="14970"/>
                  </a:lnTo>
                  <a:lnTo>
                    <a:pt x="0" y="15500"/>
                  </a:lnTo>
                  <a:lnTo>
                    <a:pt x="1862" y="17604"/>
                  </a:lnTo>
                  <a:lnTo>
                    <a:pt x="4420" y="17781"/>
                  </a:lnTo>
                  <a:lnTo>
                    <a:pt x="6466" y="21431"/>
                  </a:lnTo>
                  <a:lnTo>
                    <a:pt x="8263" y="21600"/>
                  </a:lnTo>
                  <a:lnTo>
                    <a:pt x="9828" y="19488"/>
                  </a:lnTo>
                  <a:lnTo>
                    <a:pt x="11671" y="17906"/>
                  </a:lnTo>
                  <a:lnTo>
                    <a:pt x="15657" y="16508"/>
                  </a:lnTo>
                  <a:lnTo>
                    <a:pt x="18364" y="13167"/>
                  </a:lnTo>
                  <a:lnTo>
                    <a:pt x="19934" y="9988"/>
                  </a:lnTo>
                  <a:lnTo>
                    <a:pt x="21457" y="7288"/>
                  </a:lnTo>
                  <a:lnTo>
                    <a:pt x="21600" y="3285"/>
                  </a:lnTo>
                  <a:lnTo>
                    <a:pt x="19702" y="0"/>
                  </a:lnTo>
                  <a:lnTo>
                    <a:pt x="19131" y="2158"/>
                  </a:lnTo>
                  <a:lnTo>
                    <a:pt x="18234" y="5118"/>
                  </a:lnTo>
                  <a:close/>
                </a:path>
              </a:pathLst>
            </a:custGeom>
            <a:grpFill/>
            <a:ln w="25400" cap="flat">
              <a:noFill/>
              <a:prstDash val="solid"/>
              <a:miter lim="400000"/>
            </a:ln>
            <a:effectLst/>
          </p:spPr>
          <p:txBody>
            <a:bodyPr anchor="ctr"/>
            <a:lstStyle/>
            <a:p>
              <a:pPr algn="ctr"/>
              <a:endParaRPr/>
            </a:p>
          </p:txBody>
        </p:sp>
        <p:sp>
          <p:nvSpPr>
            <p:cNvPr id="152" name="îsľîḓe">
              <a:extLst>
                <a:ext uri="{FF2B5EF4-FFF2-40B4-BE49-F238E27FC236}">
                  <a16:creationId xmlns="" xmlns:p14="http://schemas.microsoft.com/office/powerpoint/2010/main" xmlns:a16="http://schemas.microsoft.com/office/drawing/2014/main" id="{D3904183-A97B-4C24-895E-1B94A4E6846D}"/>
                </a:ext>
              </a:extLst>
            </p:cNvPr>
            <p:cNvSpPr/>
            <p:nvPr/>
          </p:nvSpPr>
          <p:spPr>
            <a:xfrm>
              <a:off x="9937920" y="4105530"/>
              <a:ext cx="657773" cy="388722"/>
            </a:xfrm>
            <a:custGeom>
              <a:avLst/>
              <a:gdLst/>
              <a:ahLst/>
              <a:cxnLst>
                <a:cxn ang="0">
                  <a:pos x="wd2" y="hd2"/>
                </a:cxn>
                <a:cxn ang="5400000">
                  <a:pos x="wd2" y="hd2"/>
                </a:cxn>
                <a:cxn ang="10800000">
                  <a:pos x="wd2" y="hd2"/>
                </a:cxn>
                <a:cxn ang="16200000">
                  <a:pos x="wd2" y="hd2"/>
                </a:cxn>
              </a:cxnLst>
              <a:rect l="0" t="0" r="r" b="b"/>
              <a:pathLst>
                <a:path w="21600" h="21600" extrusionOk="0">
                  <a:moveTo>
                    <a:pt x="339" y="1069"/>
                  </a:moveTo>
                  <a:lnTo>
                    <a:pt x="1040" y="903"/>
                  </a:lnTo>
                  <a:lnTo>
                    <a:pt x="1266" y="12"/>
                  </a:lnTo>
                  <a:lnTo>
                    <a:pt x="2016" y="0"/>
                  </a:lnTo>
                  <a:lnTo>
                    <a:pt x="2684" y="12"/>
                  </a:lnTo>
                  <a:lnTo>
                    <a:pt x="2808" y="1131"/>
                  </a:lnTo>
                  <a:lnTo>
                    <a:pt x="3150" y="1972"/>
                  </a:lnTo>
                  <a:lnTo>
                    <a:pt x="3342" y="2473"/>
                  </a:lnTo>
                  <a:lnTo>
                    <a:pt x="3192" y="3510"/>
                  </a:lnTo>
                  <a:lnTo>
                    <a:pt x="3218" y="4141"/>
                  </a:lnTo>
                  <a:lnTo>
                    <a:pt x="3692" y="4939"/>
                  </a:lnTo>
                  <a:lnTo>
                    <a:pt x="4067" y="5627"/>
                  </a:lnTo>
                  <a:lnTo>
                    <a:pt x="4526" y="6342"/>
                  </a:lnTo>
                  <a:cubicBezTo>
                    <a:pt x="4633" y="6179"/>
                    <a:pt x="4728" y="5996"/>
                    <a:pt x="4809" y="5795"/>
                  </a:cubicBezTo>
                  <a:cubicBezTo>
                    <a:pt x="4941" y="5469"/>
                    <a:pt x="5034" y="5102"/>
                    <a:pt x="5083" y="4716"/>
                  </a:cubicBezTo>
                  <a:lnTo>
                    <a:pt x="5451" y="4478"/>
                  </a:lnTo>
                  <a:lnTo>
                    <a:pt x="6119" y="3931"/>
                  </a:lnTo>
                  <a:lnTo>
                    <a:pt x="6668" y="3385"/>
                  </a:lnTo>
                  <a:lnTo>
                    <a:pt x="7068" y="2838"/>
                  </a:lnTo>
                  <a:lnTo>
                    <a:pt x="7444" y="2122"/>
                  </a:lnTo>
                  <a:lnTo>
                    <a:pt x="8137" y="2122"/>
                  </a:lnTo>
                  <a:cubicBezTo>
                    <a:pt x="8213" y="2262"/>
                    <a:pt x="8288" y="2402"/>
                    <a:pt x="8362" y="2543"/>
                  </a:cubicBezTo>
                  <a:cubicBezTo>
                    <a:pt x="8481" y="2766"/>
                    <a:pt x="8597" y="2991"/>
                    <a:pt x="8713" y="3217"/>
                  </a:cubicBezTo>
                  <a:lnTo>
                    <a:pt x="9356" y="3708"/>
                  </a:lnTo>
                  <a:lnTo>
                    <a:pt x="10017" y="3953"/>
                  </a:lnTo>
                  <a:lnTo>
                    <a:pt x="10667" y="4583"/>
                  </a:lnTo>
                  <a:lnTo>
                    <a:pt x="11719" y="5004"/>
                  </a:lnTo>
                  <a:lnTo>
                    <a:pt x="12420" y="5579"/>
                  </a:lnTo>
                  <a:lnTo>
                    <a:pt x="13814" y="6239"/>
                  </a:lnTo>
                  <a:lnTo>
                    <a:pt x="14716" y="7388"/>
                  </a:lnTo>
                  <a:lnTo>
                    <a:pt x="15776" y="8749"/>
                  </a:lnTo>
                  <a:lnTo>
                    <a:pt x="16728" y="9464"/>
                  </a:lnTo>
                  <a:lnTo>
                    <a:pt x="17354" y="9911"/>
                  </a:lnTo>
                  <a:lnTo>
                    <a:pt x="17855" y="11325"/>
                  </a:lnTo>
                  <a:lnTo>
                    <a:pt x="18106" y="12349"/>
                  </a:lnTo>
                  <a:lnTo>
                    <a:pt x="17539" y="12799"/>
                  </a:lnTo>
                  <a:lnTo>
                    <a:pt x="17349" y="13484"/>
                  </a:lnTo>
                  <a:lnTo>
                    <a:pt x="17608" y="14382"/>
                  </a:lnTo>
                  <a:lnTo>
                    <a:pt x="18326" y="15070"/>
                  </a:lnTo>
                  <a:lnTo>
                    <a:pt x="18350" y="15982"/>
                  </a:lnTo>
                  <a:lnTo>
                    <a:pt x="18350" y="16933"/>
                  </a:lnTo>
                  <a:lnTo>
                    <a:pt x="18733" y="17701"/>
                  </a:lnTo>
                  <a:lnTo>
                    <a:pt x="19484" y="18246"/>
                  </a:lnTo>
                  <a:lnTo>
                    <a:pt x="20127" y="18373"/>
                  </a:lnTo>
                  <a:lnTo>
                    <a:pt x="20650" y="19209"/>
                  </a:lnTo>
                  <a:lnTo>
                    <a:pt x="21276" y="20051"/>
                  </a:lnTo>
                  <a:lnTo>
                    <a:pt x="21600" y="21054"/>
                  </a:lnTo>
                  <a:lnTo>
                    <a:pt x="21500" y="21600"/>
                  </a:lnTo>
                  <a:lnTo>
                    <a:pt x="20623" y="21026"/>
                  </a:lnTo>
                  <a:lnTo>
                    <a:pt x="20131" y="20705"/>
                  </a:lnTo>
                  <a:lnTo>
                    <a:pt x="19072" y="20663"/>
                  </a:lnTo>
                  <a:lnTo>
                    <a:pt x="18170" y="20158"/>
                  </a:lnTo>
                  <a:lnTo>
                    <a:pt x="17728" y="19485"/>
                  </a:lnTo>
                  <a:lnTo>
                    <a:pt x="17478" y="18967"/>
                  </a:lnTo>
                  <a:lnTo>
                    <a:pt x="17228" y="17746"/>
                  </a:lnTo>
                  <a:lnTo>
                    <a:pt x="16877" y="16708"/>
                  </a:lnTo>
                  <a:lnTo>
                    <a:pt x="16402" y="15951"/>
                  </a:lnTo>
                  <a:lnTo>
                    <a:pt x="15525" y="14954"/>
                  </a:lnTo>
                  <a:lnTo>
                    <a:pt x="14876" y="14284"/>
                  </a:lnTo>
                  <a:lnTo>
                    <a:pt x="14242" y="14284"/>
                  </a:lnTo>
                  <a:lnTo>
                    <a:pt x="13699" y="15489"/>
                  </a:lnTo>
                  <a:cubicBezTo>
                    <a:pt x="13655" y="15662"/>
                    <a:pt x="13604" y="15830"/>
                    <a:pt x="13549" y="15993"/>
                  </a:cubicBezTo>
                  <a:cubicBezTo>
                    <a:pt x="13430" y="16338"/>
                    <a:pt x="13287" y="16658"/>
                    <a:pt x="13123" y="16945"/>
                  </a:cubicBezTo>
                  <a:lnTo>
                    <a:pt x="12398" y="17785"/>
                  </a:lnTo>
                  <a:lnTo>
                    <a:pt x="11380" y="17196"/>
                  </a:lnTo>
                  <a:lnTo>
                    <a:pt x="10929" y="17070"/>
                  </a:lnTo>
                  <a:cubicBezTo>
                    <a:pt x="10778" y="17231"/>
                    <a:pt x="10588" y="17247"/>
                    <a:pt x="10429" y="17112"/>
                  </a:cubicBezTo>
                  <a:cubicBezTo>
                    <a:pt x="10275" y="16981"/>
                    <a:pt x="10172" y="16728"/>
                    <a:pt x="10154" y="16440"/>
                  </a:cubicBezTo>
                  <a:lnTo>
                    <a:pt x="9620" y="15752"/>
                  </a:lnTo>
                  <a:lnTo>
                    <a:pt x="9169" y="15416"/>
                  </a:lnTo>
                  <a:lnTo>
                    <a:pt x="8374" y="15500"/>
                  </a:lnTo>
                  <a:lnTo>
                    <a:pt x="7783" y="15624"/>
                  </a:lnTo>
                  <a:lnTo>
                    <a:pt x="7609" y="15133"/>
                  </a:lnTo>
                  <a:lnTo>
                    <a:pt x="7084" y="15175"/>
                  </a:lnTo>
                  <a:lnTo>
                    <a:pt x="7283" y="14463"/>
                  </a:lnTo>
                  <a:lnTo>
                    <a:pt x="7684" y="14295"/>
                  </a:lnTo>
                  <a:lnTo>
                    <a:pt x="8067" y="13793"/>
                  </a:lnTo>
                  <a:lnTo>
                    <a:pt x="8425" y="13260"/>
                  </a:lnTo>
                  <a:lnTo>
                    <a:pt x="8424" y="12101"/>
                  </a:lnTo>
                  <a:lnTo>
                    <a:pt x="7998" y="10796"/>
                  </a:lnTo>
                  <a:cubicBezTo>
                    <a:pt x="7914" y="10491"/>
                    <a:pt x="7805" y="10208"/>
                    <a:pt x="7672" y="9955"/>
                  </a:cubicBezTo>
                  <a:cubicBezTo>
                    <a:pt x="7487" y="9602"/>
                    <a:pt x="7262" y="9316"/>
                    <a:pt x="7013" y="9100"/>
                  </a:cubicBezTo>
                  <a:cubicBezTo>
                    <a:pt x="6627" y="8764"/>
                    <a:pt x="6195" y="8604"/>
                    <a:pt x="5760" y="8637"/>
                  </a:cubicBezTo>
                  <a:lnTo>
                    <a:pt x="5460" y="7993"/>
                  </a:lnTo>
                  <a:lnTo>
                    <a:pt x="4992" y="7628"/>
                  </a:lnTo>
                  <a:lnTo>
                    <a:pt x="4219" y="6874"/>
                  </a:lnTo>
                  <a:cubicBezTo>
                    <a:pt x="4009" y="6592"/>
                    <a:pt x="3763" y="6395"/>
                    <a:pt x="3501" y="6299"/>
                  </a:cubicBezTo>
                  <a:cubicBezTo>
                    <a:pt x="3254" y="6207"/>
                    <a:pt x="2997" y="6207"/>
                    <a:pt x="2750" y="6299"/>
                  </a:cubicBezTo>
                  <a:lnTo>
                    <a:pt x="2183" y="6425"/>
                  </a:lnTo>
                  <a:lnTo>
                    <a:pt x="1674" y="5792"/>
                  </a:lnTo>
                  <a:lnTo>
                    <a:pt x="1674" y="4994"/>
                  </a:lnTo>
                  <a:lnTo>
                    <a:pt x="2200" y="4420"/>
                  </a:lnTo>
                  <a:lnTo>
                    <a:pt x="2400" y="3664"/>
                  </a:lnTo>
                  <a:lnTo>
                    <a:pt x="2125" y="3120"/>
                  </a:lnTo>
                  <a:lnTo>
                    <a:pt x="1524" y="2615"/>
                  </a:lnTo>
                  <a:lnTo>
                    <a:pt x="566" y="2138"/>
                  </a:lnTo>
                  <a:lnTo>
                    <a:pt x="0" y="1619"/>
                  </a:lnTo>
                  <a:lnTo>
                    <a:pt x="54" y="1017"/>
                  </a:lnTo>
                  <a:lnTo>
                    <a:pt x="339" y="1069"/>
                  </a:lnTo>
                  <a:close/>
                </a:path>
              </a:pathLst>
            </a:custGeom>
            <a:grpFill/>
            <a:ln w="25400" cap="flat">
              <a:noFill/>
              <a:prstDash val="solid"/>
              <a:miter lim="400000"/>
            </a:ln>
            <a:effectLst/>
          </p:spPr>
          <p:txBody>
            <a:bodyPr anchor="ctr"/>
            <a:lstStyle/>
            <a:p>
              <a:pPr algn="ctr"/>
              <a:endParaRPr/>
            </a:p>
          </p:txBody>
        </p:sp>
        <p:sp>
          <p:nvSpPr>
            <p:cNvPr id="153" name="íṥ1îde">
              <a:extLst>
                <a:ext uri="{FF2B5EF4-FFF2-40B4-BE49-F238E27FC236}">
                  <a16:creationId xmlns="" xmlns:p14="http://schemas.microsoft.com/office/powerpoint/2010/main" xmlns:a16="http://schemas.microsoft.com/office/drawing/2014/main" id="{398A2AFE-37D8-49A4-B8AC-93A4A0487020}"/>
                </a:ext>
              </a:extLst>
            </p:cNvPr>
            <p:cNvSpPr/>
            <p:nvPr/>
          </p:nvSpPr>
          <p:spPr>
            <a:xfrm>
              <a:off x="10030474" y="3790111"/>
              <a:ext cx="18322" cy="22808"/>
            </a:xfrm>
            <a:custGeom>
              <a:avLst/>
              <a:gdLst/>
              <a:ahLst/>
              <a:cxnLst>
                <a:cxn ang="0">
                  <a:pos x="wd2" y="hd2"/>
                </a:cxn>
                <a:cxn ang="5400000">
                  <a:pos x="wd2" y="hd2"/>
                </a:cxn>
                <a:cxn ang="10800000">
                  <a:pos x="wd2" y="hd2"/>
                </a:cxn>
                <a:cxn ang="16200000">
                  <a:pos x="wd2" y="hd2"/>
                </a:cxn>
              </a:cxnLst>
              <a:rect l="0" t="0" r="r" b="b"/>
              <a:pathLst>
                <a:path w="21600" h="21600" extrusionOk="0">
                  <a:moveTo>
                    <a:pt x="11034" y="0"/>
                  </a:moveTo>
                  <a:lnTo>
                    <a:pt x="0" y="3883"/>
                  </a:lnTo>
                  <a:lnTo>
                    <a:pt x="4598" y="21600"/>
                  </a:lnTo>
                  <a:lnTo>
                    <a:pt x="21600" y="15889"/>
                  </a:lnTo>
                  <a:lnTo>
                    <a:pt x="21600" y="4677"/>
                  </a:lnTo>
                  <a:lnTo>
                    <a:pt x="11034" y="0"/>
                  </a:lnTo>
                  <a:close/>
                </a:path>
              </a:pathLst>
            </a:custGeom>
            <a:grpFill/>
            <a:ln w="25400" cap="flat">
              <a:noFill/>
              <a:prstDash val="solid"/>
              <a:miter lim="400000"/>
            </a:ln>
            <a:effectLst/>
          </p:spPr>
          <p:txBody>
            <a:bodyPr anchor="ctr"/>
            <a:lstStyle/>
            <a:p>
              <a:pPr algn="ctr"/>
              <a:endParaRPr/>
            </a:p>
          </p:txBody>
        </p:sp>
        <p:sp>
          <p:nvSpPr>
            <p:cNvPr id="154" name="iŝľïďé">
              <a:extLst>
                <a:ext uri="{FF2B5EF4-FFF2-40B4-BE49-F238E27FC236}">
                  <a16:creationId xmlns="" xmlns:p14="http://schemas.microsoft.com/office/powerpoint/2010/main" xmlns:a16="http://schemas.microsoft.com/office/drawing/2014/main" id="{A24483D0-039C-4FA1-BB44-5E529D83AF0D}"/>
                </a:ext>
              </a:extLst>
            </p:cNvPr>
            <p:cNvSpPr/>
            <p:nvPr/>
          </p:nvSpPr>
          <p:spPr>
            <a:xfrm>
              <a:off x="10351793" y="3476789"/>
              <a:ext cx="16360" cy="21873"/>
            </a:xfrm>
            <a:custGeom>
              <a:avLst/>
              <a:gdLst/>
              <a:ahLst/>
              <a:cxnLst>
                <a:cxn ang="0">
                  <a:pos x="wd2" y="hd2"/>
                </a:cxn>
                <a:cxn ang="5400000">
                  <a:pos x="wd2" y="hd2"/>
                </a:cxn>
                <a:cxn ang="10800000">
                  <a:pos x="wd2" y="hd2"/>
                </a:cxn>
                <a:cxn ang="16200000">
                  <a:pos x="wd2" y="hd2"/>
                </a:cxn>
              </a:cxnLst>
              <a:rect l="0" t="0" r="r" b="b"/>
              <a:pathLst>
                <a:path w="21600" h="21600" extrusionOk="0">
                  <a:moveTo>
                    <a:pt x="11547" y="0"/>
                  </a:moveTo>
                  <a:lnTo>
                    <a:pt x="2757" y="5238"/>
                  </a:lnTo>
                  <a:lnTo>
                    <a:pt x="0" y="18231"/>
                  </a:lnTo>
                  <a:lnTo>
                    <a:pt x="17487" y="21600"/>
                  </a:lnTo>
                  <a:lnTo>
                    <a:pt x="21600" y="12744"/>
                  </a:lnTo>
                  <a:lnTo>
                    <a:pt x="11547" y="0"/>
                  </a:lnTo>
                  <a:close/>
                </a:path>
              </a:pathLst>
            </a:custGeom>
            <a:grpFill/>
            <a:ln w="25400" cap="flat">
              <a:noFill/>
              <a:prstDash val="solid"/>
              <a:miter lim="400000"/>
            </a:ln>
            <a:effectLst/>
          </p:spPr>
          <p:txBody>
            <a:bodyPr anchor="ctr"/>
            <a:lstStyle/>
            <a:p>
              <a:pPr algn="ctr"/>
              <a:endParaRPr/>
            </a:p>
          </p:txBody>
        </p:sp>
        <p:sp>
          <p:nvSpPr>
            <p:cNvPr id="155" name="íŝḷiḑè">
              <a:extLst>
                <a:ext uri="{FF2B5EF4-FFF2-40B4-BE49-F238E27FC236}">
                  <a16:creationId xmlns="" xmlns:p14="http://schemas.microsoft.com/office/powerpoint/2010/main" xmlns:a16="http://schemas.microsoft.com/office/drawing/2014/main" id="{76889101-5126-4680-926E-B5E36AA201C9}"/>
                </a:ext>
              </a:extLst>
            </p:cNvPr>
            <p:cNvSpPr/>
            <p:nvPr/>
          </p:nvSpPr>
          <p:spPr>
            <a:xfrm>
              <a:off x="10325524" y="3553174"/>
              <a:ext cx="18349" cy="31158"/>
            </a:xfrm>
            <a:custGeom>
              <a:avLst/>
              <a:gdLst/>
              <a:ahLst/>
              <a:cxnLst>
                <a:cxn ang="0">
                  <a:pos x="wd2" y="hd2"/>
                </a:cxn>
                <a:cxn ang="5400000">
                  <a:pos x="wd2" y="hd2"/>
                </a:cxn>
                <a:cxn ang="10800000">
                  <a:pos x="wd2" y="hd2"/>
                </a:cxn>
                <a:cxn ang="16200000">
                  <a:pos x="wd2" y="hd2"/>
                </a:cxn>
              </a:cxnLst>
              <a:rect l="0" t="0" r="r" b="b"/>
              <a:pathLst>
                <a:path w="21600" h="21600" extrusionOk="0">
                  <a:moveTo>
                    <a:pt x="5652" y="0"/>
                  </a:moveTo>
                  <a:lnTo>
                    <a:pt x="0" y="4334"/>
                  </a:lnTo>
                  <a:lnTo>
                    <a:pt x="342" y="20725"/>
                  </a:lnTo>
                  <a:lnTo>
                    <a:pt x="18905" y="21600"/>
                  </a:lnTo>
                  <a:lnTo>
                    <a:pt x="21600" y="4465"/>
                  </a:lnTo>
                  <a:lnTo>
                    <a:pt x="5652" y="0"/>
                  </a:lnTo>
                  <a:close/>
                </a:path>
              </a:pathLst>
            </a:custGeom>
            <a:grpFill/>
            <a:ln w="25400" cap="flat">
              <a:noFill/>
              <a:prstDash val="solid"/>
              <a:miter lim="400000"/>
            </a:ln>
            <a:effectLst/>
          </p:spPr>
          <p:txBody>
            <a:bodyPr anchor="ctr"/>
            <a:lstStyle/>
            <a:p>
              <a:pPr algn="ctr"/>
              <a:endParaRPr/>
            </a:p>
          </p:txBody>
        </p:sp>
        <p:sp>
          <p:nvSpPr>
            <p:cNvPr id="156" name="ïśḻiďè">
              <a:extLst>
                <a:ext uri="{FF2B5EF4-FFF2-40B4-BE49-F238E27FC236}">
                  <a16:creationId xmlns="" xmlns:p14="http://schemas.microsoft.com/office/powerpoint/2010/main" xmlns:a16="http://schemas.microsoft.com/office/drawing/2014/main" id="{43A865D0-2ABA-42FB-9BBA-C464CA520317}"/>
                </a:ext>
              </a:extLst>
            </p:cNvPr>
            <p:cNvSpPr/>
            <p:nvPr/>
          </p:nvSpPr>
          <p:spPr>
            <a:xfrm>
              <a:off x="10830737" y="3809410"/>
              <a:ext cx="19066" cy="2893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7350"/>
                  </a:lnTo>
                  <a:lnTo>
                    <a:pt x="7288" y="21600"/>
                  </a:lnTo>
                  <a:lnTo>
                    <a:pt x="0" y="0"/>
                  </a:lnTo>
                  <a:close/>
                </a:path>
              </a:pathLst>
            </a:custGeom>
            <a:grpFill/>
            <a:ln w="25400" cap="flat">
              <a:noFill/>
              <a:prstDash val="solid"/>
              <a:miter lim="400000"/>
            </a:ln>
            <a:effectLst/>
          </p:spPr>
          <p:txBody>
            <a:bodyPr anchor="ctr"/>
            <a:lstStyle/>
            <a:p>
              <a:pPr algn="ctr"/>
              <a:endParaRPr/>
            </a:p>
          </p:txBody>
        </p:sp>
      </p:grpSp>
      <p:sp>
        <p:nvSpPr>
          <p:cNvPr id="20" name="标题 19"/>
          <p:cNvSpPr>
            <a:spLocks noGrp="1"/>
          </p:cNvSpPr>
          <p:nvPr userDrawn="1">
            <p:ph type="title"/>
          </p:nvPr>
        </p:nvSpPr>
        <p:spPr>
          <a:xfrm>
            <a:off x="6098599" y="2657929"/>
            <a:ext cx="5419185" cy="895350"/>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0"/>
          <p:cNvSpPr>
            <a:spLocks noGrp="1"/>
          </p:cNvSpPr>
          <p:nvPr userDrawn="1">
            <p:ph type="body" idx="1"/>
          </p:nvPr>
        </p:nvSpPr>
        <p:spPr>
          <a:xfrm>
            <a:off x="6099715" y="3553279"/>
            <a:ext cx="5419185" cy="1015623"/>
          </a:xfrm>
        </p:spPr>
        <p:txBody>
          <a:bodyPr anchor="t">
            <a:normAutofit/>
          </a:bodyPr>
          <a:lstStyle>
            <a:lvl1pPr marL="0" indent="0" algn="l">
              <a:lnSpc>
                <a:spcPct val="150000"/>
              </a:lnSpc>
              <a:spcBef>
                <a:spcPts val="0"/>
              </a:spcBef>
              <a:buNone/>
              <a:defRPr sz="1100">
                <a:solidFill>
                  <a:schemeClr val="tx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grpSp>
        <p:nvGrpSpPr>
          <p:cNvPr id="164" name="组合 163">
            <a:extLst>
              <a:ext uri="{FF2B5EF4-FFF2-40B4-BE49-F238E27FC236}">
                <a16:creationId xmlns="" xmlns:p14="http://schemas.microsoft.com/office/powerpoint/2010/main" xmlns:a16="http://schemas.microsoft.com/office/drawing/2014/main" id="{7F7A6B49-F4EF-49AD-B287-19DCC3450A41}"/>
              </a:ext>
            </a:extLst>
          </p:cNvPr>
          <p:cNvGrpSpPr/>
          <p:nvPr userDrawn="1"/>
        </p:nvGrpSpPr>
        <p:grpSpPr>
          <a:xfrm flipH="1">
            <a:off x="0" y="0"/>
            <a:ext cx="4509144" cy="6858000"/>
            <a:chOff x="5317129" y="0"/>
            <a:chExt cx="6874871" cy="6858000"/>
          </a:xfrm>
        </p:grpSpPr>
        <p:sp>
          <p:nvSpPr>
            <p:cNvPr id="165" name="iṩlïḑè">
              <a:extLst>
                <a:ext uri="{FF2B5EF4-FFF2-40B4-BE49-F238E27FC236}">
                  <a16:creationId xmlns="" xmlns:p14="http://schemas.microsoft.com/office/powerpoint/2010/main" xmlns:a16="http://schemas.microsoft.com/office/drawing/2014/main" id="{FFDA2B9E-7E1F-4840-B732-50A95B49B8F2}"/>
                </a:ext>
              </a:extLst>
            </p:cNvPr>
            <p:cNvSpPr/>
            <p:nvPr userDrawn="1"/>
          </p:nvSpPr>
          <p:spPr>
            <a:xfrm>
              <a:off x="7097453" y="0"/>
              <a:ext cx="5094547" cy="6858000"/>
            </a:xfrm>
            <a:custGeom>
              <a:avLst/>
              <a:gdLst>
                <a:gd name="connsiteX0" fmla="*/ 2401360 w 5094547"/>
                <a:gd name="connsiteY0" fmla="*/ 0 h 6858000"/>
                <a:gd name="connsiteX1" fmla="*/ 5094547 w 5094547"/>
                <a:gd name="connsiteY1" fmla="*/ 0 h 6858000"/>
                <a:gd name="connsiteX2" fmla="*/ 5094547 w 5094547"/>
                <a:gd name="connsiteY2" fmla="*/ 6858000 h 6858000"/>
                <a:gd name="connsiteX3" fmla="*/ 0 w 509454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094547" h="6858000">
                  <a:moveTo>
                    <a:pt x="2401360" y="0"/>
                  </a:moveTo>
                  <a:lnTo>
                    <a:pt x="5094547" y="0"/>
                  </a:lnTo>
                  <a:lnTo>
                    <a:pt x="5094547" y="6858000"/>
                  </a:lnTo>
                  <a:lnTo>
                    <a:pt x="0" y="6858000"/>
                  </a:lnTo>
                  <a:close/>
                </a:path>
              </a:pathLst>
            </a:custGeom>
            <a:blipFill>
              <a:blip r:embed="rId3"/>
              <a:stretch>
                <a:fillRect l="-39842" r="-39644"/>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6" name="ïṧľîďé">
              <a:extLst>
                <a:ext uri="{FF2B5EF4-FFF2-40B4-BE49-F238E27FC236}">
                  <a16:creationId xmlns="" xmlns:p14="http://schemas.microsoft.com/office/powerpoint/2010/main" xmlns:a16="http://schemas.microsoft.com/office/drawing/2014/main" id="{5AA78695-4AAB-4791-AC6E-2E8DD33BF9D7}"/>
                </a:ext>
              </a:extLst>
            </p:cNvPr>
            <p:cNvSpPr/>
            <p:nvPr userDrawn="1"/>
          </p:nvSpPr>
          <p:spPr>
            <a:xfrm>
              <a:off x="7097453" y="0"/>
              <a:ext cx="5094547" cy="6858000"/>
            </a:xfrm>
            <a:custGeom>
              <a:avLst/>
              <a:gdLst>
                <a:gd name="connsiteX0" fmla="*/ 2401360 w 5094547"/>
                <a:gd name="connsiteY0" fmla="*/ 0 h 6858000"/>
                <a:gd name="connsiteX1" fmla="*/ 5094547 w 5094547"/>
                <a:gd name="connsiteY1" fmla="*/ 0 h 6858000"/>
                <a:gd name="connsiteX2" fmla="*/ 5094547 w 5094547"/>
                <a:gd name="connsiteY2" fmla="*/ 6858000 h 6858000"/>
                <a:gd name="connsiteX3" fmla="*/ 0 w 509454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094547" h="6858000">
                  <a:moveTo>
                    <a:pt x="2401360" y="0"/>
                  </a:moveTo>
                  <a:lnTo>
                    <a:pt x="5094547" y="0"/>
                  </a:lnTo>
                  <a:lnTo>
                    <a:pt x="5094547" y="6858000"/>
                  </a:lnTo>
                  <a:lnTo>
                    <a:pt x="0" y="6858000"/>
                  </a:lnTo>
                  <a:close/>
                </a:path>
              </a:pathLst>
            </a:custGeom>
            <a:solidFill>
              <a:schemeClr val="accent1">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7" name="îṡlíḑè">
              <a:extLst>
                <a:ext uri="{FF2B5EF4-FFF2-40B4-BE49-F238E27FC236}">
                  <a16:creationId xmlns="" xmlns:p14="http://schemas.microsoft.com/office/powerpoint/2010/main" xmlns:a16="http://schemas.microsoft.com/office/drawing/2014/main" id="{2523AC05-4DD2-4076-BD97-874CE03AF8EB}"/>
                </a:ext>
              </a:extLst>
            </p:cNvPr>
            <p:cNvSpPr/>
            <p:nvPr userDrawn="1"/>
          </p:nvSpPr>
          <p:spPr>
            <a:xfrm>
              <a:off x="6848035" y="0"/>
              <a:ext cx="2804986" cy="6858000"/>
            </a:xfrm>
            <a:custGeom>
              <a:avLst/>
              <a:gdLst>
                <a:gd name="connsiteX0" fmla="*/ 2480808 w 2804986"/>
                <a:gd name="connsiteY0" fmla="*/ 0 h 6858000"/>
                <a:gd name="connsiteX1" fmla="*/ 2804986 w 2804986"/>
                <a:gd name="connsiteY1" fmla="*/ 0 h 6858000"/>
                <a:gd name="connsiteX2" fmla="*/ 324177 w 2804986"/>
                <a:gd name="connsiteY2" fmla="*/ 6858000 h 6858000"/>
                <a:gd name="connsiteX3" fmla="*/ 0 w 280498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804986" h="6858000">
                  <a:moveTo>
                    <a:pt x="2480808" y="0"/>
                  </a:moveTo>
                  <a:lnTo>
                    <a:pt x="2804986" y="0"/>
                  </a:lnTo>
                  <a:lnTo>
                    <a:pt x="324177" y="6858000"/>
                  </a:lnTo>
                  <a:lnTo>
                    <a:pt x="0" y="6858000"/>
                  </a:lnTo>
                  <a:close/>
                </a:path>
              </a:pathLst>
            </a:cu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168" name="ïṣļíḋé">
              <a:extLst>
                <a:ext uri="{FF2B5EF4-FFF2-40B4-BE49-F238E27FC236}">
                  <a16:creationId xmlns="" xmlns:p14="http://schemas.microsoft.com/office/powerpoint/2010/main" xmlns:a16="http://schemas.microsoft.com/office/drawing/2014/main" id="{0F7DD772-2765-436B-91FF-B8FF582ECA8A}"/>
                </a:ext>
              </a:extLst>
            </p:cNvPr>
            <p:cNvSpPr/>
            <p:nvPr userDrawn="1"/>
          </p:nvSpPr>
          <p:spPr>
            <a:xfrm>
              <a:off x="6082582" y="0"/>
              <a:ext cx="2804986" cy="6858000"/>
            </a:xfrm>
            <a:custGeom>
              <a:avLst/>
              <a:gdLst>
                <a:gd name="connsiteX0" fmla="*/ 2480808 w 2804986"/>
                <a:gd name="connsiteY0" fmla="*/ 0 h 6858000"/>
                <a:gd name="connsiteX1" fmla="*/ 2804986 w 2804986"/>
                <a:gd name="connsiteY1" fmla="*/ 0 h 6858000"/>
                <a:gd name="connsiteX2" fmla="*/ 324177 w 2804986"/>
                <a:gd name="connsiteY2" fmla="*/ 6858000 h 6858000"/>
                <a:gd name="connsiteX3" fmla="*/ 0 w 280498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804986" h="6858000">
                  <a:moveTo>
                    <a:pt x="2480808" y="0"/>
                  </a:moveTo>
                  <a:lnTo>
                    <a:pt x="2804986" y="0"/>
                  </a:lnTo>
                  <a:lnTo>
                    <a:pt x="324177" y="6858000"/>
                  </a:lnTo>
                  <a:lnTo>
                    <a:pt x="0" y="6858000"/>
                  </a:lnTo>
                  <a:close/>
                </a:path>
              </a:pathLst>
            </a:cu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169" name="ïṣļiḓè">
              <a:extLst>
                <a:ext uri="{FF2B5EF4-FFF2-40B4-BE49-F238E27FC236}">
                  <a16:creationId xmlns="" xmlns:p14="http://schemas.microsoft.com/office/powerpoint/2010/main" xmlns:a16="http://schemas.microsoft.com/office/drawing/2014/main" id="{D03CB3A7-366A-42E8-96DD-22952ED4DA32}"/>
                </a:ext>
              </a:extLst>
            </p:cNvPr>
            <p:cNvSpPr/>
            <p:nvPr userDrawn="1"/>
          </p:nvSpPr>
          <p:spPr>
            <a:xfrm>
              <a:off x="5317129" y="0"/>
              <a:ext cx="2804986" cy="6858000"/>
            </a:xfrm>
            <a:custGeom>
              <a:avLst/>
              <a:gdLst>
                <a:gd name="connsiteX0" fmla="*/ 2480808 w 2804986"/>
                <a:gd name="connsiteY0" fmla="*/ 0 h 6858000"/>
                <a:gd name="connsiteX1" fmla="*/ 2804986 w 2804986"/>
                <a:gd name="connsiteY1" fmla="*/ 0 h 6858000"/>
                <a:gd name="connsiteX2" fmla="*/ 324177 w 2804986"/>
                <a:gd name="connsiteY2" fmla="*/ 6858000 h 6858000"/>
                <a:gd name="connsiteX3" fmla="*/ 0 w 280498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804986" h="6858000">
                  <a:moveTo>
                    <a:pt x="2480808" y="0"/>
                  </a:moveTo>
                  <a:lnTo>
                    <a:pt x="2804986" y="0"/>
                  </a:lnTo>
                  <a:lnTo>
                    <a:pt x="324177" y="6858000"/>
                  </a:lnTo>
                  <a:lnTo>
                    <a:pt x="0" y="6858000"/>
                  </a:lnTo>
                  <a:close/>
                </a:path>
              </a:pathLst>
            </a:cu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170" name="íṩļïḑé">
              <a:extLst>
                <a:ext uri="{FF2B5EF4-FFF2-40B4-BE49-F238E27FC236}">
                  <a16:creationId xmlns="" xmlns:p14="http://schemas.microsoft.com/office/powerpoint/2010/main" xmlns:a16="http://schemas.microsoft.com/office/drawing/2014/main" id="{384CC984-D7A4-4D39-8637-68BE63FA49E1}"/>
                </a:ext>
              </a:extLst>
            </p:cNvPr>
            <p:cNvSpPr/>
            <p:nvPr userDrawn="1"/>
          </p:nvSpPr>
          <p:spPr>
            <a:xfrm>
              <a:off x="8544340" y="1944914"/>
              <a:ext cx="686455" cy="1001486"/>
            </a:xfrm>
            <a:custGeom>
              <a:avLst/>
              <a:gdLst>
                <a:gd name="connsiteX0" fmla="*/ 362277 w 686455"/>
                <a:gd name="connsiteY0" fmla="*/ 0 h 1001486"/>
                <a:gd name="connsiteX1" fmla="*/ 686455 w 686455"/>
                <a:gd name="connsiteY1" fmla="*/ 0 h 1001486"/>
                <a:gd name="connsiteX2" fmla="*/ 324178 w 686455"/>
                <a:gd name="connsiteY2" fmla="*/ 1001486 h 1001486"/>
                <a:gd name="connsiteX3" fmla="*/ 0 w 686455"/>
                <a:gd name="connsiteY3" fmla="*/ 1001486 h 1001486"/>
              </a:gdLst>
              <a:ahLst/>
              <a:cxnLst>
                <a:cxn ang="0">
                  <a:pos x="connsiteX0" y="connsiteY0"/>
                </a:cxn>
                <a:cxn ang="0">
                  <a:pos x="connsiteX1" y="connsiteY1"/>
                </a:cxn>
                <a:cxn ang="0">
                  <a:pos x="connsiteX2" y="connsiteY2"/>
                </a:cxn>
                <a:cxn ang="0">
                  <a:pos x="connsiteX3" y="connsiteY3"/>
                </a:cxn>
              </a:cxnLst>
              <a:rect l="l" t="t" r="r" b="b"/>
              <a:pathLst>
                <a:path w="686455" h="1001486">
                  <a:moveTo>
                    <a:pt x="362277" y="0"/>
                  </a:moveTo>
                  <a:lnTo>
                    <a:pt x="686455" y="0"/>
                  </a:lnTo>
                  <a:lnTo>
                    <a:pt x="324178" y="1001486"/>
                  </a:lnTo>
                  <a:lnTo>
                    <a:pt x="0" y="1001486"/>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1" name="ïś1iďe">
              <a:extLst>
                <a:ext uri="{FF2B5EF4-FFF2-40B4-BE49-F238E27FC236}">
                  <a16:creationId xmlns="" xmlns:p14="http://schemas.microsoft.com/office/powerpoint/2010/main" xmlns:a16="http://schemas.microsoft.com/office/drawing/2014/main" id="{EB03D3C9-9D10-4622-A0A2-4F1EC48E9AAD}"/>
                </a:ext>
              </a:extLst>
            </p:cNvPr>
            <p:cNvSpPr/>
            <p:nvPr userDrawn="1"/>
          </p:nvSpPr>
          <p:spPr>
            <a:xfrm>
              <a:off x="6178639" y="3962399"/>
              <a:ext cx="686455" cy="1001486"/>
            </a:xfrm>
            <a:custGeom>
              <a:avLst/>
              <a:gdLst>
                <a:gd name="connsiteX0" fmla="*/ 362277 w 686455"/>
                <a:gd name="connsiteY0" fmla="*/ 0 h 1001486"/>
                <a:gd name="connsiteX1" fmla="*/ 686455 w 686455"/>
                <a:gd name="connsiteY1" fmla="*/ 0 h 1001486"/>
                <a:gd name="connsiteX2" fmla="*/ 324178 w 686455"/>
                <a:gd name="connsiteY2" fmla="*/ 1001486 h 1001486"/>
                <a:gd name="connsiteX3" fmla="*/ 0 w 686455"/>
                <a:gd name="connsiteY3" fmla="*/ 1001486 h 1001486"/>
              </a:gdLst>
              <a:ahLst/>
              <a:cxnLst>
                <a:cxn ang="0">
                  <a:pos x="connsiteX0" y="connsiteY0"/>
                </a:cxn>
                <a:cxn ang="0">
                  <a:pos x="connsiteX1" y="connsiteY1"/>
                </a:cxn>
                <a:cxn ang="0">
                  <a:pos x="connsiteX2" y="connsiteY2"/>
                </a:cxn>
                <a:cxn ang="0">
                  <a:pos x="connsiteX3" y="connsiteY3"/>
                </a:cxn>
              </a:cxnLst>
              <a:rect l="l" t="t" r="r" b="b"/>
              <a:pathLst>
                <a:path w="686455" h="1001486">
                  <a:moveTo>
                    <a:pt x="362277" y="0"/>
                  </a:moveTo>
                  <a:lnTo>
                    <a:pt x="686455" y="0"/>
                  </a:lnTo>
                  <a:lnTo>
                    <a:pt x="324178" y="1001486"/>
                  </a:lnTo>
                  <a:lnTo>
                    <a:pt x="0" y="1001486"/>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 xmlns:p14="http://schemas.microsoft.com/office/powerpoint/2010/main" xmlns:a16="http://schemas.microsoft.com/office/drawing/2014/main" id="{9888B6D7-9D3F-49D7-BACE-73A9D1149A74}"/>
              </a:ext>
            </a:extLst>
          </p:cNvPr>
          <p:cNvSpPr>
            <a:spLocks noGrp="1"/>
          </p:cNvSpPr>
          <p:nvPr>
            <p:ph type="dt" sz="half" idx="10"/>
          </p:nvPr>
        </p:nvSpPr>
        <p:spPr/>
        <p:txBody>
          <a:bodyPr/>
          <a:lstStyle/>
          <a:p>
            <a:fld id="{6489D9C7-5DC6-4263-87FF-7C99F6FB63C3}" type="datetime1">
              <a:rPr lang="zh-CN" altLang="en-US" smtClean="0"/>
              <a:pPr/>
              <a:t>2020/12/1</a:t>
            </a:fld>
            <a:endParaRPr lang="zh-CN" altLang="en-US"/>
          </a:p>
        </p:txBody>
      </p:sp>
      <p:sp>
        <p:nvSpPr>
          <p:cNvPr id="4" name="页脚占位符 3">
            <a:extLst>
              <a:ext uri="{FF2B5EF4-FFF2-40B4-BE49-F238E27FC236}">
                <a16:creationId xmlns="" xmlns:p14="http://schemas.microsoft.com/office/powerpoint/2010/main" xmlns:a16="http://schemas.microsoft.com/office/drawing/2014/main" id="{7AC997A4-1DD8-4731-B9FD-42398A20FF85}"/>
              </a:ext>
            </a:extLst>
          </p:cNvPr>
          <p:cNvSpPr>
            <a:spLocks noGrp="1"/>
          </p:cNvSpPr>
          <p:nvPr>
            <p:ph type="ftr" sz="quarter" idx="11"/>
          </p:nvPr>
        </p:nvSpPr>
        <p:spPr/>
        <p:txBody>
          <a:bodyPr/>
          <a:lstStyle/>
          <a:p>
            <a:r>
              <a:rPr lang="en-US" altLang="zh-CN"/>
              <a:t>www.islide.cc</a:t>
            </a:r>
            <a:endParaRPr lang="zh-CN" altLang="en-US" dirty="0"/>
          </a:p>
        </p:txBody>
      </p:sp>
      <p:sp>
        <p:nvSpPr>
          <p:cNvPr id="5" name="灯片编号占位符 4">
            <a:extLst>
              <a:ext uri="{FF2B5EF4-FFF2-40B4-BE49-F238E27FC236}">
                <a16:creationId xmlns="" xmlns:p14="http://schemas.microsoft.com/office/powerpoint/2010/main"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 xmlns:p14="http://schemas.microsoft.com/office/powerpoint/2010/main"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 xmlns:p14="http://schemas.microsoft.com/office/powerpoint/2010/main"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a:extLst>
              <a:ext uri="{FF2B5EF4-FFF2-40B4-BE49-F238E27FC236}">
                <a16:creationId xmlns=""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日期占位符 2">
            <a:extLst>
              <a:ext uri="{FF2B5EF4-FFF2-40B4-BE49-F238E27FC236}">
                <a16:creationId xmlns="" xmlns:a16="http://schemas.microsoft.com/office/drawing/2014/main" id="{8986EA5F-D77D-4318-90E9-C04AA8ADC0D1}"/>
              </a:ext>
            </a:extLst>
          </p:cNvPr>
          <p:cNvSpPr>
            <a:spLocks noGrp="1"/>
          </p:cNvSpPr>
          <p:nvPr>
            <p:ph type="dt" sz="half" idx="10"/>
          </p:nvPr>
        </p:nvSpPr>
        <p:spPr/>
        <p:txBody>
          <a:bodyPr/>
          <a:lstStyle/>
          <a:p>
            <a:fld id="{6489D9C7-5DC6-4263-87FF-7C99F6FB63C3}" type="datetime1">
              <a:rPr lang="zh-CN" altLang="en-US" smtClean="0"/>
              <a:pPr/>
              <a:t>2020/12/1</a:t>
            </a:fld>
            <a:endParaRPr lang="zh-CN" altLang="en-US"/>
          </a:p>
        </p:txBody>
      </p:sp>
      <p:sp>
        <p:nvSpPr>
          <p:cNvPr id="4" name="页脚占位符 3">
            <a:extLst>
              <a:ext uri="{FF2B5EF4-FFF2-40B4-BE49-F238E27FC236}">
                <a16:creationId xmlns="" xmlns:a16="http://schemas.microsoft.com/office/drawing/2014/main" id="{00832621-D9D9-445E-BFF9-F8348FA1E262}"/>
              </a:ext>
            </a:extLst>
          </p:cNvPr>
          <p:cNvSpPr>
            <a:spLocks noGrp="1"/>
          </p:cNvSpPr>
          <p:nvPr>
            <p:ph type="ftr" sz="quarter" idx="11"/>
          </p:nvPr>
        </p:nvSpPr>
        <p:spPr/>
        <p:txBody>
          <a:bodyPr/>
          <a:lstStyle/>
          <a:p>
            <a:r>
              <a:rPr lang="en-US" altLang="zh-CN"/>
              <a:t>www.islide.cc</a:t>
            </a:r>
            <a:endParaRPr lang="zh-CN" altLang="en-US" dirty="0"/>
          </a:p>
        </p:txBody>
      </p:sp>
      <p:sp>
        <p:nvSpPr>
          <p:cNvPr id="5" name="灯片编号占位符 4">
            <a:extLst>
              <a:ext uri="{FF2B5EF4-FFF2-40B4-BE49-F238E27FC236}">
                <a16:creationId xmlns=""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sp>
        <p:nvSpPr>
          <p:cNvPr id="16" name="í$ľiḋe">
            <a:extLst>
              <a:ext uri="{FF2B5EF4-FFF2-40B4-BE49-F238E27FC236}">
                <a16:creationId xmlns="" xmlns:p14="http://schemas.microsoft.com/office/powerpoint/2010/main" xmlns:a16="http://schemas.microsoft.com/office/drawing/2014/main" id="{95F0ECDF-C88B-4D19-AE25-E5B247F74D99}"/>
              </a:ext>
            </a:extLst>
          </p:cNvPr>
          <p:cNvSpPr/>
          <p:nvPr userDrawn="1"/>
        </p:nvSpPr>
        <p:spPr>
          <a:xfrm>
            <a:off x="1" y="0"/>
            <a:ext cx="12192000" cy="6858000"/>
          </a:xfrm>
          <a:prstGeom prst="rect">
            <a:avLst/>
          </a:prstGeom>
          <a:blipFill>
            <a:blip r:embed="rId2"/>
            <a:srcRect/>
            <a:stretch>
              <a:fillRect t="-16666" b="-16666"/>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iśľîḍê">
            <a:extLst>
              <a:ext uri="{FF2B5EF4-FFF2-40B4-BE49-F238E27FC236}">
                <a16:creationId xmlns="" xmlns:p14="http://schemas.microsoft.com/office/powerpoint/2010/main" xmlns:a16="http://schemas.microsoft.com/office/drawing/2014/main" id="{FD47779C-4100-4062-915A-658989B23EBD}"/>
              </a:ext>
            </a:extLst>
          </p:cNvPr>
          <p:cNvSpPr/>
          <p:nvPr userDrawn="1"/>
        </p:nvSpPr>
        <p:spPr>
          <a:xfrm>
            <a:off x="0" y="0"/>
            <a:ext cx="12192000" cy="6858000"/>
          </a:xfrm>
          <a:prstGeom prst="rect">
            <a:avLst/>
          </a:prstGeom>
          <a:solidFill>
            <a:schemeClr val="accent1">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标题 12"/>
          <p:cNvSpPr>
            <a:spLocks noGrp="1"/>
          </p:cNvSpPr>
          <p:nvPr userDrawn="1">
            <p:ph type="ctrTitle" hasCustomPrompt="1"/>
          </p:nvPr>
        </p:nvSpPr>
        <p:spPr>
          <a:xfrm>
            <a:off x="3384551" y="2367819"/>
            <a:ext cx="5422898" cy="1621509"/>
          </a:xfrm>
        </p:spPr>
        <p:txBody>
          <a:bodyPr anchor="b">
            <a:normAutofit/>
          </a:bodyPr>
          <a:lstStyle>
            <a:lvl1pPr marL="0" indent="0" algn="ctr">
              <a:buFont typeface="Arial" panose="020B0604020202020204" pitchFamily="34" charset="0"/>
              <a:buNone/>
              <a:defRPr sz="3200">
                <a:solidFill>
                  <a:schemeClr val="bg1"/>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3384551" y="4786452"/>
            <a:ext cx="5422898" cy="310871"/>
          </a:xfrm>
        </p:spPr>
        <p:txBody>
          <a:bodyPr vert="horz" lIns="91440" tIns="45720" rIns="91440" bIns="45720" rtlCol="0">
            <a:normAutofit/>
          </a:bodyPr>
          <a:lstStyle>
            <a:lvl1pPr marL="0" indent="0" algn="ctr">
              <a:buNone/>
              <a:defRPr lang="zh-CN" altLang="en-US" sz="14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5">
            <a:extLst>
              <a:ext uri="{FF2B5EF4-FFF2-40B4-BE49-F238E27FC236}">
                <a16:creationId xmlns="" xmlns:p14="http://schemas.microsoft.com/office/powerpoint/2010/main" xmlns:a16="http://schemas.microsoft.com/office/drawing/2014/main" id="{05EBDA4F-7210-4CAE-8333-80DB24212E78}"/>
              </a:ext>
            </a:extLst>
          </p:cNvPr>
          <p:cNvSpPr>
            <a:spLocks noGrp="1"/>
          </p:cNvSpPr>
          <p:nvPr>
            <p:ph type="body" sz="quarter" idx="10" hasCustomPrompt="1"/>
          </p:nvPr>
        </p:nvSpPr>
        <p:spPr>
          <a:xfrm>
            <a:off x="3384551" y="4490181"/>
            <a:ext cx="5422898" cy="296271"/>
          </a:xfrm>
        </p:spPr>
        <p:txBody>
          <a:bodyPr vert="horz" anchor="ctr">
            <a:noAutofit/>
          </a:bodyPr>
          <a:lstStyle>
            <a:lvl1pPr marL="0" indent="0" algn="ctr">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7">
            <a:extLst>
              <a:ext uri="{FF2B5EF4-FFF2-40B4-BE49-F238E27FC236}">
                <a16:creationId xmlns="" xmlns:p14="http://schemas.microsoft.com/office/powerpoint/2010/main" xmlns:p15="http://schemas.microsoft.com/office/powerpoint/2012/main"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pPr/>
              <a:t>2020/12/1</a:t>
            </a:fld>
            <a:endParaRPr lang="zh-CN" altLang="en-US"/>
          </a:p>
        </p:txBody>
      </p:sp>
      <p:sp>
        <p:nvSpPr>
          <p:cNvPr id="9" name="页脚占位符 8">
            <a:extLst>
              <a:ext uri="{FF2B5EF4-FFF2-40B4-BE49-F238E27FC236}">
                <a16:creationId xmlns="" xmlns:p14="http://schemas.microsoft.com/office/powerpoint/2010/main" xmlns:p15="http://schemas.microsoft.com/office/powerpoint/2012/main"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dirty="0"/>
              <a:t>www.islide.cc</a:t>
            </a:r>
            <a:endParaRPr lang="zh-CN" altLang="en-US" dirty="0"/>
          </a:p>
        </p:txBody>
      </p:sp>
      <p:sp>
        <p:nvSpPr>
          <p:cNvPr id="10" name="灯片编号占位符 9">
            <a:extLst>
              <a:ext uri="{FF2B5EF4-FFF2-40B4-BE49-F238E27FC236}">
                <a16:creationId xmlns="" xmlns:p14="http://schemas.microsoft.com/office/powerpoint/2010/main" xmlns:p15="http://schemas.microsoft.com/office/powerpoint/2012/main"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 xmlns:a16="http://schemas.microsoft.com/office/drawing/2014/main" xmlns:p14="http://schemas.microsoft.com/office/powerpoint/2010/main"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8.gif"/><Relationship Id="rId2" Type="http://schemas.openxmlformats.org/officeDocument/2006/relationships/slideLayout" Target="../slideLayouts/slideLayout3.xml"/><Relationship Id="rId1" Type="http://schemas.openxmlformats.org/officeDocument/2006/relationships/tags" Target="../tags/tag14.xml"/></Relationships>
</file>

<file path=ppt/slides/_rels/slide11.xml.rels><?xml version="1.0" encoding="UTF-8" standalone="yes"?>
<Relationships xmlns="http://schemas.openxmlformats.org/package/2006/relationships"><Relationship Id="rId3" Type="http://schemas.openxmlformats.org/officeDocument/2006/relationships/hyperlink" Target="http://colah.github.io/posts/2015-08-Understanding-LSTMs/" TargetMode="External"/><Relationship Id="rId2" Type="http://schemas.openxmlformats.org/officeDocument/2006/relationships/slideLayout" Target="../slideLayouts/slideLayout3.xml"/><Relationship Id="rId1" Type="http://schemas.openxmlformats.org/officeDocument/2006/relationships/tags" Target="../tags/tag15.xml"/><Relationship Id="rId5" Type="http://schemas.openxmlformats.org/officeDocument/2006/relationships/image" Target="../media/image9.jpeg"/><Relationship Id="rId4" Type="http://schemas.openxmlformats.org/officeDocument/2006/relationships/hyperlink" Target="https://en.wikipedia.org/wiki/Gated_recurrent_unit"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Layout" Target="../slideLayouts/slideLayout3.xml"/><Relationship Id="rId1" Type="http://schemas.openxmlformats.org/officeDocument/2006/relationships/tags" Target="../tags/tag16.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7.xml"/></Relationships>
</file>

<file path=ppt/slides/_rels/slide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Layout" Target="../slideLayouts/slideLayout3.xml"/><Relationship Id="rId1" Type="http://schemas.openxmlformats.org/officeDocument/2006/relationships/tags" Target="../tags/tag18.xml"/></Relationships>
</file>

<file path=ppt/slides/_rels/slide1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Layout" Target="../slideLayouts/slideLayout3.xml"/><Relationship Id="rId1" Type="http://schemas.openxmlformats.org/officeDocument/2006/relationships/tags" Target="../tags/tag19.xml"/></Relationships>
</file>

<file path=ppt/slides/_rels/slide1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Layout" Target="../slideLayouts/slideLayout3.xml"/><Relationship Id="rId1" Type="http://schemas.openxmlformats.org/officeDocument/2006/relationships/tags" Target="../tags/tag20.xml"/></Relationships>
</file>

<file path=ppt/slides/_rels/slide1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slideLayout" Target="../slideLayouts/slideLayout3.xml"/><Relationship Id="rId1" Type="http://schemas.openxmlformats.org/officeDocument/2006/relationships/tags" Target="../tags/tag21.xml"/></Relationships>
</file>

<file path=ppt/slides/_rels/slide1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3.xml"/><Relationship Id="rId1" Type="http://schemas.openxmlformats.org/officeDocument/2006/relationships/tags" Target="../tags/tag22.xml"/></Relationships>
</file>

<file path=ppt/slides/_rels/slide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Layout" Target="../slideLayouts/slideLayout3.xml"/><Relationship Id="rId1" Type="http://schemas.openxmlformats.org/officeDocument/2006/relationships/tags" Target="../tags/tag23.xml"/><Relationship Id="rId4" Type="http://schemas.openxmlformats.org/officeDocument/2006/relationships/image" Target="../media/image17.jpeg"/></Relationships>
</file>

<file path=ppt/slides/_rels/slide2.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hemeOverride" Target="../theme/themeOverride2.xml"/><Relationship Id="rId5" Type="http://schemas.openxmlformats.org/officeDocument/2006/relationships/slideLayout" Target="../slideLayouts/slideLayout5.xml"/><Relationship Id="rId4" Type="http://schemas.openxmlformats.org/officeDocument/2006/relationships/tags" Target="../tags/tag6.xml"/></Relationships>
</file>

<file path=ppt/slides/_rels/slide2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Layout" Target="../slideLayouts/slideLayout3.xml"/><Relationship Id="rId1" Type="http://schemas.openxmlformats.org/officeDocument/2006/relationships/tags" Target="../tags/tag24.xml"/><Relationship Id="rId4" Type="http://schemas.openxmlformats.org/officeDocument/2006/relationships/image" Target="../media/image19.png"/></Relationships>
</file>

<file path=ppt/slides/_rels/slide2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Layout" Target="../slideLayouts/slideLayout3.xml"/><Relationship Id="rId1" Type="http://schemas.openxmlformats.org/officeDocument/2006/relationships/tags" Target="../tags/tag25.xml"/><Relationship Id="rId4" Type="http://schemas.openxmlformats.org/officeDocument/2006/relationships/image" Target="../media/image21.jpeg"/></Relationships>
</file>

<file path=ppt/slides/_rels/slide2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Layout" Target="../slideLayouts/slideLayout3.xml"/><Relationship Id="rId1" Type="http://schemas.openxmlformats.org/officeDocument/2006/relationships/tags" Target="../tags/tag26.xml"/></Relationships>
</file>

<file path=ppt/slides/_rels/slide23.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slideLayout" Target="../slideLayouts/slideLayout3.xml"/><Relationship Id="rId1" Type="http://schemas.openxmlformats.org/officeDocument/2006/relationships/tags" Target="../tags/tag27.xml"/></Relationships>
</file>

<file path=ppt/slides/_rels/slide2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Layout" Target="../slideLayouts/slideLayout3.xml"/><Relationship Id="rId1" Type="http://schemas.openxmlformats.org/officeDocument/2006/relationships/tags" Target="../tags/tag28.xml"/><Relationship Id="rId4" Type="http://schemas.openxmlformats.org/officeDocument/2006/relationships/image" Target="../media/image25.jpeg"/></Relationships>
</file>

<file path=ppt/slides/_rels/slide2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Layout" Target="../slideLayouts/slideLayout3.xml"/><Relationship Id="rId1" Type="http://schemas.openxmlformats.org/officeDocument/2006/relationships/tags" Target="../tags/tag29.xml"/><Relationship Id="rId4" Type="http://schemas.openxmlformats.org/officeDocument/2006/relationships/image" Target="../media/image27.jpeg"/></Relationships>
</file>

<file path=ppt/slides/_rels/slide2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slideLayout" Target="../slideLayouts/slideLayout3.xml"/><Relationship Id="rId1" Type="http://schemas.openxmlformats.org/officeDocument/2006/relationships/tags" Target="../tags/tag30.xml"/></Relationships>
</file>

<file path=ppt/slides/_rels/slide2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Layout" Target="../slideLayouts/slideLayout3.xml"/><Relationship Id="rId1" Type="http://schemas.openxmlformats.org/officeDocument/2006/relationships/tags" Target="../tags/tag31.xml"/></Relationships>
</file>

<file path=ppt/slides/_rels/slide2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slideLayout" Target="../slideLayouts/slideLayout3.xml"/><Relationship Id="rId1" Type="http://schemas.openxmlformats.org/officeDocument/2006/relationships/tags" Target="../tags/tag32.xml"/></Relationships>
</file>

<file path=ppt/slides/_rels/slide2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slideLayout" Target="../slideLayouts/slideLayout3.xml"/><Relationship Id="rId1" Type="http://schemas.openxmlformats.org/officeDocument/2006/relationships/tags" Target="../tags/tag3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themeOverride" Target="../theme/themeOverride3.xml"/></Relationships>
</file>

<file path=ppt/slides/_rels/slide3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slideLayout" Target="../slideLayouts/slideLayout3.xml"/><Relationship Id="rId1" Type="http://schemas.openxmlformats.org/officeDocument/2006/relationships/tags" Target="../tags/tag34.xml"/></Relationships>
</file>

<file path=ppt/slides/_rels/slide3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Layout" Target="../slideLayouts/slideLayout3.xml"/><Relationship Id="rId1" Type="http://schemas.openxmlformats.org/officeDocument/2006/relationships/tags" Target="../tags/tag35.xml"/></Relationships>
</file>

<file path=ppt/slides/_rels/slide3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slideLayout" Target="../slideLayouts/slideLayout3.xml"/><Relationship Id="rId1" Type="http://schemas.openxmlformats.org/officeDocument/2006/relationships/tags" Target="../tags/tag36.xml"/></Relationships>
</file>

<file path=ppt/slides/_rels/slide3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slideLayout" Target="../slideLayouts/slideLayout3.xml"/><Relationship Id="rId1" Type="http://schemas.openxmlformats.org/officeDocument/2006/relationships/tags" Target="../tags/tag37.xml"/></Relationships>
</file>

<file path=ppt/slides/_rels/slide34.xml.rels><?xml version="1.0" encoding="UTF-8" standalone="yes"?>
<Relationships xmlns="http://schemas.openxmlformats.org/package/2006/relationships"><Relationship Id="rId3" Type="http://schemas.openxmlformats.org/officeDocument/2006/relationships/image" Target="../media/image36.gif"/><Relationship Id="rId2" Type="http://schemas.openxmlformats.org/officeDocument/2006/relationships/slideLayout" Target="../slideLayouts/slideLayout3.xml"/><Relationship Id="rId1" Type="http://schemas.openxmlformats.org/officeDocument/2006/relationships/tags" Target="../tags/tag38.xml"/></Relationships>
</file>

<file path=ppt/slides/_rels/slide35.xml.rels><?xml version="1.0" encoding="UTF-8" standalone="yes"?>
<Relationships xmlns="http://schemas.openxmlformats.org/package/2006/relationships"><Relationship Id="rId3" Type="http://schemas.openxmlformats.org/officeDocument/2006/relationships/image" Target="../media/image37.gif"/><Relationship Id="rId2" Type="http://schemas.openxmlformats.org/officeDocument/2006/relationships/slideLayout" Target="../slideLayouts/slideLayout3.xml"/><Relationship Id="rId1" Type="http://schemas.openxmlformats.org/officeDocument/2006/relationships/tags" Target="../tags/tag39.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1.xml"/><Relationship Id="rId1" Type="http://schemas.openxmlformats.org/officeDocument/2006/relationships/tags" Target="../tags/tag40.xml"/></Relationships>
</file>

<file path=ppt/slides/_rels/slide3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Layout" Target="../slideLayouts/slideLayout3.xml"/><Relationship Id="rId1" Type="http://schemas.openxmlformats.org/officeDocument/2006/relationships/tags" Target="../tags/tag42.xml"/></Relationships>
</file>

<file path=ppt/slides/_rels/slide38.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43.xml"/></Relationships>
</file>

<file path=ppt/slides/_rels/slide3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Layout" Target="../slideLayouts/slideLayout3.xml"/><Relationship Id="rId1" Type="http://schemas.openxmlformats.org/officeDocument/2006/relationships/tags" Target="../tags/tag44.xml"/></Relationships>
</file>

<file path=ppt/slides/_rels/slide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Layout" Target="../slideLayouts/slideLayout3.xml"/><Relationship Id="rId1" Type="http://schemas.openxmlformats.org/officeDocument/2006/relationships/tags" Target="../tags/tag8.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6.xml"/><Relationship Id="rId1" Type="http://schemas.openxmlformats.org/officeDocument/2006/relationships/tags" Target="../tags/tag45.xml"/><Relationship Id="rId4" Type="http://schemas.openxmlformats.org/officeDocument/2006/relationships/image" Target="../media/image39.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vmlDrawing" Target="../drawings/vmlDrawing2.vml"/><Relationship Id="rId1" Type="http://schemas.openxmlformats.org/officeDocument/2006/relationships/themeOverride" Target="../theme/themeOverride5.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48.xml"/></Relationships>
</file>

<file path=ppt/slides/_rels/slide44.xml.rels><?xml version="1.0" encoding="UTF-8" standalone="yes"?>
<Relationships xmlns="http://schemas.openxmlformats.org/package/2006/relationships"><Relationship Id="rId3" Type="http://schemas.openxmlformats.org/officeDocument/2006/relationships/hyperlink" Target="http://www.islide.cc/" TargetMode="External"/><Relationship Id="rId2" Type="http://schemas.openxmlformats.org/officeDocument/2006/relationships/slideLayout" Target="../slideLayouts/slideLayout5.xml"/><Relationship Id="rId1" Type="http://schemas.openxmlformats.org/officeDocument/2006/relationships/tags" Target="../tags/tag49.xml"/></Relationships>
</file>

<file path=ppt/slides/_rels/slide45.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50.xml"/></Relationships>
</file>

<file path=ppt/slides/_rels/slide46.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51.xml"/></Relationships>
</file>

<file path=ppt/slides/_rels/slide4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slideLayout" Target="../slideLayouts/slideLayout5.xml"/><Relationship Id="rId1" Type="http://schemas.openxmlformats.org/officeDocument/2006/relationships/tags" Target="../tags/tag52.xml"/></Relationships>
</file>

<file path=ppt/slides/_rels/slide4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slideLayout" Target="../slideLayouts/slideLayout5.xml"/><Relationship Id="rId1" Type="http://schemas.openxmlformats.org/officeDocument/2006/relationships/tags" Target="../tags/tag53.xml"/></Relationships>
</file>

<file path=ppt/slides/_rels/slide49.xml.rels><?xml version="1.0" encoding="UTF-8" standalone="yes"?>
<Relationships xmlns="http://schemas.openxmlformats.org/package/2006/relationships"><Relationship Id="rId3" Type="http://schemas.openxmlformats.org/officeDocument/2006/relationships/hyperlink" Target="http://www.islide.cc/" TargetMode="External"/><Relationship Id="rId2" Type="http://schemas.openxmlformats.org/officeDocument/2006/relationships/slideLayout" Target="../slideLayouts/slideLayout5.xml"/><Relationship Id="rId1" Type="http://schemas.openxmlformats.org/officeDocument/2006/relationships/tags" Target="../tags/tag54.xml"/><Relationship Id="rId4" Type="http://schemas.openxmlformats.org/officeDocument/2006/relationships/image" Target="../media/image42.png"/></Relationships>
</file>

<file path=ppt/slides/_rels/slide5.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slideLayout" Target="../slideLayouts/slideLayout3.xml"/><Relationship Id="rId1" Type="http://schemas.openxmlformats.org/officeDocument/2006/relationships/tags" Target="../tags/tag9.xml"/></Relationships>
</file>

<file path=ppt/slides/_rels/slide6.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Layout" Target="../slideLayouts/slideLayout3.xml"/><Relationship Id="rId1" Type="http://schemas.openxmlformats.org/officeDocument/2006/relationships/tags" Target="../tags/tag10.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xml"/><Relationship Id="rId1" Type="http://schemas.openxmlformats.org/officeDocument/2006/relationships/themeOverride" Target="../theme/themeOverride4.xml"/></Relationships>
</file>

<file path=ppt/slides/_rels/slide8.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slideLayout" Target="../slideLayouts/slideLayout3.xml"/><Relationship Id="rId1" Type="http://schemas.openxmlformats.org/officeDocument/2006/relationships/tags" Target="../tags/tag12.xml"/></Relationships>
</file>

<file path=ppt/slides/_rels/slide9.xml.rels><?xml version="1.0" encoding="UTF-8" standalone="yes"?>
<Relationships xmlns="http://schemas.openxmlformats.org/package/2006/relationships"><Relationship Id="rId3" Type="http://schemas.openxmlformats.org/officeDocument/2006/relationships/image" Target="../media/image7.gif"/><Relationship Id="rId2" Type="http://schemas.openxmlformats.org/officeDocument/2006/relationships/slideLayout" Target="../slideLayouts/slideLayout3.xml"/><Relationship Id="rId1" Type="http://schemas.openxmlformats.org/officeDocument/2006/relationships/tags" Target="../tags/tag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îSḷíḑe"/>
        <p:cNvGrpSpPr/>
        <p:nvPr/>
      </p:nvGrpSpPr>
      <p:grpSpPr>
        <a:xfrm>
          <a:off x="0" y="0"/>
          <a:ext cx="0" cy="0"/>
          <a:chOff x="0" y="0"/>
          <a:chExt cx="0" cy="0"/>
        </a:xfrm>
      </p:grpSpPr>
      <p:graphicFrame>
        <p:nvGraphicFramePr>
          <p:cNvPr id="3" name="íṩ1ídè" hidden="1">
            <a:extLst>
              <a:ext uri="{FF2B5EF4-FFF2-40B4-BE49-F238E27FC236}">
                <a16:creationId xmlns="" xmlns:p14="http://schemas.microsoft.com/office/powerpoint/2010/main" xmlns:mc="http://schemas.openxmlformats.org/markup-compatibility/2006" xmlns:v="urn:schemas-microsoft-com:vml" xmlns:a16="http://schemas.microsoft.com/office/drawing/2014/main" id="{3C326D0B-7DAB-41B6-8030-2E4A18CC949B}"/>
              </a:ext>
            </a:extLst>
          </p:cNvPr>
          <p:cNvGraphicFramePr>
            <a:graphicFrameLocks noChangeAspect="1"/>
          </p:cNvGraphicFramePr>
          <p:nvPr>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9" name="think-cell Slide" r:id="rId5" imgW="347" imgH="348" progId="TCLayout.ActiveDocument.1">
                  <p:embed/>
                </p:oleObj>
              </mc:Choice>
              <mc:Fallback>
                <p:oleObj name="think-cell Slide" r:id="rId5" imgW="347" imgH="348" progId="TCLayout.ActiveDocument.1">
                  <p:embed/>
                  <p:pic>
                    <p:nvPicPr>
                      <p:cNvPr id="3" name="îŝļíde" hidden="1">
                        <a:extLst>
                          <a:ext uri="{FF2B5EF4-FFF2-40B4-BE49-F238E27FC236}">
                            <a16:creationId xmlns="" xmlns:p14="http://schemas.microsoft.com/office/powerpoint/2010/main" xmlns:v="urn:schemas-microsoft-com:vml" xmlns:a16="http://schemas.microsoft.com/office/drawing/2014/main" id="{3C326D0B-7DAB-41B6-8030-2E4A18CC94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ísľiďè" hidden="1">
            <a:extLst>
              <a:ext uri="{FF2B5EF4-FFF2-40B4-BE49-F238E27FC236}">
                <a16:creationId xmlns="" xmlns:p14="http://schemas.microsoft.com/office/powerpoint/2010/main" xmlns:mc="http://schemas.openxmlformats.org/markup-compatibility/2006" xmlns:v="urn:schemas-microsoft-com:vml" xmlns:a16="http://schemas.microsoft.com/office/drawing/2014/main" id="{EC933494-1B63-4A32-964F-D05236799BA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ïṥḻîdè"/>
          <p:cNvSpPr>
            <a:spLocks noGrp="1"/>
          </p:cNvSpPr>
          <p:nvPr>
            <p:ph type="subTitle" idx="1"/>
          </p:nvPr>
        </p:nvSpPr>
        <p:spPr/>
        <p:txBody>
          <a:bodyPr/>
          <a:lstStyle/>
          <a:p>
            <a:pPr algn="ctr"/>
            <a:r>
              <a:rPr lang="en-US" altLang="zh-CN" dirty="0"/>
              <a:t>Transformer</a:t>
            </a:r>
          </a:p>
        </p:txBody>
      </p:sp>
      <p:sp>
        <p:nvSpPr>
          <p:cNvPr id="4" name="i$ḻïḑe"/>
          <p:cNvSpPr>
            <a:spLocks noGrp="1"/>
          </p:cNvSpPr>
          <p:nvPr>
            <p:ph type="ctrTitle"/>
          </p:nvPr>
        </p:nvSpPr>
        <p:spPr/>
        <p:txBody>
          <a:bodyPr>
            <a:normAutofit/>
          </a:bodyPr>
          <a:lstStyle/>
          <a:p>
            <a:pPr lvl="0">
              <a:defRPr/>
            </a:pPr>
            <a:r>
              <a:rPr lang="en-US" altLang="zh-CN" sz="5400" dirty="0"/>
              <a:t>Transformer </a:t>
            </a:r>
            <a:r>
              <a:rPr lang="zh-TW" altLang="en-US" sz="5400" dirty="0"/>
              <a:t>模型 簡介</a:t>
            </a:r>
            <a:endParaRPr lang="zh-CN" altLang="en-US" dirty="0">
              <a:latin typeface="Arial"/>
            </a:endParaRPr>
          </a:p>
        </p:txBody>
      </p:sp>
      <p:sp>
        <p:nvSpPr>
          <p:cNvPr id="6" name="isḷiḑé"/>
          <p:cNvSpPr>
            <a:spLocks noGrp="1"/>
          </p:cNvSpPr>
          <p:nvPr>
            <p:ph type="body" sz="quarter" idx="10"/>
          </p:nvPr>
        </p:nvSpPr>
        <p:spPr/>
        <p:txBody>
          <a:bodyPr/>
          <a:lstStyle/>
          <a:p>
            <a:r>
              <a:rPr lang="en-US" altLang="zh-CN" dirty="0" smtClean="0"/>
              <a:t>Sean, 23742</a:t>
            </a:r>
            <a:endParaRPr lang="en-US" altLang="zh-CN" dirty="0"/>
          </a:p>
        </p:txBody>
      </p:sp>
      <p:sp>
        <p:nvSpPr>
          <p:cNvPr id="8" name="文字版面配置區 7"/>
          <p:cNvSpPr>
            <a:spLocks noGrp="1"/>
          </p:cNvSpPr>
          <p:nvPr>
            <p:ph type="body" sz="quarter" idx="11"/>
          </p:nvPr>
        </p:nvSpPr>
        <p:spPr/>
        <p:txBody>
          <a:bodyPr/>
          <a:lstStyle/>
          <a:p>
            <a:endParaRPr lang="zh-TW" altLang="en-US"/>
          </a:p>
        </p:txBody>
      </p:sp>
    </p:spTree>
    <p:custDataLst>
      <p:tags r:id="rId3"/>
    </p:custDataLst>
    <p:extLst>
      <p:ext uri="{BB962C8B-B14F-4D97-AF65-F5344CB8AC3E}">
        <p14:creationId xmlns:p14="http://schemas.microsoft.com/office/powerpoint/2010/main" val="227174189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4" name="ïṩḷidê">
            <a:extLst>
              <a:ext uri="{FF2B5EF4-FFF2-40B4-BE49-F238E27FC236}">
                <a16:creationId xmlns="" xmlns:p14="http://schemas.microsoft.com/office/powerpoint/2010/main" xmlns:a16="http://schemas.microsoft.com/office/drawing/2014/main" id="{625D0406-0787-4EE6-9393-820D5CE03187}"/>
              </a:ext>
            </a:extLst>
          </p:cNvPr>
          <p:cNvSpPr>
            <a:spLocks noGrp="1"/>
          </p:cNvSpPr>
          <p:nvPr>
            <p:ph type="sldNum" sz="quarter" idx="12"/>
          </p:nvPr>
        </p:nvSpPr>
        <p:spPr/>
        <p:txBody>
          <a:bodyPr/>
          <a:lstStyle/>
          <a:p>
            <a:fld id="{5DD3DB80-B894-403A-B48E-6FDC1A72010E}" type="slidenum">
              <a:rPr lang="zh-CN" altLang="en-US" smtClean="0"/>
              <a:pPr/>
              <a:t>10</a:t>
            </a:fld>
            <a:endParaRPr lang="zh-CN" altLang="en-US"/>
          </a:p>
        </p:txBody>
      </p:sp>
      <p:sp>
        <p:nvSpPr>
          <p:cNvPr id="2" name="íṣľiḑe">
            <a:extLst>
              <a:ext uri="{FF2B5EF4-FFF2-40B4-BE49-F238E27FC236}">
                <a16:creationId xmlns="" xmlns:p14="http://schemas.microsoft.com/office/powerpoint/2010/main" xmlns:a16="http://schemas.microsoft.com/office/drawing/2014/main" id="{8AC4395B-A0A0-4D81-B628-E4F9AB374736}"/>
              </a:ext>
            </a:extLst>
          </p:cNvPr>
          <p:cNvSpPr>
            <a:spLocks noGrp="1"/>
          </p:cNvSpPr>
          <p:nvPr>
            <p:ph type="title"/>
          </p:nvPr>
        </p:nvSpPr>
        <p:spPr/>
        <p:txBody>
          <a:bodyPr/>
          <a:lstStyle/>
          <a:p>
            <a:r>
              <a:rPr lang="zh-CN" altLang="en-US" dirty="0"/>
              <a:t>注意力的概念</a:t>
            </a:r>
          </a:p>
        </p:txBody>
      </p:sp>
      <p:sp>
        <p:nvSpPr>
          <p:cNvPr id="5" name="內容版面配置區 4"/>
          <p:cNvSpPr>
            <a:spLocks noGrp="1"/>
          </p:cNvSpPr>
          <p:nvPr>
            <p:ph sz="quarter" idx="13"/>
          </p:nvPr>
        </p:nvSpPr>
        <p:spPr/>
        <p:txBody>
          <a:bodyPr/>
          <a:lstStyle/>
          <a:p>
            <a:r>
              <a:rPr lang="en-US" altLang="zh-TW" dirty="0"/>
              <a:t>Encoder </a:t>
            </a:r>
            <a:r>
              <a:rPr lang="zh-TW" altLang="en-US" dirty="0"/>
              <a:t>把處理完每個詞彙所產生的向量都交給 </a:t>
            </a:r>
            <a:r>
              <a:rPr lang="en-US" altLang="zh-TW" dirty="0"/>
              <a:t>Decoder </a:t>
            </a:r>
            <a:r>
              <a:rPr lang="zh-TW" altLang="en-US" dirty="0"/>
              <a:t>了。且透過注意力機制，</a:t>
            </a:r>
            <a:r>
              <a:rPr lang="en-US" altLang="zh-TW" dirty="0"/>
              <a:t>Decoder </a:t>
            </a:r>
            <a:r>
              <a:rPr lang="zh-TW" altLang="en-US" dirty="0"/>
              <a:t>在生成新序列的每個元素時都能**動態地**考慮自己要看哪些 </a:t>
            </a:r>
            <a:r>
              <a:rPr lang="en-US" altLang="zh-TW" dirty="0"/>
              <a:t>Encoder </a:t>
            </a:r>
            <a:r>
              <a:rPr lang="zh-TW" altLang="en-US" dirty="0"/>
              <a:t>的向量（還有決定從中該擷取多少資訊）</a:t>
            </a:r>
          </a:p>
          <a:p>
            <a:endParaRPr lang="zh-TW" altLang="en-US" dirty="0"/>
          </a:p>
          <a:p>
            <a:endParaRPr lang="en-US" altLang="zh-TW" dirty="0"/>
          </a:p>
          <a:p>
            <a:endParaRPr lang="zh-TW" altLang="en-US" dirty="0"/>
          </a:p>
        </p:txBody>
      </p:sp>
      <p:pic>
        <p:nvPicPr>
          <p:cNvPr id="7" name="圖片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87995" y="2037132"/>
            <a:ext cx="7877638" cy="3481166"/>
          </a:xfrm>
          <a:prstGeom prst="rect">
            <a:avLst/>
          </a:prstGeom>
        </p:spPr>
      </p:pic>
    </p:spTree>
    <p:custDataLst>
      <p:tags r:id="rId1"/>
    </p:custDataLst>
    <p:extLst>
      <p:ext uri="{BB962C8B-B14F-4D97-AF65-F5344CB8AC3E}">
        <p14:creationId xmlns:p14="http://schemas.microsoft.com/office/powerpoint/2010/main" val="148730438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4" name="ïṩḷidê">
            <a:extLst>
              <a:ext uri="{FF2B5EF4-FFF2-40B4-BE49-F238E27FC236}">
                <a16:creationId xmlns="" xmlns:p14="http://schemas.microsoft.com/office/powerpoint/2010/main" xmlns:a16="http://schemas.microsoft.com/office/drawing/2014/main" id="{625D0406-0787-4EE6-9393-820D5CE03187}"/>
              </a:ext>
            </a:extLst>
          </p:cNvPr>
          <p:cNvSpPr>
            <a:spLocks noGrp="1"/>
          </p:cNvSpPr>
          <p:nvPr>
            <p:ph type="sldNum" sz="quarter" idx="12"/>
          </p:nvPr>
        </p:nvSpPr>
        <p:spPr/>
        <p:txBody>
          <a:bodyPr/>
          <a:lstStyle/>
          <a:p>
            <a:fld id="{5DD3DB80-B894-403A-B48E-6FDC1A72010E}" type="slidenum">
              <a:rPr lang="zh-CN" altLang="en-US" smtClean="0"/>
              <a:pPr/>
              <a:t>11</a:t>
            </a:fld>
            <a:endParaRPr lang="zh-CN" altLang="en-US"/>
          </a:p>
        </p:txBody>
      </p:sp>
      <p:sp>
        <p:nvSpPr>
          <p:cNvPr id="2" name="íṣľiḑe">
            <a:extLst>
              <a:ext uri="{FF2B5EF4-FFF2-40B4-BE49-F238E27FC236}">
                <a16:creationId xmlns="" xmlns:p14="http://schemas.microsoft.com/office/powerpoint/2010/main" xmlns:a16="http://schemas.microsoft.com/office/drawing/2014/main" id="{8AC4395B-A0A0-4D81-B628-E4F9AB374736}"/>
              </a:ext>
            </a:extLst>
          </p:cNvPr>
          <p:cNvSpPr>
            <a:spLocks noGrp="1"/>
          </p:cNvSpPr>
          <p:nvPr>
            <p:ph type="title"/>
          </p:nvPr>
        </p:nvSpPr>
        <p:spPr/>
        <p:txBody>
          <a:bodyPr/>
          <a:lstStyle/>
          <a:p>
            <a:r>
              <a:rPr lang="zh-CN" altLang="en-US" dirty="0"/>
              <a:t>注意力的概念</a:t>
            </a:r>
          </a:p>
        </p:txBody>
      </p:sp>
      <p:sp>
        <p:nvSpPr>
          <p:cNvPr id="5" name="內容版面配置區 4"/>
          <p:cNvSpPr>
            <a:spLocks noGrp="1"/>
          </p:cNvSpPr>
          <p:nvPr>
            <p:ph sz="quarter" idx="13"/>
          </p:nvPr>
        </p:nvSpPr>
        <p:spPr/>
        <p:txBody>
          <a:bodyPr/>
          <a:lstStyle/>
          <a:p>
            <a:r>
              <a:rPr lang="zh-TW" altLang="en-US" dirty="0"/>
              <a:t>既然是深度學習，</a:t>
            </a:r>
            <a:r>
              <a:rPr lang="en-US" altLang="zh-TW" dirty="0"/>
              <a:t>Encoder / Decoder </a:t>
            </a:r>
            <a:r>
              <a:rPr lang="zh-TW" altLang="en-US" dirty="0"/>
              <a:t>一般來說都是由多個 </a:t>
            </a:r>
            <a:r>
              <a:rPr lang="en-US" altLang="zh-TW" dirty="0">
                <a:hlinkClick r:id="rId3"/>
              </a:rPr>
              <a:t>LSTM</a:t>
            </a:r>
            <a:r>
              <a:rPr lang="zh-TW" altLang="en-US" dirty="0"/>
              <a:t> </a:t>
            </a:r>
            <a:r>
              <a:rPr lang="en-US" altLang="zh-TW" dirty="0"/>
              <a:t>/ </a:t>
            </a:r>
            <a:r>
              <a:rPr lang="en-US" altLang="zh-TW" dirty="0">
                <a:hlinkClick r:id="rId4"/>
              </a:rPr>
              <a:t>GRU</a:t>
            </a:r>
            <a:r>
              <a:rPr lang="zh-TW" altLang="en-US" dirty="0"/>
              <a:t> 等 </a:t>
            </a:r>
            <a:r>
              <a:rPr lang="en-US" altLang="zh-TW" dirty="0"/>
              <a:t>RNN Layers </a:t>
            </a:r>
            <a:r>
              <a:rPr lang="zh-TW" altLang="en-US" dirty="0"/>
              <a:t>所疊起來的。而注意力機制在這種情境下實際的運作方式如下</a:t>
            </a:r>
            <a:r>
              <a:rPr lang="zh-TW" altLang="en-US" dirty="0" smtClean="0"/>
              <a:t>：</a:t>
            </a:r>
            <a:endParaRPr lang="en-US" altLang="zh-TW" dirty="0" smtClean="0"/>
          </a:p>
          <a:p>
            <a:endParaRPr lang="en-US" altLang="zh-TW" dirty="0"/>
          </a:p>
          <a:p>
            <a:endParaRPr lang="en-US" altLang="zh-TW" dirty="0" smtClean="0"/>
          </a:p>
          <a:p>
            <a:endParaRPr lang="en-US" altLang="zh-TW" dirty="0"/>
          </a:p>
          <a:p>
            <a:endParaRPr lang="en-US" altLang="zh-TW" dirty="0" smtClean="0"/>
          </a:p>
          <a:p>
            <a:endParaRPr lang="en-US" altLang="zh-TW" dirty="0"/>
          </a:p>
          <a:p>
            <a:endParaRPr lang="en-US" altLang="zh-TW" dirty="0" smtClean="0"/>
          </a:p>
          <a:p>
            <a:endParaRPr lang="en-US" altLang="zh-TW" dirty="0"/>
          </a:p>
          <a:p>
            <a:endParaRPr lang="en-US" altLang="zh-TW" dirty="0" smtClean="0"/>
          </a:p>
          <a:p>
            <a:endParaRPr lang="en-US" altLang="zh-TW" dirty="0"/>
          </a:p>
          <a:p>
            <a:endParaRPr lang="en-US" altLang="zh-TW" dirty="0" smtClean="0"/>
          </a:p>
          <a:p>
            <a:r>
              <a:rPr lang="zh-TW" altLang="en-US" dirty="0"/>
              <a:t>英翻法情境下，</a:t>
            </a:r>
            <a:r>
              <a:rPr lang="en-US" altLang="zh-TW" dirty="0"/>
              <a:t>Decoder </a:t>
            </a:r>
            <a:r>
              <a:rPr lang="zh-TW" altLang="en-US" dirty="0"/>
              <a:t>在第一個時間點進行的注意力機制</a:t>
            </a:r>
            <a:r>
              <a:rPr lang="en-US" altLang="zh-TW" dirty="0"/>
              <a:t>, </a:t>
            </a:r>
            <a:r>
              <a:rPr lang="zh-TW" altLang="en-US" dirty="0"/>
              <a:t>左右兩邊分別是 </a:t>
            </a:r>
            <a:r>
              <a:rPr lang="en-US" altLang="zh-TW" dirty="0"/>
              <a:t>Encoder </a:t>
            </a:r>
            <a:r>
              <a:rPr lang="zh-TW" altLang="en-US" dirty="0"/>
              <a:t>與 </a:t>
            </a:r>
            <a:r>
              <a:rPr lang="en-US" altLang="zh-TW" dirty="0"/>
              <a:t>Decoder </a:t>
            </a:r>
            <a:r>
              <a:rPr lang="zh-TW" altLang="en-US" dirty="0"/>
              <a:t>，縱軸則是多層的神經網路區塊 </a:t>
            </a:r>
            <a:r>
              <a:rPr lang="en-US" altLang="zh-TW" dirty="0"/>
              <a:t>/ </a:t>
            </a:r>
            <a:r>
              <a:rPr lang="zh-TW" altLang="en-US" dirty="0"/>
              <a:t>層。</a:t>
            </a:r>
            <a:endParaRPr lang="en-US" altLang="zh-TW" dirty="0"/>
          </a:p>
          <a:p>
            <a:endParaRPr lang="zh-TW" altLang="en-US" dirty="0"/>
          </a:p>
          <a:p>
            <a:endParaRPr lang="en-US" altLang="zh-TW" dirty="0"/>
          </a:p>
          <a:p>
            <a:endParaRPr lang="zh-TW" altLang="en-US" dirty="0"/>
          </a:p>
        </p:txBody>
      </p:sp>
      <p:pic>
        <p:nvPicPr>
          <p:cNvPr id="9218" name="Picture 2" descr="E:\Delete\git_r\two_month_report\202011_2021_1\11_31_to_12_4_fifth\img\attention_mechanism_luong.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91786" y="1664158"/>
            <a:ext cx="5645888" cy="3850432"/>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3251942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
                                            <p:txEl>
                                              <p:pRg st="11" end="11"/>
                                            </p:txEl>
                                          </p:spTgt>
                                        </p:tgtEl>
                                        <p:attrNameLst>
                                          <p:attrName>style.visibility</p:attrName>
                                        </p:attrNameLst>
                                      </p:cBhvr>
                                      <p:to>
                                        <p:strVal val="visible"/>
                                      </p:to>
                                    </p:set>
                                    <p:animEffect transition="in" filter="fade">
                                      <p:cBhvr>
                                        <p:cTn id="7" dur="1000"/>
                                        <p:tgtEl>
                                          <p:spTgt spid="5">
                                            <p:txEl>
                                              <p:pRg st="11" end="11"/>
                                            </p:txEl>
                                          </p:spTgt>
                                        </p:tgtEl>
                                      </p:cBhvr>
                                    </p:animEffect>
                                    <p:anim calcmode="lin" valueType="num">
                                      <p:cBhvr>
                                        <p:cTn id="8" dur="1000" fill="hold"/>
                                        <p:tgtEl>
                                          <p:spTgt spid="5">
                                            <p:txEl>
                                              <p:pRg st="11" end="11"/>
                                            </p:txEl>
                                          </p:spTgt>
                                        </p:tgtEl>
                                        <p:attrNameLst>
                                          <p:attrName>ppt_x</p:attrName>
                                        </p:attrNameLst>
                                      </p:cBhvr>
                                      <p:tavLst>
                                        <p:tav tm="0">
                                          <p:val>
                                            <p:strVal val="#ppt_x"/>
                                          </p:val>
                                        </p:tav>
                                        <p:tav tm="100000">
                                          <p:val>
                                            <p:strVal val="#ppt_x"/>
                                          </p:val>
                                        </p:tav>
                                      </p:tavLst>
                                    </p:anim>
                                    <p:anim calcmode="lin" valueType="num">
                                      <p:cBhvr>
                                        <p:cTn id="9" dur="1000" fill="hold"/>
                                        <p:tgtEl>
                                          <p:spTgt spid="5">
                                            <p:txEl>
                                              <p:pRg st="11" end="1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4" name="ïṩḷidê">
            <a:extLst>
              <a:ext uri="{FF2B5EF4-FFF2-40B4-BE49-F238E27FC236}">
                <a16:creationId xmlns="" xmlns:p14="http://schemas.microsoft.com/office/powerpoint/2010/main" xmlns:a16="http://schemas.microsoft.com/office/drawing/2014/main" id="{625D0406-0787-4EE6-9393-820D5CE03187}"/>
              </a:ext>
            </a:extLst>
          </p:cNvPr>
          <p:cNvSpPr>
            <a:spLocks noGrp="1"/>
          </p:cNvSpPr>
          <p:nvPr>
            <p:ph type="sldNum" sz="quarter" idx="12"/>
          </p:nvPr>
        </p:nvSpPr>
        <p:spPr/>
        <p:txBody>
          <a:bodyPr/>
          <a:lstStyle/>
          <a:p>
            <a:fld id="{5DD3DB80-B894-403A-B48E-6FDC1A72010E}" type="slidenum">
              <a:rPr lang="zh-CN" altLang="en-US" smtClean="0"/>
              <a:pPr/>
              <a:t>12</a:t>
            </a:fld>
            <a:endParaRPr lang="zh-CN" altLang="en-US"/>
          </a:p>
        </p:txBody>
      </p:sp>
      <p:sp>
        <p:nvSpPr>
          <p:cNvPr id="2" name="íṣľiḑe">
            <a:extLst>
              <a:ext uri="{FF2B5EF4-FFF2-40B4-BE49-F238E27FC236}">
                <a16:creationId xmlns="" xmlns:p14="http://schemas.microsoft.com/office/powerpoint/2010/main" xmlns:a16="http://schemas.microsoft.com/office/drawing/2014/main" id="{8AC4395B-A0A0-4D81-B628-E4F9AB374736}"/>
              </a:ext>
            </a:extLst>
          </p:cNvPr>
          <p:cNvSpPr>
            <a:spLocks noGrp="1"/>
          </p:cNvSpPr>
          <p:nvPr>
            <p:ph type="title"/>
          </p:nvPr>
        </p:nvSpPr>
        <p:spPr/>
        <p:txBody>
          <a:bodyPr/>
          <a:lstStyle/>
          <a:p>
            <a:r>
              <a:rPr lang="zh-CN" altLang="en-US" dirty="0"/>
              <a:t>注意力的概念</a:t>
            </a:r>
          </a:p>
        </p:txBody>
      </p:sp>
      <p:sp>
        <p:nvSpPr>
          <p:cNvPr id="5" name="內容版面配置區 4"/>
          <p:cNvSpPr>
            <a:spLocks noGrp="1"/>
          </p:cNvSpPr>
          <p:nvPr>
            <p:ph sz="quarter" idx="13"/>
          </p:nvPr>
        </p:nvSpPr>
        <p:spPr>
          <a:xfrm>
            <a:off x="669925" y="1130299"/>
            <a:ext cx="10850563" cy="5642641"/>
          </a:xfrm>
        </p:spPr>
        <p:txBody>
          <a:bodyPr/>
          <a:lstStyle/>
          <a:p>
            <a:r>
              <a:rPr lang="zh-TW" altLang="en-US" dirty="0"/>
              <a:t>注意力機制實際的計算步驟。在 </a:t>
            </a:r>
            <a:r>
              <a:rPr lang="en-US" altLang="zh-TW" dirty="0"/>
              <a:t>Decoder </a:t>
            </a:r>
            <a:r>
              <a:rPr lang="zh-TW" altLang="en-US" dirty="0"/>
              <a:t>的每個時間點，我們都會進行注意力機制以讓 </a:t>
            </a:r>
            <a:r>
              <a:rPr lang="en-US" altLang="zh-TW" dirty="0"/>
              <a:t>Decoder </a:t>
            </a:r>
            <a:r>
              <a:rPr lang="zh-TW" altLang="en-US" dirty="0"/>
              <a:t>從 </a:t>
            </a:r>
            <a:r>
              <a:rPr lang="en-US" altLang="zh-TW" dirty="0"/>
              <a:t>Encoder </a:t>
            </a:r>
            <a:r>
              <a:rPr lang="zh-TW" altLang="en-US" dirty="0"/>
              <a:t>取得語境資訊</a:t>
            </a:r>
          </a:p>
          <a:p>
            <a:endParaRPr lang="zh-TW" altLang="en-US" dirty="0"/>
          </a:p>
          <a:p>
            <a:pPr lvl="1"/>
            <a:r>
              <a:rPr lang="en-US" altLang="zh-TW" dirty="0"/>
              <a:t>1. </a:t>
            </a:r>
            <a:r>
              <a:rPr lang="zh-TW" altLang="en-US" dirty="0"/>
              <a:t>拿 </a:t>
            </a:r>
            <a:r>
              <a:rPr lang="en-US" altLang="zh-TW" dirty="0"/>
              <a:t>Decoder </a:t>
            </a:r>
            <a:r>
              <a:rPr lang="zh-TW" altLang="en-US" dirty="0"/>
              <a:t>當下的紅色隱狀態向量 </a:t>
            </a:r>
            <a:r>
              <a:rPr lang="en-US" altLang="zh-TW" dirty="0"/>
              <a:t>`</a:t>
            </a:r>
            <a:r>
              <a:rPr lang="en-US" altLang="zh-TW" dirty="0" err="1"/>
              <a:t>ht</a:t>
            </a:r>
            <a:r>
              <a:rPr lang="en-US" altLang="zh-TW" dirty="0"/>
              <a:t>` </a:t>
            </a:r>
            <a:r>
              <a:rPr lang="zh-TW" altLang="en-US" dirty="0"/>
              <a:t>跟 </a:t>
            </a:r>
            <a:r>
              <a:rPr lang="en-US" altLang="zh-TW" dirty="0"/>
              <a:t>Encoder </a:t>
            </a:r>
            <a:r>
              <a:rPr lang="zh-TW" altLang="en-US" dirty="0"/>
              <a:t>所有藍色隱狀態向量 </a:t>
            </a:r>
            <a:r>
              <a:rPr lang="en-US" altLang="zh-TW" dirty="0"/>
              <a:t>`</a:t>
            </a:r>
            <a:r>
              <a:rPr lang="en-US" altLang="zh-TW" dirty="0" err="1"/>
              <a:t>hs`</a:t>
            </a:r>
            <a:r>
              <a:rPr lang="en-US" altLang="zh-TW" dirty="0"/>
              <a:t> </a:t>
            </a:r>
            <a:r>
              <a:rPr lang="zh-TW" altLang="en-US" dirty="0"/>
              <a:t>做比較，利用 </a:t>
            </a:r>
            <a:r>
              <a:rPr lang="en-US" altLang="zh-TW" dirty="0"/>
              <a:t>`score` </a:t>
            </a:r>
            <a:r>
              <a:rPr lang="zh-TW" altLang="en-US" dirty="0"/>
              <a:t>函式計算出 </a:t>
            </a:r>
            <a:r>
              <a:rPr lang="en-US" altLang="zh-TW" dirty="0"/>
              <a:t>`</a:t>
            </a:r>
            <a:r>
              <a:rPr lang="en-US" altLang="zh-TW" dirty="0" err="1"/>
              <a:t>ht</a:t>
            </a:r>
            <a:r>
              <a:rPr lang="en-US" altLang="zh-TW" dirty="0"/>
              <a:t>` </a:t>
            </a:r>
            <a:r>
              <a:rPr lang="zh-TW" altLang="en-US" dirty="0"/>
              <a:t>對每個 </a:t>
            </a:r>
            <a:r>
              <a:rPr lang="en-US" altLang="zh-TW" dirty="0"/>
              <a:t>`</a:t>
            </a:r>
            <a:r>
              <a:rPr lang="en-US" altLang="zh-TW" dirty="0" err="1"/>
              <a:t>hs`</a:t>
            </a:r>
            <a:r>
              <a:rPr lang="en-US" altLang="zh-TW" dirty="0"/>
              <a:t> </a:t>
            </a:r>
            <a:r>
              <a:rPr lang="zh-TW" altLang="en-US" dirty="0"/>
              <a:t>的注意程度</a:t>
            </a:r>
          </a:p>
          <a:p>
            <a:pPr lvl="1"/>
            <a:r>
              <a:rPr lang="en-US" altLang="zh-TW" dirty="0"/>
              <a:t>2. </a:t>
            </a:r>
            <a:r>
              <a:rPr lang="zh-TW" altLang="en-US" dirty="0"/>
              <a:t>以此注意程度為權重，**加權平均**所有 </a:t>
            </a:r>
            <a:r>
              <a:rPr lang="en-US" altLang="zh-TW" dirty="0"/>
              <a:t>Encoder </a:t>
            </a:r>
            <a:r>
              <a:rPr lang="zh-TW" altLang="en-US" dirty="0"/>
              <a:t>隱狀態 </a:t>
            </a:r>
            <a:r>
              <a:rPr lang="en-US" altLang="zh-TW" dirty="0"/>
              <a:t>`</a:t>
            </a:r>
            <a:r>
              <a:rPr lang="en-US" altLang="zh-TW" dirty="0" err="1"/>
              <a:t>hs`</a:t>
            </a:r>
            <a:r>
              <a:rPr lang="en-US" altLang="zh-TW" dirty="0"/>
              <a:t> </a:t>
            </a:r>
            <a:r>
              <a:rPr lang="zh-TW" altLang="en-US" dirty="0"/>
              <a:t>以取得上下文向量 </a:t>
            </a:r>
            <a:r>
              <a:rPr lang="en-US" altLang="zh-TW" dirty="0"/>
              <a:t>`context vector`</a:t>
            </a:r>
          </a:p>
          <a:p>
            <a:pPr lvl="1"/>
            <a:r>
              <a:rPr lang="en-US" altLang="zh-TW" dirty="0"/>
              <a:t>3. </a:t>
            </a:r>
            <a:r>
              <a:rPr lang="zh-TW" altLang="en-US" dirty="0"/>
              <a:t>將此上下文向量與 </a:t>
            </a:r>
            <a:r>
              <a:rPr lang="en-US" altLang="zh-TW" dirty="0"/>
              <a:t>Decoder </a:t>
            </a:r>
            <a:r>
              <a:rPr lang="zh-TW" altLang="en-US" dirty="0"/>
              <a:t>隱狀態結合成一個注意向量 </a:t>
            </a:r>
            <a:r>
              <a:rPr lang="en-US" altLang="zh-TW" dirty="0"/>
              <a:t>`attention vector` </a:t>
            </a:r>
            <a:r>
              <a:rPr lang="zh-TW" altLang="en-US" dirty="0"/>
              <a:t>並作為該時間的輸出</a:t>
            </a:r>
          </a:p>
          <a:p>
            <a:pPr lvl="1"/>
            <a:r>
              <a:rPr lang="en-US" altLang="zh-TW" dirty="0"/>
              <a:t>4. </a:t>
            </a:r>
            <a:r>
              <a:rPr lang="zh-TW" altLang="en-US" dirty="0"/>
              <a:t>該注意向量會作為 </a:t>
            </a:r>
            <a:r>
              <a:rPr lang="en-US" altLang="zh-TW" dirty="0"/>
              <a:t>Decoder </a:t>
            </a:r>
            <a:r>
              <a:rPr lang="zh-TW" altLang="en-US" dirty="0"/>
              <a:t>下個時間點的</a:t>
            </a:r>
            <a:r>
              <a:rPr lang="zh-TW" altLang="en-US" dirty="0" smtClean="0"/>
              <a:t>輸入</a:t>
            </a:r>
            <a:endParaRPr lang="en-US" altLang="zh-TW" dirty="0"/>
          </a:p>
          <a:p>
            <a:pPr marL="457177" lvl="1" indent="0">
              <a:buNone/>
            </a:pPr>
            <a:endParaRPr lang="en-US" altLang="zh-TW" dirty="0" smtClean="0"/>
          </a:p>
          <a:p>
            <a:pPr marL="457177" lvl="1" indent="0">
              <a:buNone/>
            </a:pPr>
            <a:endParaRPr lang="en-US" altLang="zh-TW" dirty="0"/>
          </a:p>
          <a:p>
            <a:pPr marL="457177" lvl="1" indent="0">
              <a:buNone/>
            </a:pPr>
            <a:endParaRPr lang="en-US" altLang="zh-TW" dirty="0" smtClean="0"/>
          </a:p>
          <a:p>
            <a:pPr marL="457177" lvl="1" indent="0">
              <a:buNone/>
            </a:pPr>
            <a:endParaRPr lang="en-US" altLang="zh-TW" dirty="0"/>
          </a:p>
          <a:p>
            <a:pPr marL="457177" lvl="1" indent="0">
              <a:buNone/>
            </a:pPr>
            <a:endParaRPr lang="en-US" altLang="zh-TW" dirty="0" smtClean="0"/>
          </a:p>
          <a:p>
            <a:pPr marL="457177" lvl="1" indent="0">
              <a:buNone/>
            </a:pPr>
            <a:endParaRPr lang="en-US" altLang="zh-TW" dirty="0"/>
          </a:p>
          <a:p>
            <a:pPr marL="457177" lvl="1" indent="0">
              <a:buNone/>
            </a:pPr>
            <a:endParaRPr lang="en-US" altLang="zh-TW" dirty="0" smtClean="0"/>
          </a:p>
          <a:p>
            <a:pPr marL="457177" lvl="1" indent="0">
              <a:buNone/>
            </a:pPr>
            <a:endParaRPr lang="en-US" altLang="zh-TW" dirty="0"/>
          </a:p>
          <a:p>
            <a:pPr marL="457177" lvl="1" indent="0">
              <a:buNone/>
            </a:pPr>
            <a:endParaRPr lang="en-US" altLang="zh-TW" dirty="0"/>
          </a:p>
          <a:p>
            <a:pPr lvl="1"/>
            <a:r>
              <a:rPr lang="zh-TW" altLang="en-US" dirty="0"/>
              <a:t>所以稱為注意權重（</a:t>
            </a:r>
            <a:r>
              <a:rPr lang="en-US" altLang="zh-TW" dirty="0"/>
              <a:t>attention weights</a:t>
            </a:r>
            <a:r>
              <a:rPr lang="zh-TW" altLang="en-US" dirty="0"/>
              <a:t>），是因為注意力機制可以被視為是一個學習來源語言和目標語言**每一個單詞之間關係**的小型神經網路，而這些權重是該神經網路的參數。</a:t>
            </a:r>
            <a:endParaRPr lang="en-US" altLang="zh-TW" dirty="0" smtClean="0"/>
          </a:p>
          <a:p>
            <a:pPr lvl="1"/>
            <a:endParaRPr lang="en-US" altLang="zh-TW" dirty="0"/>
          </a:p>
          <a:p>
            <a:pPr lvl="1"/>
            <a:endParaRPr lang="en-US" altLang="zh-TW" dirty="0" smtClean="0"/>
          </a:p>
          <a:p>
            <a:pPr lvl="1"/>
            <a:endParaRPr lang="en-US" altLang="zh-TW" dirty="0"/>
          </a:p>
          <a:p>
            <a:pPr lvl="1"/>
            <a:endParaRPr lang="en-US" altLang="zh-TW" dirty="0" smtClean="0"/>
          </a:p>
          <a:p>
            <a:pPr lvl="1"/>
            <a:endParaRPr lang="en-US" altLang="zh-TW" dirty="0"/>
          </a:p>
          <a:p>
            <a:pPr lvl="1"/>
            <a:endParaRPr lang="en-US" altLang="zh-TW" dirty="0" smtClean="0"/>
          </a:p>
          <a:p>
            <a:pPr lvl="1"/>
            <a:endParaRPr lang="en-US" altLang="zh-TW" dirty="0"/>
          </a:p>
          <a:p>
            <a:pPr lvl="1"/>
            <a:endParaRPr lang="en-US" altLang="zh-TW" dirty="0" smtClean="0"/>
          </a:p>
          <a:p>
            <a:pPr lvl="1"/>
            <a:endParaRPr lang="zh-TW" altLang="en-US" dirty="0"/>
          </a:p>
          <a:p>
            <a:endParaRPr lang="en-US" altLang="zh-TW" dirty="0"/>
          </a:p>
          <a:p>
            <a:endParaRPr lang="zh-TW" altLang="en-US" dirty="0"/>
          </a:p>
        </p:txBody>
      </p:sp>
      <p:pic>
        <p:nvPicPr>
          <p:cNvPr id="10242" name="Picture 2" descr="E:\Delete\git_r\two_month_report\202011_2021_1\11_31_to_12_4_fifth\img\attention-equation.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9913" y="3894655"/>
            <a:ext cx="10382251" cy="2076450"/>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7507291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242"/>
                                        </p:tgtEl>
                                        <p:attrNameLst>
                                          <p:attrName>style.visibility</p:attrName>
                                        </p:attrNameLst>
                                      </p:cBhvr>
                                      <p:to>
                                        <p:strVal val="visible"/>
                                      </p:to>
                                    </p:set>
                                    <p:animEffect transition="in" filter="fade">
                                      <p:cBhvr>
                                        <p:cTn id="7" dur="500"/>
                                        <p:tgtEl>
                                          <p:spTgt spid="1024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xEl>
                                              <p:pRg st="15" end="15"/>
                                            </p:txEl>
                                          </p:spTgt>
                                        </p:tgtEl>
                                        <p:attrNameLst>
                                          <p:attrName>style.visibility</p:attrName>
                                        </p:attrNameLst>
                                      </p:cBhvr>
                                      <p:to>
                                        <p:strVal val="visible"/>
                                      </p:to>
                                    </p:set>
                                    <p:animEffect transition="in" filter="fade">
                                      <p:cBhvr>
                                        <p:cTn id="12" dur="500"/>
                                        <p:tgtEl>
                                          <p:spTgt spid="5">
                                            <p:txEl>
                                              <p:pRg st="15" end="1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i$ḷíḑê"/>
        <p:cNvGrpSpPr/>
        <p:nvPr/>
      </p:nvGrpSpPr>
      <p:grpSpPr>
        <a:xfrm>
          <a:off x="0" y="0"/>
          <a:ext cx="0" cy="0"/>
          <a:chOff x="0" y="0"/>
          <a:chExt cx="0" cy="0"/>
        </a:xfrm>
      </p:grpSpPr>
      <p:sp>
        <p:nvSpPr>
          <p:cNvPr id="5" name="íšľîḑê"/>
          <p:cNvSpPr>
            <a:spLocks noGrp="1"/>
          </p:cNvSpPr>
          <p:nvPr>
            <p:ph type="title"/>
          </p:nvPr>
        </p:nvSpPr>
        <p:spPr>
          <a:xfrm>
            <a:off x="4751615" y="3380413"/>
            <a:ext cx="5419185" cy="895350"/>
          </a:xfrm>
        </p:spPr>
        <p:txBody>
          <a:bodyPr/>
          <a:lstStyle/>
          <a:p>
            <a:r>
              <a:rPr lang="en-US" altLang="zh-CN" dirty="0" smtClean="0"/>
              <a:t>Transformer Model</a:t>
            </a:r>
            <a:endParaRPr lang="zh-CN" altLang="en-US" dirty="0"/>
          </a:p>
        </p:txBody>
      </p:sp>
      <p:sp>
        <p:nvSpPr>
          <p:cNvPr id="6" name="isliḋê"/>
          <p:cNvSpPr>
            <a:spLocks noGrp="1"/>
          </p:cNvSpPr>
          <p:nvPr>
            <p:ph type="body" idx="1"/>
          </p:nvPr>
        </p:nvSpPr>
        <p:spPr>
          <a:xfrm>
            <a:off x="4752731" y="4275763"/>
            <a:ext cx="5419185" cy="1015623"/>
          </a:xfrm>
        </p:spPr>
        <p:txBody>
          <a:bodyPr/>
          <a:lstStyle/>
          <a:p>
            <a:pPr lvl="0"/>
            <a:r>
              <a:rPr lang="en-US" altLang="zh-CN" dirty="0"/>
              <a:t>Supporting text here.</a:t>
            </a:r>
          </a:p>
          <a:p>
            <a:pPr lvl="0"/>
            <a:r>
              <a:rPr lang="en-US" altLang="zh-CN" smtClean="0"/>
              <a:t>When</a:t>
            </a:r>
            <a:r>
              <a:rPr lang="en-US" altLang="zh-CN" sz="100" smtClean="0"/>
              <a:t> </a:t>
            </a:r>
            <a:r>
              <a:rPr lang="en-US" altLang="zh-CN" smtClean="0"/>
              <a:t> </a:t>
            </a:r>
            <a:r>
              <a:rPr lang="en-US" altLang="zh-CN" dirty="0"/>
              <a:t>you copy &amp; paste, choose "keep text only" option.</a:t>
            </a:r>
            <a:endParaRPr lang="zh-CN" altLang="en-US" dirty="0"/>
          </a:p>
        </p:txBody>
      </p:sp>
      <p:sp>
        <p:nvSpPr>
          <p:cNvPr id="9" name="iṧḻiḑe">
            <a:extLst>
              <a:ext uri="{FF2B5EF4-FFF2-40B4-BE49-F238E27FC236}">
                <a16:creationId xmlns="" xmlns:p14="http://schemas.microsoft.com/office/powerpoint/2010/main" xmlns:a16="http://schemas.microsoft.com/office/drawing/2014/main" id="{04F69230-F3A6-4586-9371-A858F4763E9F}"/>
              </a:ext>
            </a:extLst>
          </p:cNvPr>
          <p:cNvSpPr txBox="1"/>
          <p:nvPr/>
        </p:nvSpPr>
        <p:spPr>
          <a:xfrm>
            <a:off x="4751615" y="1566614"/>
            <a:ext cx="2141996" cy="1862386"/>
          </a:xfrm>
          <a:prstGeom prst="rect">
            <a:avLst/>
          </a:prstGeom>
          <a:noFill/>
          <a:ln w="117475">
            <a:noFill/>
          </a:ln>
        </p:spPr>
        <p:txBody>
          <a:bodyPr wrap="none" rtlCol="0">
            <a:prstTxWarp prst="textPlain">
              <a:avLst/>
            </a:prstTxWarp>
            <a:spAutoFit/>
          </a:bodyPr>
          <a:lstStyle/>
          <a:p>
            <a:r>
              <a:rPr lang="en-US" altLang="zh-CN" spc="100" dirty="0" smtClean="0">
                <a:solidFill>
                  <a:schemeClr val="accent1"/>
                </a:solidFill>
                <a:latin typeface="Impact" panose="020B0806030902050204" pitchFamily="34" charset="0"/>
                <a:cs typeface="Arial" panose="020B0604020202020204" pitchFamily="34" charset="0"/>
              </a:rPr>
              <a:t>/</a:t>
            </a:r>
            <a:r>
              <a:rPr lang="en-US" altLang="zh-CN" sz="100" spc="100" dirty="0" smtClean="0">
                <a:solidFill>
                  <a:schemeClr val="accent1"/>
                </a:solidFill>
                <a:latin typeface="Impact" panose="020B0806030902050204" pitchFamily="34" charset="0"/>
                <a:cs typeface="Arial" panose="020B0604020202020204" pitchFamily="34" charset="0"/>
              </a:rPr>
              <a:t> </a:t>
            </a:r>
            <a:r>
              <a:rPr lang="en-US" altLang="zh-CN" spc="100" dirty="0" smtClean="0">
                <a:solidFill>
                  <a:schemeClr val="accent1"/>
                </a:solidFill>
                <a:latin typeface="Impact" panose="020B0806030902050204" pitchFamily="34" charset="0"/>
                <a:cs typeface="Arial" panose="020B0604020202020204" pitchFamily="34" charset="0"/>
              </a:rPr>
              <a:t>03</a:t>
            </a:r>
            <a:endParaRPr lang="zh-CN" altLang="en-US" spc="100" dirty="0">
              <a:solidFill>
                <a:schemeClr val="accent1"/>
              </a:solidFill>
              <a:latin typeface="Impact" panose="020B080603090205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187682046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4" name="ïṩḷidê">
            <a:extLst>
              <a:ext uri="{FF2B5EF4-FFF2-40B4-BE49-F238E27FC236}">
                <a16:creationId xmlns="" xmlns:p14="http://schemas.microsoft.com/office/powerpoint/2010/main" xmlns:a16="http://schemas.microsoft.com/office/drawing/2014/main" id="{625D0406-0787-4EE6-9393-820D5CE03187}"/>
              </a:ext>
            </a:extLst>
          </p:cNvPr>
          <p:cNvSpPr>
            <a:spLocks noGrp="1"/>
          </p:cNvSpPr>
          <p:nvPr>
            <p:ph type="sldNum" sz="quarter" idx="12"/>
          </p:nvPr>
        </p:nvSpPr>
        <p:spPr/>
        <p:txBody>
          <a:bodyPr/>
          <a:lstStyle/>
          <a:p>
            <a:fld id="{5DD3DB80-B894-403A-B48E-6FDC1A72010E}" type="slidenum">
              <a:rPr lang="zh-CN" altLang="en-US" smtClean="0"/>
              <a:pPr/>
              <a:t>14</a:t>
            </a:fld>
            <a:endParaRPr lang="zh-CN" altLang="en-US"/>
          </a:p>
        </p:txBody>
      </p:sp>
      <p:sp>
        <p:nvSpPr>
          <p:cNvPr id="2" name="íṣľiḑe">
            <a:extLst>
              <a:ext uri="{FF2B5EF4-FFF2-40B4-BE49-F238E27FC236}">
                <a16:creationId xmlns="" xmlns:p14="http://schemas.microsoft.com/office/powerpoint/2010/main" xmlns:a16="http://schemas.microsoft.com/office/drawing/2014/main" id="{8AC4395B-A0A0-4D81-B628-E4F9AB374736}"/>
              </a:ext>
            </a:extLst>
          </p:cNvPr>
          <p:cNvSpPr>
            <a:spLocks noGrp="1"/>
          </p:cNvSpPr>
          <p:nvPr>
            <p:ph type="title"/>
          </p:nvPr>
        </p:nvSpPr>
        <p:spPr/>
        <p:txBody>
          <a:bodyPr>
            <a:normAutofit/>
          </a:bodyPr>
          <a:lstStyle/>
          <a:p>
            <a:r>
              <a:rPr lang="en-US" altLang="zh-TW" dirty="0" smtClean="0"/>
              <a:t>Transformer</a:t>
            </a:r>
            <a:endParaRPr lang="zh-CN" altLang="en-US" dirty="0"/>
          </a:p>
        </p:txBody>
      </p:sp>
      <p:sp>
        <p:nvSpPr>
          <p:cNvPr id="5" name="內容版面配置區 4"/>
          <p:cNvSpPr>
            <a:spLocks noGrp="1"/>
          </p:cNvSpPr>
          <p:nvPr>
            <p:ph sz="quarter" idx="13"/>
          </p:nvPr>
        </p:nvSpPr>
        <p:spPr/>
        <p:txBody>
          <a:bodyPr/>
          <a:lstStyle/>
          <a:p>
            <a:r>
              <a:rPr lang="en-US" altLang="zh-TW" b="1" dirty="0"/>
              <a:t>Seq2Seq </a:t>
            </a:r>
            <a:r>
              <a:rPr lang="zh-TW" altLang="en-US" b="1" dirty="0"/>
              <a:t>模型 </a:t>
            </a:r>
            <a:r>
              <a:rPr lang="en-US" altLang="zh-TW" b="1" dirty="0"/>
              <a:t>+ </a:t>
            </a:r>
            <a:r>
              <a:rPr lang="zh-TW" altLang="en-US" b="1" dirty="0"/>
              <a:t>自注意力機制</a:t>
            </a:r>
          </a:p>
          <a:p>
            <a:r>
              <a:rPr lang="zh-TW" altLang="en-US" dirty="0"/>
              <a:t>谷歌團隊近期提出的用於生成詞向量的</a:t>
            </a:r>
            <a:r>
              <a:rPr lang="en-US" altLang="zh-TW" dirty="0"/>
              <a:t>BERT</a:t>
            </a:r>
            <a:r>
              <a:rPr lang="zh-TW" altLang="en-US" dirty="0"/>
              <a:t>算法在</a:t>
            </a:r>
            <a:r>
              <a:rPr lang="en-US" altLang="zh-TW" dirty="0"/>
              <a:t>NLP</a:t>
            </a:r>
            <a:r>
              <a:rPr lang="zh-TW" altLang="en-US" dirty="0"/>
              <a:t>的</a:t>
            </a:r>
            <a:r>
              <a:rPr lang="en-US" altLang="zh-TW" dirty="0"/>
              <a:t>11</a:t>
            </a:r>
            <a:r>
              <a:rPr lang="zh-TW" altLang="en-US" dirty="0"/>
              <a:t>項任務中取得了效果的大幅提升，堪稱</a:t>
            </a:r>
            <a:r>
              <a:rPr lang="en-US" altLang="zh-TW" dirty="0"/>
              <a:t>2018</a:t>
            </a:r>
            <a:r>
              <a:rPr lang="zh-TW" altLang="en-US" dirty="0"/>
              <a:t>年深度學習領域最振奮人心的消息。而</a:t>
            </a:r>
            <a:r>
              <a:rPr lang="en-US" altLang="zh-TW" dirty="0"/>
              <a:t>BERT</a:t>
            </a:r>
            <a:r>
              <a:rPr lang="zh-TW" altLang="en-US" dirty="0"/>
              <a:t>算法的最重要的部分便是本文中提出的</a:t>
            </a:r>
            <a:r>
              <a:rPr lang="en-US" altLang="zh-TW" dirty="0"/>
              <a:t>Transformer</a:t>
            </a:r>
            <a:r>
              <a:rPr lang="zh-TW" altLang="en-US" dirty="0"/>
              <a:t>的概念 </a:t>
            </a:r>
            <a:r>
              <a:rPr lang="en-US" altLang="zh-TW" dirty="0"/>
              <a:t>(2014)</a:t>
            </a:r>
          </a:p>
          <a:p>
            <a:r>
              <a:rPr lang="en-US" altLang="zh-TW" dirty="0"/>
              <a:t>Transformer</a:t>
            </a:r>
            <a:r>
              <a:rPr lang="zh-TW" altLang="en-US" dirty="0"/>
              <a:t>中拋棄了傳統的</a:t>
            </a:r>
            <a:r>
              <a:rPr lang="en-US" altLang="zh-TW" dirty="0"/>
              <a:t>CNN</a:t>
            </a:r>
            <a:r>
              <a:rPr lang="zh-TW" altLang="en-US" dirty="0"/>
              <a:t>和</a:t>
            </a:r>
            <a:r>
              <a:rPr lang="en-US" altLang="zh-TW" dirty="0"/>
              <a:t>RNN</a:t>
            </a:r>
            <a:r>
              <a:rPr lang="zh-TW" altLang="en-US" dirty="0"/>
              <a:t>，整個網絡結構完全是由</a:t>
            </a:r>
            <a:r>
              <a:rPr lang="en-US" altLang="zh-TW" dirty="0"/>
              <a:t>Attention</a:t>
            </a:r>
            <a:r>
              <a:rPr lang="zh-TW" altLang="en-US" dirty="0"/>
              <a:t>機制組成。更準確地講，</a:t>
            </a:r>
            <a:r>
              <a:rPr lang="en-US" altLang="zh-TW" dirty="0"/>
              <a:t>Transformer</a:t>
            </a:r>
            <a:r>
              <a:rPr lang="zh-TW" altLang="en-US" dirty="0"/>
              <a:t>僅由</a:t>
            </a:r>
            <a:r>
              <a:rPr lang="en-US" altLang="zh-TW" dirty="0"/>
              <a:t>self-</a:t>
            </a:r>
            <a:r>
              <a:rPr lang="en-US" altLang="zh-TW" dirty="0" err="1"/>
              <a:t>Attenion</a:t>
            </a:r>
            <a:r>
              <a:rPr lang="zh-TW" altLang="en-US" dirty="0"/>
              <a:t>和</a:t>
            </a:r>
            <a:r>
              <a:rPr lang="en-US" altLang="zh-TW" dirty="0"/>
              <a:t>Feed Forward Neural Network</a:t>
            </a:r>
            <a:r>
              <a:rPr lang="zh-TW" altLang="en-US" dirty="0"/>
              <a:t>組成 </a:t>
            </a:r>
          </a:p>
          <a:p>
            <a:r>
              <a:rPr lang="zh-TW" altLang="en-US" dirty="0"/>
              <a:t>以上述機器翻譯為例：</a:t>
            </a:r>
          </a:p>
          <a:p>
            <a:endParaRPr lang="zh-TW" altLang="en-US" dirty="0"/>
          </a:p>
        </p:txBody>
      </p:sp>
      <p:pic>
        <p:nvPicPr>
          <p:cNvPr id="11266" name="Picture 2" descr="E:\Delete\git_r\two_month_report\202011_2021_1\11_31_to_12_4_fifth\img\transformer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97456" y="3593535"/>
            <a:ext cx="8099167" cy="2112826"/>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3715493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11266"/>
                                        </p:tgtEl>
                                        <p:attrNameLst>
                                          <p:attrName>style.visibility</p:attrName>
                                        </p:attrNameLst>
                                      </p:cBhvr>
                                      <p:to>
                                        <p:strVal val="visible"/>
                                      </p:to>
                                    </p:set>
                                    <p:animEffect transition="in" filter="circle(in)">
                                      <p:cBhvr>
                                        <p:cTn id="7" dur="2000"/>
                                        <p:tgtEl>
                                          <p:spTgt spid="112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4" name="ïṩḷidê">
            <a:extLst>
              <a:ext uri="{FF2B5EF4-FFF2-40B4-BE49-F238E27FC236}">
                <a16:creationId xmlns="" xmlns:p14="http://schemas.microsoft.com/office/powerpoint/2010/main" xmlns:a16="http://schemas.microsoft.com/office/drawing/2014/main" id="{625D0406-0787-4EE6-9393-820D5CE03187}"/>
              </a:ext>
            </a:extLst>
          </p:cNvPr>
          <p:cNvSpPr>
            <a:spLocks noGrp="1"/>
          </p:cNvSpPr>
          <p:nvPr>
            <p:ph type="sldNum" sz="quarter" idx="12"/>
          </p:nvPr>
        </p:nvSpPr>
        <p:spPr/>
        <p:txBody>
          <a:bodyPr/>
          <a:lstStyle/>
          <a:p>
            <a:fld id="{5DD3DB80-B894-403A-B48E-6FDC1A72010E}" type="slidenum">
              <a:rPr lang="zh-CN" altLang="en-US" smtClean="0"/>
              <a:pPr/>
              <a:t>15</a:t>
            </a:fld>
            <a:endParaRPr lang="zh-CN" altLang="en-US"/>
          </a:p>
        </p:txBody>
      </p:sp>
      <p:sp>
        <p:nvSpPr>
          <p:cNvPr id="2" name="íṣľiḑe">
            <a:extLst>
              <a:ext uri="{FF2B5EF4-FFF2-40B4-BE49-F238E27FC236}">
                <a16:creationId xmlns="" xmlns:p14="http://schemas.microsoft.com/office/powerpoint/2010/main" xmlns:a16="http://schemas.microsoft.com/office/drawing/2014/main" id="{8AC4395B-A0A0-4D81-B628-E4F9AB374736}"/>
              </a:ext>
            </a:extLst>
          </p:cNvPr>
          <p:cNvSpPr>
            <a:spLocks noGrp="1"/>
          </p:cNvSpPr>
          <p:nvPr>
            <p:ph type="title"/>
          </p:nvPr>
        </p:nvSpPr>
        <p:spPr/>
        <p:txBody>
          <a:bodyPr>
            <a:normAutofit/>
          </a:bodyPr>
          <a:lstStyle/>
          <a:p>
            <a:r>
              <a:rPr lang="en-US" altLang="zh-TW" dirty="0" smtClean="0"/>
              <a:t>Transformer </a:t>
            </a:r>
            <a:r>
              <a:rPr lang="en-US" altLang="zh-TW" dirty="0"/>
              <a:t>- </a:t>
            </a:r>
            <a:r>
              <a:rPr lang="zh-TW" altLang="en-US" dirty="0" smtClean="0"/>
              <a:t>架構</a:t>
            </a:r>
            <a:endParaRPr lang="zh-CN" altLang="en-US" dirty="0"/>
          </a:p>
        </p:txBody>
      </p:sp>
      <p:sp>
        <p:nvSpPr>
          <p:cNvPr id="5" name="內容版面配置區 4"/>
          <p:cNvSpPr>
            <a:spLocks noGrp="1"/>
          </p:cNvSpPr>
          <p:nvPr>
            <p:ph sz="quarter" idx="13"/>
          </p:nvPr>
        </p:nvSpPr>
        <p:spPr/>
        <p:txBody>
          <a:bodyPr/>
          <a:lstStyle/>
          <a:p>
            <a:r>
              <a:rPr lang="en-US" altLang="zh-TW" dirty="0"/>
              <a:t>Transformer</a:t>
            </a:r>
            <a:r>
              <a:rPr lang="zh-TW" altLang="en-US" dirty="0"/>
              <a:t>的本質上是一個</a:t>
            </a:r>
            <a:r>
              <a:rPr lang="en-US" altLang="zh-TW" dirty="0"/>
              <a:t>Encoder-Decoder</a:t>
            </a:r>
            <a:r>
              <a:rPr lang="zh-TW" altLang="en-US" dirty="0"/>
              <a:t>的</a:t>
            </a:r>
            <a:r>
              <a:rPr lang="zh-TW" altLang="en-US" dirty="0" smtClean="0"/>
              <a:t>結構</a:t>
            </a:r>
            <a:r>
              <a:rPr lang="en-US" altLang="zh-TW" dirty="0" smtClean="0"/>
              <a:t>:</a:t>
            </a:r>
          </a:p>
          <a:p>
            <a:endParaRPr lang="en-US" altLang="zh-TW" dirty="0" smtClean="0"/>
          </a:p>
          <a:p>
            <a:endParaRPr lang="zh-TW" altLang="en-US" dirty="0"/>
          </a:p>
        </p:txBody>
      </p:sp>
      <p:pic>
        <p:nvPicPr>
          <p:cNvPr id="12290" name="Picture 2" descr="E:\Delete\git_r\two_month_report\202011_2021_1\11_31_to_12_4_fifth\img\transformer-encoder_decoder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18575" y="1807830"/>
            <a:ext cx="6477000" cy="4038600"/>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6658537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2290"/>
                                        </p:tgtEl>
                                        <p:attrNameLst>
                                          <p:attrName>style.visibility</p:attrName>
                                        </p:attrNameLst>
                                      </p:cBhvr>
                                      <p:to>
                                        <p:strVal val="visible"/>
                                      </p:to>
                                    </p:set>
                                    <p:animEffect transition="in" filter="fade">
                                      <p:cBhvr>
                                        <p:cTn id="7" dur="1000"/>
                                        <p:tgtEl>
                                          <p:spTgt spid="12290"/>
                                        </p:tgtEl>
                                      </p:cBhvr>
                                    </p:animEffect>
                                    <p:anim calcmode="lin" valueType="num">
                                      <p:cBhvr>
                                        <p:cTn id="8" dur="1000" fill="hold"/>
                                        <p:tgtEl>
                                          <p:spTgt spid="12290"/>
                                        </p:tgtEl>
                                        <p:attrNameLst>
                                          <p:attrName>ppt_x</p:attrName>
                                        </p:attrNameLst>
                                      </p:cBhvr>
                                      <p:tavLst>
                                        <p:tav tm="0">
                                          <p:val>
                                            <p:strVal val="#ppt_x"/>
                                          </p:val>
                                        </p:tav>
                                        <p:tav tm="100000">
                                          <p:val>
                                            <p:strVal val="#ppt_x"/>
                                          </p:val>
                                        </p:tav>
                                      </p:tavLst>
                                    </p:anim>
                                    <p:anim calcmode="lin" valueType="num">
                                      <p:cBhvr>
                                        <p:cTn id="9" dur="1000" fill="hold"/>
                                        <p:tgtEl>
                                          <p:spTgt spid="1229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4" name="ïṩḷidê">
            <a:extLst>
              <a:ext uri="{FF2B5EF4-FFF2-40B4-BE49-F238E27FC236}">
                <a16:creationId xmlns="" xmlns:p14="http://schemas.microsoft.com/office/powerpoint/2010/main" xmlns:a16="http://schemas.microsoft.com/office/drawing/2014/main" id="{625D0406-0787-4EE6-9393-820D5CE03187}"/>
              </a:ext>
            </a:extLst>
          </p:cNvPr>
          <p:cNvSpPr>
            <a:spLocks noGrp="1"/>
          </p:cNvSpPr>
          <p:nvPr>
            <p:ph type="sldNum" sz="quarter" idx="12"/>
          </p:nvPr>
        </p:nvSpPr>
        <p:spPr/>
        <p:txBody>
          <a:bodyPr/>
          <a:lstStyle/>
          <a:p>
            <a:fld id="{5DD3DB80-B894-403A-B48E-6FDC1A72010E}" type="slidenum">
              <a:rPr lang="zh-CN" altLang="en-US" smtClean="0"/>
              <a:pPr/>
              <a:t>16</a:t>
            </a:fld>
            <a:endParaRPr lang="zh-CN" altLang="en-US"/>
          </a:p>
        </p:txBody>
      </p:sp>
      <p:sp>
        <p:nvSpPr>
          <p:cNvPr id="2" name="íṣľiḑe">
            <a:extLst>
              <a:ext uri="{FF2B5EF4-FFF2-40B4-BE49-F238E27FC236}">
                <a16:creationId xmlns="" xmlns:p14="http://schemas.microsoft.com/office/powerpoint/2010/main" xmlns:a16="http://schemas.microsoft.com/office/drawing/2014/main" id="{8AC4395B-A0A0-4D81-B628-E4F9AB374736}"/>
              </a:ext>
            </a:extLst>
          </p:cNvPr>
          <p:cNvSpPr>
            <a:spLocks noGrp="1"/>
          </p:cNvSpPr>
          <p:nvPr>
            <p:ph type="title"/>
          </p:nvPr>
        </p:nvSpPr>
        <p:spPr/>
        <p:txBody>
          <a:bodyPr>
            <a:normAutofit/>
          </a:bodyPr>
          <a:lstStyle/>
          <a:p>
            <a:r>
              <a:rPr lang="en-US" altLang="zh-TW" dirty="0" smtClean="0"/>
              <a:t>Transformer </a:t>
            </a:r>
            <a:r>
              <a:rPr lang="en-US" altLang="zh-TW" dirty="0"/>
              <a:t>- </a:t>
            </a:r>
            <a:r>
              <a:rPr lang="zh-TW" altLang="en-US" dirty="0" smtClean="0"/>
              <a:t>架構</a:t>
            </a:r>
            <a:endParaRPr lang="zh-CN" altLang="en-US" dirty="0"/>
          </a:p>
        </p:txBody>
      </p:sp>
      <p:sp>
        <p:nvSpPr>
          <p:cNvPr id="5" name="內容版面配置區 4"/>
          <p:cNvSpPr>
            <a:spLocks noGrp="1"/>
          </p:cNvSpPr>
          <p:nvPr>
            <p:ph sz="quarter" idx="13"/>
          </p:nvPr>
        </p:nvSpPr>
        <p:spPr/>
        <p:txBody>
          <a:bodyPr/>
          <a:lstStyle/>
          <a:p>
            <a:r>
              <a:rPr lang="zh-TW" altLang="en-US" dirty="0"/>
              <a:t>論文中所設置的，編碼器由</a:t>
            </a:r>
            <a:r>
              <a:rPr lang="en-US" altLang="zh-TW" dirty="0"/>
              <a:t>6</a:t>
            </a:r>
            <a:r>
              <a:rPr lang="zh-TW" altLang="en-US" dirty="0"/>
              <a:t>個編碼</a:t>
            </a:r>
            <a:r>
              <a:rPr lang="en-US" altLang="zh-TW" dirty="0"/>
              <a:t>block</a:t>
            </a:r>
            <a:r>
              <a:rPr lang="zh-TW" altLang="en-US" dirty="0"/>
              <a:t>組成，同樣解碼器是</a:t>
            </a:r>
            <a:r>
              <a:rPr lang="en-US" altLang="zh-TW" dirty="0"/>
              <a:t>6</a:t>
            </a:r>
            <a:r>
              <a:rPr lang="zh-TW" altLang="en-US" dirty="0"/>
              <a:t>個解碼</a:t>
            </a:r>
            <a:r>
              <a:rPr lang="en-US" altLang="zh-TW" dirty="0"/>
              <a:t>block</a:t>
            </a:r>
            <a:r>
              <a:rPr lang="zh-TW" altLang="en-US" dirty="0"/>
              <a:t>組成。與所有的生成模型相同的是，編碼器的輸出會作為解碼器的</a:t>
            </a:r>
            <a:r>
              <a:rPr lang="zh-TW" altLang="en-US" dirty="0" smtClean="0"/>
              <a:t>輸入</a:t>
            </a:r>
            <a:endParaRPr lang="en-US" altLang="zh-TW" dirty="0" smtClean="0"/>
          </a:p>
          <a:p>
            <a:endParaRPr lang="en-US" altLang="zh-TW" dirty="0" smtClean="0"/>
          </a:p>
          <a:p>
            <a:endParaRPr lang="zh-TW" altLang="en-US" dirty="0"/>
          </a:p>
        </p:txBody>
      </p:sp>
      <p:pic>
        <p:nvPicPr>
          <p:cNvPr id="13314" name="Picture 2" descr="E:\Delete\git_r\two_month_report\202011_2021_1\11_31_to_12_4_fifth\img\transformer-encoder_decoder2.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51273" y="1782586"/>
            <a:ext cx="6086401" cy="4319654"/>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0808860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13314"/>
                                        </p:tgtEl>
                                        <p:attrNameLst>
                                          <p:attrName>style.visibility</p:attrName>
                                        </p:attrNameLst>
                                      </p:cBhvr>
                                      <p:to>
                                        <p:strVal val="visible"/>
                                      </p:to>
                                    </p:set>
                                    <p:animEffect transition="in" filter="circle(in)">
                                      <p:cBhvr>
                                        <p:cTn id="7" dur="2000"/>
                                        <p:tgtEl>
                                          <p:spTgt spid="133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4" name="ïṩḷidê">
            <a:extLst>
              <a:ext uri="{FF2B5EF4-FFF2-40B4-BE49-F238E27FC236}">
                <a16:creationId xmlns="" xmlns:p14="http://schemas.microsoft.com/office/powerpoint/2010/main" xmlns:a16="http://schemas.microsoft.com/office/drawing/2014/main" id="{625D0406-0787-4EE6-9393-820D5CE03187}"/>
              </a:ext>
            </a:extLst>
          </p:cNvPr>
          <p:cNvSpPr>
            <a:spLocks noGrp="1"/>
          </p:cNvSpPr>
          <p:nvPr>
            <p:ph type="sldNum" sz="quarter" idx="12"/>
          </p:nvPr>
        </p:nvSpPr>
        <p:spPr/>
        <p:txBody>
          <a:bodyPr/>
          <a:lstStyle/>
          <a:p>
            <a:fld id="{5DD3DB80-B894-403A-B48E-6FDC1A72010E}" type="slidenum">
              <a:rPr lang="zh-CN" altLang="en-US" smtClean="0"/>
              <a:pPr/>
              <a:t>17</a:t>
            </a:fld>
            <a:endParaRPr lang="zh-CN" altLang="en-US"/>
          </a:p>
        </p:txBody>
      </p:sp>
      <p:sp>
        <p:nvSpPr>
          <p:cNvPr id="2" name="íṣľiḑe">
            <a:extLst>
              <a:ext uri="{FF2B5EF4-FFF2-40B4-BE49-F238E27FC236}">
                <a16:creationId xmlns="" xmlns:p14="http://schemas.microsoft.com/office/powerpoint/2010/main" xmlns:a16="http://schemas.microsoft.com/office/drawing/2014/main" id="{8AC4395B-A0A0-4D81-B628-E4F9AB374736}"/>
              </a:ext>
            </a:extLst>
          </p:cNvPr>
          <p:cNvSpPr>
            <a:spLocks noGrp="1"/>
          </p:cNvSpPr>
          <p:nvPr>
            <p:ph type="title"/>
          </p:nvPr>
        </p:nvSpPr>
        <p:spPr/>
        <p:txBody>
          <a:bodyPr>
            <a:normAutofit/>
          </a:bodyPr>
          <a:lstStyle/>
          <a:p>
            <a:r>
              <a:rPr lang="en-US" altLang="zh-TW" dirty="0" smtClean="0"/>
              <a:t>Transformer </a:t>
            </a:r>
            <a:r>
              <a:rPr lang="en-US" altLang="zh-TW" dirty="0"/>
              <a:t>- </a:t>
            </a:r>
            <a:r>
              <a:rPr lang="en-US" altLang="zh-TW" dirty="0" smtClean="0"/>
              <a:t>Encoder </a:t>
            </a:r>
            <a:r>
              <a:rPr lang="zh-TW" altLang="en-US" dirty="0"/>
              <a:t>架構</a:t>
            </a:r>
          </a:p>
        </p:txBody>
      </p:sp>
      <p:sp>
        <p:nvSpPr>
          <p:cNvPr id="5" name="內容版面配置區 4"/>
          <p:cNvSpPr>
            <a:spLocks noGrp="1"/>
          </p:cNvSpPr>
          <p:nvPr>
            <p:ph sz="quarter" idx="13"/>
          </p:nvPr>
        </p:nvSpPr>
        <p:spPr/>
        <p:txBody>
          <a:bodyPr/>
          <a:lstStyle/>
          <a:p>
            <a:r>
              <a:rPr lang="zh-TW" altLang="en-US" dirty="0"/>
              <a:t>論文中所設置的，編碼器由</a:t>
            </a:r>
            <a:r>
              <a:rPr lang="en-US" altLang="zh-TW" dirty="0"/>
              <a:t>6</a:t>
            </a:r>
            <a:r>
              <a:rPr lang="zh-TW" altLang="en-US" dirty="0"/>
              <a:t>個編碼</a:t>
            </a:r>
            <a:r>
              <a:rPr lang="en-US" altLang="zh-TW" dirty="0"/>
              <a:t>block</a:t>
            </a:r>
            <a:r>
              <a:rPr lang="zh-TW" altLang="en-US" dirty="0"/>
              <a:t>組成，同樣解碼器是</a:t>
            </a:r>
            <a:r>
              <a:rPr lang="en-US" altLang="zh-TW" dirty="0"/>
              <a:t>6</a:t>
            </a:r>
            <a:r>
              <a:rPr lang="zh-TW" altLang="en-US" dirty="0"/>
              <a:t>個解碼</a:t>
            </a:r>
            <a:r>
              <a:rPr lang="en-US" altLang="zh-TW" dirty="0"/>
              <a:t>block</a:t>
            </a:r>
            <a:r>
              <a:rPr lang="zh-TW" altLang="en-US" dirty="0"/>
              <a:t>組成。與所有的生成模型相同的是，編碼器的輸出會作為解碼器的</a:t>
            </a:r>
            <a:r>
              <a:rPr lang="zh-TW" altLang="en-US" dirty="0" smtClean="0"/>
              <a:t>輸入</a:t>
            </a:r>
            <a:endParaRPr lang="en-US" altLang="zh-TW" dirty="0" smtClean="0"/>
          </a:p>
          <a:p>
            <a:endParaRPr lang="en-US" altLang="zh-TW" dirty="0" smtClean="0"/>
          </a:p>
          <a:p>
            <a:endParaRPr lang="zh-TW" altLang="en-US" dirty="0"/>
          </a:p>
        </p:txBody>
      </p:sp>
      <p:pic>
        <p:nvPicPr>
          <p:cNvPr id="14338" name="Picture 2" descr="E:\Delete\git_r\two_month_report\202011_2021_1\11_31_to_12_4_fifth\img\encoder_arch.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14674" y="1933907"/>
            <a:ext cx="7543800" cy="3914775"/>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5272062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4338"/>
                                        </p:tgtEl>
                                        <p:attrNameLst>
                                          <p:attrName>style.visibility</p:attrName>
                                        </p:attrNameLst>
                                      </p:cBhvr>
                                      <p:to>
                                        <p:strVal val="visible"/>
                                      </p:to>
                                    </p:set>
                                    <p:animEffect transition="in" filter="wipe(down)">
                                      <p:cBhvr>
                                        <p:cTn id="7" dur="500"/>
                                        <p:tgtEl>
                                          <p:spTgt spid="143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4" name="ïṩḷidê">
            <a:extLst>
              <a:ext uri="{FF2B5EF4-FFF2-40B4-BE49-F238E27FC236}">
                <a16:creationId xmlns="" xmlns:p14="http://schemas.microsoft.com/office/powerpoint/2010/main" xmlns:a16="http://schemas.microsoft.com/office/drawing/2014/main" id="{625D0406-0787-4EE6-9393-820D5CE03187}"/>
              </a:ext>
            </a:extLst>
          </p:cNvPr>
          <p:cNvSpPr>
            <a:spLocks noGrp="1"/>
          </p:cNvSpPr>
          <p:nvPr>
            <p:ph type="sldNum" sz="quarter" idx="12"/>
          </p:nvPr>
        </p:nvSpPr>
        <p:spPr/>
        <p:txBody>
          <a:bodyPr/>
          <a:lstStyle/>
          <a:p>
            <a:fld id="{5DD3DB80-B894-403A-B48E-6FDC1A72010E}" type="slidenum">
              <a:rPr lang="zh-CN" altLang="en-US" smtClean="0"/>
              <a:pPr/>
              <a:t>18</a:t>
            </a:fld>
            <a:endParaRPr lang="zh-CN" altLang="en-US"/>
          </a:p>
        </p:txBody>
      </p:sp>
      <p:sp>
        <p:nvSpPr>
          <p:cNvPr id="2" name="íṣľiḑe">
            <a:extLst>
              <a:ext uri="{FF2B5EF4-FFF2-40B4-BE49-F238E27FC236}">
                <a16:creationId xmlns="" xmlns:p14="http://schemas.microsoft.com/office/powerpoint/2010/main" xmlns:a16="http://schemas.microsoft.com/office/drawing/2014/main" id="{8AC4395B-A0A0-4D81-B628-E4F9AB374736}"/>
              </a:ext>
            </a:extLst>
          </p:cNvPr>
          <p:cNvSpPr>
            <a:spLocks noGrp="1"/>
          </p:cNvSpPr>
          <p:nvPr>
            <p:ph type="title"/>
          </p:nvPr>
        </p:nvSpPr>
        <p:spPr/>
        <p:txBody>
          <a:bodyPr>
            <a:normAutofit/>
          </a:bodyPr>
          <a:lstStyle/>
          <a:p>
            <a:r>
              <a:rPr lang="en-US" altLang="zh-TW" dirty="0" smtClean="0"/>
              <a:t>Transformer </a:t>
            </a:r>
            <a:r>
              <a:rPr lang="en-US" altLang="zh-TW" dirty="0"/>
              <a:t>- </a:t>
            </a:r>
            <a:r>
              <a:rPr lang="en-US" altLang="zh-TW" dirty="0" smtClean="0"/>
              <a:t>Decoder</a:t>
            </a:r>
            <a:r>
              <a:rPr lang="zh-TW" altLang="en-US" dirty="0"/>
              <a:t>架構</a:t>
            </a:r>
          </a:p>
        </p:txBody>
      </p:sp>
      <p:sp>
        <p:nvSpPr>
          <p:cNvPr id="5" name="內容版面配置區 4"/>
          <p:cNvSpPr>
            <a:spLocks noGrp="1"/>
          </p:cNvSpPr>
          <p:nvPr>
            <p:ph sz="quarter" idx="13"/>
          </p:nvPr>
        </p:nvSpPr>
        <p:spPr/>
        <p:txBody>
          <a:bodyPr/>
          <a:lstStyle/>
          <a:p>
            <a:r>
              <a:rPr lang="en-US" altLang="zh-TW" dirty="0"/>
              <a:t>Decoder</a:t>
            </a:r>
            <a:r>
              <a:rPr lang="zh-TW" altLang="en-US" dirty="0"/>
              <a:t>的結構如圖</a:t>
            </a:r>
            <a:r>
              <a:rPr lang="en-US" altLang="zh-TW" dirty="0"/>
              <a:t>5</a:t>
            </a:r>
            <a:r>
              <a:rPr lang="zh-TW" altLang="en-US" dirty="0"/>
              <a:t>所示，它和</a:t>
            </a:r>
            <a:r>
              <a:rPr lang="en-US" altLang="zh-TW" dirty="0"/>
              <a:t>Encoder</a:t>
            </a:r>
            <a:r>
              <a:rPr lang="zh-TW" altLang="en-US" dirty="0"/>
              <a:t>的不同之處在於</a:t>
            </a:r>
            <a:r>
              <a:rPr lang="en-US" altLang="zh-TW" dirty="0"/>
              <a:t>Decoder</a:t>
            </a:r>
            <a:r>
              <a:rPr lang="zh-TW" altLang="en-US" dirty="0"/>
              <a:t>多了一個</a:t>
            </a:r>
            <a:r>
              <a:rPr lang="en-US" altLang="zh-TW" dirty="0"/>
              <a:t>Encoder-Decoder Attention</a:t>
            </a:r>
            <a:r>
              <a:rPr lang="zh-TW" altLang="en-US" dirty="0"/>
              <a:t>，兩個</a:t>
            </a:r>
            <a:r>
              <a:rPr lang="en-US" altLang="zh-TW" dirty="0"/>
              <a:t>Attention</a:t>
            </a:r>
            <a:r>
              <a:rPr lang="zh-TW" altLang="en-US" dirty="0"/>
              <a:t>分別用於計算輸入和輸出的權值</a:t>
            </a:r>
            <a:r>
              <a:rPr lang="zh-TW" altLang="en-US" dirty="0" smtClean="0"/>
              <a:t>：</a:t>
            </a:r>
            <a:endParaRPr lang="zh-TW" altLang="en-US" dirty="0"/>
          </a:p>
          <a:p>
            <a:r>
              <a:rPr lang="en-US" altLang="zh-TW" dirty="0"/>
              <a:t>1. Self-Attention</a:t>
            </a:r>
            <a:r>
              <a:rPr lang="zh-TW" altLang="en-US" dirty="0"/>
              <a:t>：當前翻譯和已經翻譯的前文之間的關系；</a:t>
            </a:r>
          </a:p>
          <a:p>
            <a:r>
              <a:rPr lang="en-US" altLang="zh-TW" dirty="0"/>
              <a:t>2. </a:t>
            </a:r>
            <a:r>
              <a:rPr lang="en-US" altLang="zh-TW" dirty="0" smtClean="0"/>
              <a:t>Encoder-Decoder </a:t>
            </a:r>
            <a:r>
              <a:rPr lang="en-US" altLang="zh-TW" dirty="0"/>
              <a:t>Attention</a:t>
            </a:r>
            <a:r>
              <a:rPr lang="zh-TW" altLang="en-US" dirty="0"/>
              <a:t>：當前翻譯和編碼的特征向量之間的關系。</a:t>
            </a:r>
            <a:endParaRPr lang="en-US" altLang="zh-TW" dirty="0" smtClean="0"/>
          </a:p>
          <a:p>
            <a:endParaRPr lang="zh-TW" altLang="en-US" dirty="0"/>
          </a:p>
        </p:txBody>
      </p:sp>
      <p:pic>
        <p:nvPicPr>
          <p:cNvPr id="15362" name="Picture 2" descr="E:\Delete\git_r\two_month_report\202011_2021_1\11_31_to_12_4_fifth\img\Transformer_decoder.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24726" y="2999046"/>
            <a:ext cx="8372476" cy="2657475"/>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1446204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4" name="ïṩḷidê">
            <a:extLst>
              <a:ext uri="{FF2B5EF4-FFF2-40B4-BE49-F238E27FC236}">
                <a16:creationId xmlns="" xmlns:p14="http://schemas.microsoft.com/office/powerpoint/2010/main" xmlns:a16="http://schemas.microsoft.com/office/drawing/2014/main" id="{625D0406-0787-4EE6-9393-820D5CE03187}"/>
              </a:ext>
            </a:extLst>
          </p:cNvPr>
          <p:cNvSpPr>
            <a:spLocks noGrp="1"/>
          </p:cNvSpPr>
          <p:nvPr>
            <p:ph type="sldNum" sz="quarter" idx="12"/>
          </p:nvPr>
        </p:nvSpPr>
        <p:spPr/>
        <p:txBody>
          <a:bodyPr/>
          <a:lstStyle/>
          <a:p>
            <a:fld id="{5DD3DB80-B894-403A-B48E-6FDC1A72010E}" type="slidenum">
              <a:rPr lang="zh-CN" altLang="en-US" smtClean="0"/>
              <a:pPr/>
              <a:t>19</a:t>
            </a:fld>
            <a:endParaRPr lang="zh-CN" altLang="en-US"/>
          </a:p>
        </p:txBody>
      </p:sp>
      <p:sp>
        <p:nvSpPr>
          <p:cNvPr id="2" name="íṣľiḑe">
            <a:extLst>
              <a:ext uri="{FF2B5EF4-FFF2-40B4-BE49-F238E27FC236}">
                <a16:creationId xmlns="" xmlns:p14="http://schemas.microsoft.com/office/powerpoint/2010/main" xmlns:a16="http://schemas.microsoft.com/office/drawing/2014/main" id="{8AC4395B-A0A0-4D81-B628-E4F9AB374736}"/>
              </a:ext>
            </a:extLst>
          </p:cNvPr>
          <p:cNvSpPr>
            <a:spLocks noGrp="1"/>
          </p:cNvSpPr>
          <p:nvPr>
            <p:ph type="title"/>
          </p:nvPr>
        </p:nvSpPr>
        <p:spPr/>
        <p:txBody>
          <a:bodyPr>
            <a:normAutofit/>
          </a:bodyPr>
          <a:lstStyle/>
          <a:p>
            <a:r>
              <a:rPr lang="en-US" altLang="zh-TW" dirty="0" smtClean="0"/>
              <a:t>Transformer  </a:t>
            </a:r>
            <a:r>
              <a:rPr lang="en-US" altLang="zh-TW" dirty="0"/>
              <a:t>- </a:t>
            </a:r>
            <a:r>
              <a:rPr lang="zh-TW" altLang="en-US" dirty="0"/>
              <a:t>輸入</a:t>
            </a:r>
          </a:p>
        </p:txBody>
      </p:sp>
      <p:sp>
        <p:nvSpPr>
          <p:cNvPr id="5" name="內容版面配置區 4"/>
          <p:cNvSpPr>
            <a:spLocks noGrp="1"/>
          </p:cNvSpPr>
          <p:nvPr>
            <p:ph sz="quarter" idx="13"/>
          </p:nvPr>
        </p:nvSpPr>
        <p:spPr/>
        <p:txBody>
          <a:bodyPr/>
          <a:lstStyle/>
          <a:p>
            <a:r>
              <a:rPr lang="zh-TW" altLang="en-US" dirty="0"/>
              <a:t>首先通過</a:t>
            </a:r>
            <a:r>
              <a:rPr lang="en-US" altLang="zh-TW" dirty="0"/>
              <a:t>Word2Vec</a:t>
            </a:r>
            <a:r>
              <a:rPr lang="zh-TW" altLang="en-US" dirty="0"/>
              <a:t>等詞嵌入方法將輸入語料轉化成特征向量</a:t>
            </a:r>
            <a:r>
              <a:rPr lang="en-US" altLang="zh-TW" dirty="0"/>
              <a:t>(</a:t>
            </a:r>
            <a:r>
              <a:rPr lang="zh-TW" altLang="en-US" dirty="0"/>
              <a:t>論文裡長度為</a:t>
            </a:r>
            <a:r>
              <a:rPr lang="en-US" altLang="zh-TW" dirty="0" smtClean="0"/>
              <a:t>512)</a:t>
            </a:r>
          </a:p>
          <a:p>
            <a:endParaRPr lang="en-US" altLang="zh-TW" dirty="0"/>
          </a:p>
          <a:p>
            <a:endParaRPr lang="en-US" altLang="zh-TW" dirty="0" smtClean="0"/>
          </a:p>
          <a:p>
            <a:endParaRPr lang="en-US" altLang="zh-TW" dirty="0"/>
          </a:p>
          <a:p>
            <a:r>
              <a:rPr lang="zh-TW" altLang="en-US" dirty="0"/>
              <a:t>在最底層的</a:t>
            </a:r>
            <a:r>
              <a:rPr lang="en-US" altLang="zh-TW" dirty="0"/>
              <a:t>block</a:t>
            </a:r>
            <a:r>
              <a:rPr lang="zh-TW" altLang="en-US" dirty="0"/>
              <a:t>中， 將直接作為</a:t>
            </a:r>
            <a:r>
              <a:rPr lang="en-US" altLang="zh-TW" dirty="0"/>
              <a:t>Transformer</a:t>
            </a:r>
            <a:r>
              <a:rPr lang="zh-TW" altLang="en-US" dirty="0"/>
              <a:t>的輸入，而在其他層中，輸入則是上一個</a:t>
            </a:r>
            <a:r>
              <a:rPr lang="en-US" altLang="zh-TW" dirty="0"/>
              <a:t>block</a:t>
            </a:r>
            <a:r>
              <a:rPr lang="zh-TW" altLang="en-US" dirty="0"/>
              <a:t>的輸出。為了畫圖更簡單，我們使用更簡單的例子來表示接下來的過程</a:t>
            </a:r>
          </a:p>
        </p:txBody>
      </p:sp>
      <p:pic>
        <p:nvPicPr>
          <p:cNvPr id="16386" name="Picture 2" descr="E:\Delete\git_r\two_month_report\202011_2021_1\11_31_to_12_4_fifth\img\transformer-input-word_vec.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67809" y="1574613"/>
            <a:ext cx="7848600" cy="942975"/>
          </a:xfrm>
          <a:prstGeom prst="rect">
            <a:avLst/>
          </a:prstGeom>
          <a:noFill/>
          <a:extLst>
            <a:ext uri="{909E8E84-426E-40DD-AFC4-6F175D3DCCD1}">
              <a14:hiddenFill xmlns:a14="http://schemas.microsoft.com/office/drawing/2010/main">
                <a:solidFill>
                  <a:srgbClr val="FFFFFF"/>
                </a:solidFill>
              </a14:hiddenFill>
            </a:ext>
          </a:extLst>
        </p:spPr>
      </p:pic>
      <p:pic>
        <p:nvPicPr>
          <p:cNvPr id="16387" name="Picture 3" descr="E:\Delete\git_r\two_month_report\202011_2021_1\11_31_to_12_4_fifth\img\tensor-go-to-encoder.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74271" y="3381176"/>
            <a:ext cx="5435675" cy="3306703"/>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4059367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6386"/>
                                        </p:tgtEl>
                                        <p:attrNameLst>
                                          <p:attrName>style.visibility</p:attrName>
                                        </p:attrNameLst>
                                      </p:cBhvr>
                                      <p:to>
                                        <p:strVal val="visible"/>
                                      </p:to>
                                    </p:set>
                                    <p:anim calcmode="lin" valueType="num">
                                      <p:cBhvr additive="base">
                                        <p:cTn id="7" dur="500" fill="hold"/>
                                        <p:tgtEl>
                                          <p:spTgt spid="16386"/>
                                        </p:tgtEl>
                                        <p:attrNameLst>
                                          <p:attrName>ppt_x</p:attrName>
                                        </p:attrNameLst>
                                      </p:cBhvr>
                                      <p:tavLst>
                                        <p:tav tm="0">
                                          <p:val>
                                            <p:strVal val="#ppt_x"/>
                                          </p:val>
                                        </p:tav>
                                        <p:tav tm="100000">
                                          <p:val>
                                            <p:strVal val="#ppt_x"/>
                                          </p:val>
                                        </p:tav>
                                      </p:tavLst>
                                    </p:anim>
                                    <p:anim calcmode="lin" valueType="num">
                                      <p:cBhvr additive="base">
                                        <p:cTn id="8" dur="500" fill="hold"/>
                                        <p:tgtEl>
                                          <p:spTgt spid="1638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ïṣ1iḑe"/>
        <p:cNvGrpSpPr/>
        <p:nvPr/>
      </p:nvGrpSpPr>
      <p:grpSpPr>
        <a:xfrm>
          <a:off x="0" y="0"/>
          <a:ext cx="0" cy="0"/>
          <a:chOff x="0" y="0"/>
          <a:chExt cx="0" cy="0"/>
        </a:xfrm>
      </p:grpSpPr>
      <p:grpSp>
        <p:nvGrpSpPr>
          <p:cNvPr id="6" name="îṧ1îḍe"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 xmlns:p14="http://schemas.microsoft.com/office/powerpoint/2010/main" xmlns:a16="http://schemas.microsoft.com/office/drawing/2014/main" id="{A759C196-DA28-4241-ABB5-975367026FE9}"/>
              </a:ext>
            </a:extLst>
          </p:cNvPr>
          <p:cNvGrpSpPr>
            <a:grpSpLocks noChangeAspect="1"/>
          </p:cNvGrpSpPr>
          <p:nvPr/>
        </p:nvGrpSpPr>
        <p:grpSpPr>
          <a:xfrm>
            <a:off x="757282" y="1700808"/>
            <a:ext cx="10763205" cy="4083608"/>
            <a:chOff x="1175743" y="1700808"/>
            <a:chExt cx="10344744" cy="4083608"/>
          </a:xfrm>
        </p:grpSpPr>
        <p:sp>
          <p:nvSpPr>
            <p:cNvPr id="7" name="í$ļïḋê">
              <a:extLst>
                <a:ext uri="{FF2B5EF4-FFF2-40B4-BE49-F238E27FC236}">
                  <a16:creationId xmlns="" xmlns:p14="http://schemas.microsoft.com/office/powerpoint/2010/main" xmlns:a16="http://schemas.microsoft.com/office/drawing/2014/main" id="{48F70259-7598-4270-874A-6F50772D10F6}"/>
                </a:ext>
              </a:extLst>
            </p:cNvPr>
            <p:cNvSpPr txBox="1"/>
            <p:nvPr/>
          </p:nvSpPr>
          <p:spPr bwMode="auto">
            <a:xfrm>
              <a:off x="3822192" y="1780800"/>
              <a:ext cx="7698295" cy="4003616"/>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marL="342900" indent="-342900">
                <a:lnSpc>
                  <a:spcPct val="150000"/>
                </a:lnSpc>
                <a:buFont typeface="+mj-lt"/>
                <a:buAutoNum type="arabicPeriod"/>
              </a:pPr>
              <a:r>
                <a:rPr lang="en-US" altLang="zh-TW" dirty="0" err="1">
                  <a:solidFill>
                    <a:schemeClr val="accent1">
                      <a:lumMod val="75000"/>
                      <a:lumOff val="25000"/>
                    </a:schemeClr>
                  </a:solidFill>
                  <a:sym typeface="+mn-lt"/>
                </a:rPr>
                <a:t>rnn</a:t>
              </a:r>
              <a:r>
                <a:rPr lang="en-US" altLang="zh-TW" dirty="0">
                  <a:solidFill>
                    <a:schemeClr val="accent1">
                      <a:lumMod val="75000"/>
                      <a:lumOff val="25000"/>
                    </a:schemeClr>
                  </a:solidFill>
                  <a:sym typeface="+mn-lt"/>
                </a:rPr>
                <a:t>/seq2seq</a:t>
              </a:r>
              <a:r>
                <a:rPr lang="zh-TW" altLang="en-US" dirty="0">
                  <a:solidFill>
                    <a:schemeClr val="accent1">
                      <a:lumMod val="75000"/>
                      <a:lumOff val="25000"/>
                    </a:schemeClr>
                  </a:solidFill>
                  <a:sym typeface="+mn-lt"/>
                </a:rPr>
                <a:t>的</a:t>
              </a:r>
              <a:r>
                <a:rPr lang="zh-TW" altLang="en-US" dirty="0" smtClean="0">
                  <a:solidFill>
                    <a:schemeClr val="accent1">
                      <a:lumMod val="75000"/>
                      <a:lumOff val="25000"/>
                    </a:schemeClr>
                  </a:solidFill>
                  <a:sym typeface="+mn-lt"/>
                </a:rPr>
                <a:t>問題</a:t>
              </a:r>
              <a:endParaRPr lang="en-US" altLang="zh-TW" dirty="0" smtClean="0">
                <a:solidFill>
                  <a:schemeClr val="accent1">
                    <a:lumMod val="75000"/>
                    <a:lumOff val="25000"/>
                  </a:schemeClr>
                </a:solidFill>
                <a:sym typeface="+mn-lt"/>
              </a:endParaRPr>
            </a:p>
            <a:p>
              <a:pPr marL="342900" indent="-342900">
                <a:lnSpc>
                  <a:spcPct val="150000"/>
                </a:lnSpc>
                <a:buFont typeface="+mj-lt"/>
                <a:buAutoNum type="arabicPeriod"/>
              </a:pPr>
              <a:endParaRPr lang="en-US" altLang="zh-CN" dirty="0" smtClean="0">
                <a:solidFill>
                  <a:schemeClr val="accent1">
                    <a:lumMod val="75000"/>
                    <a:lumOff val="25000"/>
                  </a:schemeClr>
                </a:solidFill>
                <a:latin typeface="+mn-lt"/>
                <a:ea typeface="+mn-ea"/>
                <a:sym typeface="+mn-lt"/>
              </a:endParaRPr>
            </a:p>
            <a:p>
              <a:pPr marL="342900" indent="-342900">
                <a:lnSpc>
                  <a:spcPct val="150000"/>
                </a:lnSpc>
                <a:buFont typeface="+mj-lt"/>
                <a:buAutoNum type="arabicPeriod"/>
              </a:pPr>
              <a:r>
                <a:rPr lang="en-US" altLang="zh-CN" dirty="0" smtClean="0">
                  <a:solidFill>
                    <a:schemeClr val="accent1">
                      <a:lumMod val="75000"/>
                      <a:lumOff val="25000"/>
                    </a:schemeClr>
                  </a:solidFill>
                  <a:latin typeface="+mn-lt"/>
                  <a:ea typeface="+mn-ea"/>
                  <a:sym typeface="+mn-lt"/>
                </a:rPr>
                <a:t>Attention</a:t>
              </a:r>
              <a:r>
                <a:rPr lang="zh-TW" altLang="en-US" dirty="0" smtClean="0">
                  <a:solidFill>
                    <a:schemeClr val="accent1">
                      <a:lumMod val="75000"/>
                      <a:lumOff val="25000"/>
                    </a:schemeClr>
                  </a:solidFill>
                  <a:latin typeface="+mn-lt"/>
                  <a:ea typeface="+mn-ea"/>
                  <a:sym typeface="+mn-lt"/>
                </a:rPr>
                <a:t>概念</a:t>
              </a:r>
              <a:r>
                <a:rPr lang="zh-TW" altLang="en-US" dirty="0" smtClean="0">
                  <a:solidFill>
                    <a:schemeClr val="accent1">
                      <a:lumMod val="75000"/>
                      <a:lumOff val="25000"/>
                    </a:schemeClr>
                  </a:solidFill>
                  <a:latin typeface="+mn-lt"/>
                  <a:ea typeface="+mn-ea"/>
                  <a:sym typeface="+mn-lt"/>
                </a:rPr>
                <a:t>.</a:t>
              </a:r>
              <a:endParaRPr lang="en-US" altLang="zh-TW" dirty="0" smtClean="0">
                <a:solidFill>
                  <a:schemeClr val="accent1">
                    <a:lumMod val="75000"/>
                    <a:lumOff val="25000"/>
                  </a:schemeClr>
                </a:solidFill>
                <a:latin typeface="+mn-lt"/>
                <a:ea typeface="+mn-ea"/>
                <a:sym typeface="+mn-lt"/>
              </a:endParaRPr>
            </a:p>
            <a:p>
              <a:pPr marL="342900" indent="-342900">
                <a:lnSpc>
                  <a:spcPct val="150000"/>
                </a:lnSpc>
                <a:buFont typeface="+mj-lt"/>
                <a:buAutoNum type="arabicPeriod"/>
              </a:pPr>
              <a:endParaRPr lang="en-US" altLang="zh-CN" dirty="0">
                <a:solidFill>
                  <a:schemeClr val="accent1">
                    <a:lumMod val="75000"/>
                    <a:lumOff val="25000"/>
                  </a:schemeClr>
                </a:solidFill>
                <a:latin typeface="+mn-lt"/>
                <a:ea typeface="+mn-ea"/>
                <a:sym typeface="+mn-lt"/>
              </a:endParaRPr>
            </a:p>
            <a:p>
              <a:pPr marL="342900" indent="-342900">
                <a:lnSpc>
                  <a:spcPct val="150000"/>
                </a:lnSpc>
                <a:buFont typeface="+mj-lt"/>
                <a:buAutoNum type="arabicPeriod"/>
              </a:pPr>
              <a:r>
                <a:rPr lang="en-US" altLang="zh-CN" dirty="0">
                  <a:solidFill>
                    <a:schemeClr val="accent1">
                      <a:lumMod val="75000"/>
                      <a:lumOff val="25000"/>
                    </a:schemeClr>
                  </a:solidFill>
                  <a:latin typeface="+mn-lt"/>
                  <a:ea typeface="+mn-ea"/>
                  <a:sym typeface="+mn-lt"/>
                </a:rPr>
                <a:t>Transformer </a:t>
              </a:r>
              <a:r>
                <a:rPr lang="zh-TW" altLang="en-US" dirty="0">
                  <a:solidFill>
                    <a:schemeClr val="accent1">
                      <a:lumMod val="75000"/>
                      <a:lumOff val="25000"/>
                    </a:schemeClr>
                  </a:solidFill>
                  <a:latin typeface="+mn-lt"/>
                  <a:ea typeface="+mn-ea"/>
                  <a:sym typeface="+mn-lt"/>
                </a:rPr>
                <a:t>模型</a:t>
              </a:r>
              <a:endParaRPr lang="en-US" altLang="zh-CN" dirty="0">
                <a:solidFill>
                  <a:schemeClr val="accent1">
                    <a:lumMod val="75000"/>
                    <a:lumOff val="25000"/>
                  </a:schemeClr>
                </a:solidFill>
                <a:latin typeface="+mn-lt"/>
                <a:ea typeface="+mn-ea"/>
                <a:sym typeface="+mn-lt"/>
              </a:endParaRPr>
            </a:p>
            <a:p>
              <a:pPr>
                <a:lnSpc>
                  <a:spcPct val="150000"/>
                </a:lnSpc>
              </a:pPr>
              <a:endParaRPr lang="en-US" altLang="zh-CN" b="0" dirty="0">
                <a:latin typeface="+mn-lt"/>
                <a:ea typeface="+mn-ea"/>
                <a:sym typeface="+mn-lt"/>
              </a:endParaRPr>
            </a:p>
          </p:txBody>
        </p:sp>
        <p:cxnSp>
          <p:nvCxnSpPr>
            <p:cNvPr id="8" name="iṧḻídè">
              <a:extLst>
                <a:ext uri="{FF2B5EF4-FFF2-40B4-BE49-F238E27FC236}">
                  <a16:creationId xmlns="" xmlns:p14="http://schemas.microsoft.com/office/powerpoint/2010/main" xmlns:a16="http://schemas.microsoft.com/office/drawing/2014/main" id="{DA1FB18E-FA01-4588-BEF9-FB96A98A84D4}"/>
                </a:ext>
              </a:extLst>
            </p:cNvPr>
            <p:cNvCxnSpPr>
              <a:cxnSpLocks/>
            </p:cNvCxnSpPr>
            <p:nvPr/>
          </p:nvCxnSpPr>
          <p:spPr>
            <a:xfrm>
              <a:off x="3696888" y="1780800"/>
              <a:ext cx="0" cy="4003616"/>
            </a:xfrm>
            <a:prstGeom prst="line">
              <a:avLst/>
            </a:prstGeom>
            <a:solidFill>
              <a:srgbClr val="FFCC00"/>
            </a:solidFill>
            <a:ln w="3175" cap="flat" cmpd="sng" algn="ctr">
              <a:solidFill>
                <a:schemeClr val="bg1">
                  <a:lumMod val="75000"/>
                </a:schemeClr>
              </a:solidFill>
              <a:prstDash val="solid"/>
              <a:round/>
              <a:headEnd type="none" w="med" len="med"/>
              <a:tailEnd type="none" w="med" len="med"/>
            </a:ln>
            <a:effectLst/>
          </p:spPr>
        </p:cxnSp>
        <p:sp>
          <p:nvSpPr>
            <p:cNvPr id="9" name="ïś1iďê">
              <a:extLst>
                <a:ext uri="{FF2B5EF4-FFF2-40B4-BE49-F238E27FC236}">
                  <a16:creationId xmlns="" xmlns:p14="http://schemas.microsoft.com/office/powerpoint/2010/main" xmlns:a16="http://schemas.microsoft.com/office/drawing/2014/main" id="{0DB1D0A1-2667-455C-9387-D7ABF0A00B8C}"/>
                </a:ext>
              </a:extLst>
            </p:cNvPr>
            <p:cNvSpPr txBox="1"/>
            <p:nvPr/>
          </p:nvSpPr>
          <p:spPr>
            <a:xfrm>
              <a:off x="1175743" y="1700808"/>
              <a:ext cx="2521108" cy="523220"/>
            </a:xfrm>
            <a:prstGeom prst="rect">
              <a:avLst/>
            </a:prstGeom>
            <a:solidFill>
              <a:schemeClr val="bg1"/>
            </a:solidFill>
          </p:spPr>
          <p:txBody>
            <a:bodyPr wrap="square" rtlCol="0">
              <a:spAutoFit/>
            </a:bodyPr>
            <a:lstStyle/>
            <a:p>
              <a:pPr algn="r"/>
              <a:r>
                <a:rPr lang="tr-TR" sz="2800" b="1" dirty="0" smtClean="0">
                  <a:solidFill>
                    <a:schemeClr val="accent1">
                      <a:lumMod val="75000"/>
                      <a:lumOff val="25000"/>
                    </a:schemeClr>
                  </a:solidFill>
                  <a:cs typeface="+mn-ea"/>
                  <a:sym typeface="+mn-lt"/>
                </a:rPr>
                <a:t>CON</a:t>
              </a:r>
              <a:r>
                <a:rPr lang="tr-TR" sz="100" b="1" dirty="0" smtClean="0">
                  <a:solidFill>
                    <a:schemeClr val="accent1">
                      <a:lumMod val="75000"/>
                      <a:lumOff val="25000"/>
                    </a:schemeClr>
                  </a:solidFill>
                  <a:cs typeface="+mn-ea"/>
                  <a:sym typeface="+mn-lt"/>
                </a:rPr>
                <a:t> </a:t>
              </a:r>
              <a:r>
                <a:rPr lang="tr-TR" sz="2800" b="1" dirty="0" smtClean="0">
                  <a:solidFill>
                    <a:schemeClr val="accent1">
                      <a:lumMod val="75000"/>
                      <a:lumOff val="25000"/>
                    </a:schemeClr>
                  </a:solidFill>
                  <a:cs typeface="+mn-ea"/>
                  <a:sym typeface="+mn-lt"/>
                </a:rPr>
                <a:t>TENTS</a:t>
              </a:r>
              <a:endParaRPr lang="tr-TR" sz="2800" b="1" dirty="0">
                <a:solidFill>
                  <a:schemeClr val="accent1">
                    <a:lumMod val="75000"/>
                    <a:lumOff val="25000"/>
                  </a:schemeClr>
                </a:solidFill>
                <a:cs typeface="+mn-ea"/>
                <a:sym typeface="+mn-lt"/>
              </a:endParaRPr>
            </a:p>
          </p:txBody>
        </p:sp>
      </p:grpSp>
      <p:grpSp>
        <p:nvGrpSpPr>
          <p:cNvPr id="11" name="06f6d9a9-ef99-41cd-9334-ef7ede97a841"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3"/>
            </p:custDataLst>
          </p:nvPr>
        </p:nvGrpSpPr>
        <p:grpSpPr>
          <a:xfrm>
            <a:off x="1401230" y="2354884"/>
            <a:ext cx="1812095" cy="2524368"/>
            <a:chOff x="4605338" y="1355725"/>
            <a:chExt cx="2976563" cy="4146550"/>
          </a:xfrm>
        </p:grpSpPr>
        <p:sp>
          <p:nvSpPr>
            <p:cNvPr id="12" name="iSḷîḍ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DA600963-026A-4A00-8331-013861BCC70A}"/>
                </a:ext>
              </a:extLst>
            </p:cNvPr>
            <p:cNvSpPr/>
            <p:nvPr/>
          </p:nvSpPr>
          <p:spPr bwMode="auto">
            <a:xfrm>
              <a:off x="4605338" y="1355725"/>
              <a:ext cx="2976563" cy="3290888"/>
            </a:xfrm>
            <a:custGeom>
              <a:avLst/>
              <a:gdLst>
                <a:gd name="T0" fmla="*/ 520 w 726"/>
                <a:gd name="T1" fmla="*/ 804 h 804"/>
                <a:gd name="T2" fmla="*/ 520 w 726"/>
                <a:gd name="T3" fmla="*/ 766 h 804"/>
                <a:gd name="T4" fmla="*/ 552 w 726"/>
                <a:gd name="T5" fmla="*/ 672 h 804"/>
                <a:gd name="T6" fmla="*/ 726 w 726"/>
                <a:gd name="T7" fmla="*/ 363 h 804"/>
                <a:gd name="T8" fmla="*/ 363 w 726"/>
                <a:gd name="T9" fmla="*/ 0 h 804"/>
                <a:gd name="T10" fmla="*/ 0 w 726"/>
                <a:gd name="T11" fmla="*/ 363 h 804"/>
                <a:gd name="T12" fmla="*/ 173 w 726"/>
                <a:gd name="T13" fmla="*/ 672 h 804"/>
                <a:gd name="T14" fmla="*/ 205 w 726"/>
                <a:gd name="T15" fmla="*/ 766 h 804"/>
                <a:gd name="T16" fmla="*/ 205 w 726"/>
                <a:gd name="T17" fmla="*/ 804 h 804"/>
                <a:gd name="T18" fmla="*/ 520 w 726"/>
                <a:gd name="T19" fmla="*/ 804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6" h="804">
                  <a:moveTo>
                    <a:pt x="520" y="804"/>
                  </a:moveTo>
                  <a:cubicBezTo>
                    <a:pt x="520" y="766"/>
                    <a:pt x="520" y="766"/>
                    <a:pt x="520" y="766"/>
                  </a:cubicBezTo>
                  <a:cubicBezTo>
                    <a:pt x="525" y="713"/>
                    <a:pt x="521" y="688"/>
                    <a:pt x="552" y="672"/>
                  </a:cubicBezTo>
                  <a:cubicBezTo>
                    <a:pt x="656" y="609"/>
                    <a:pt x="726" y="494"/>
                    <a:pt x="726" y="363"/>
                  </a:cubicBezTo>
                  <a:cubicBezTo>
                    <a:pt x="726" y="162"/>
                    <a:pt x="563" y="0"/>
                    <a:pt x="363" y="0"/>
                  </a:cubicBezTo>
                  <a:cubicBezTo>
                    <a:pt x="162" y="0"/>
                    <a:pt x="0" y="162"/>
                    <a:pt x="0" y="363"/>
                  </a:cubicBezTo>
                  <a:cubicBezTo>
                    <a:pt x="0" y="494"/>
                    <a:pt x="69" y="609"/>
                    <a:pt x="173" y="672"/>
                  </a:cubicBezTo>
                  <a:cubicBezTo>
                    <a:pt x="209" y="699"/>
                    <a:pt x="201" y="713"/>
                    <a:pt x="205" y="766"/>
                  </a:cubicBezTo>
                  <a:cubicBezTo>
                    <a:pt x="205" y="804"/>
                    <a:pt x="205" y="804"/>
                    <a:pt x="205" y="804"/>
                  </a:cubicBezTo>
                  <a:lnTo>
                    <a:pt x="520" y="804"/>
                  </a:lnTo>
                  <a:close/>
                </a:path>
              </a:pathLst>
            </a:custGeom>
            <a:noFill/>
            <a:ln w="106363" cap="rnd">
              <a:solidFill>
                <a:srgbClr val="0B318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3" name="isļiḑ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FD8697FC-AFAC-436C-BC74-ADFFF7B66A42}"/>
                </a:ext>
              </a:extLst>
            </p:cNvPr>
            <p:cNvSpPr/>
            <p:nvPr/>
          </p:nvSpPr>
          <p:spPr bwMode="auto">
            <a:xfrm>
              <a:off x="5449888" y="4646613"/>
              <a:ext cx="1287463" cy="528638"/>
            </a:xfrm>
            <a:prstGeom prst="rect">
              <a:avLst/>
            </a:prstGeom>
            <a:noFill/>
            <a:ln w="106363" cap="rnd">
              <a:solidFill>
                <a:srgbClr val="0B318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4" name="ï$1ïḋé">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91DDFB89-AE3A-4230-9C66-474146E2AE58}"/>
                </a:ext>
              </a:extLst>
            </p:cNvPr>
            <p:cNvSpPr/>
            <p:nvPr/>
          </p:nvSpPr>
          <p:spPr bwMode="auto">
            <a:xfrm>
              <a:off x="5449888" y="4830763"/>
              <a:ext cx="1287463" cy="0"/>
            </a:xfrm>
            <a:prstGeom prst="line">
              <a:avLst/>
            </a:prstGeom>
            <a:noFill/>
            <a:ln w="106363" cap="rnd">
              <a:solidFill>
                <a:srgbClr val="0B318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5" name="ï$liḍé">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9FD07E84-ECEF-4EEC-B318-05E44E0B4F8E}"/>
                </a:ext>
              </a:extLst>
            </p:cNvPr>
            <p:cNvSpPr/>
            <p:nvPr/>
          </p:nvSpPr>
          <p:spPr bwMode="auto">
            <a:xfrm>
              <a:off x="5449888" y="5002213"/>
              <a:ext cx="1287463" cy="0"/>
            </a:xfrm>
            <a:prstGeom prst="line">
              <a:avLst/>
            </a:prstGeom>
            <a:noFill/>
            <a:ln w="106363" cap="rnd">
              <a:solidFill>
                <a:srgbClr val="0B318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6" name="íṧľíď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11E4676E-E4BD-487F-A1A5-0622F51C5DB3}"/>
                </a:ext>
              </a:extLst>
            </p:cNvPr>
            <p:cNvSpPr/>
            <p:nvPr/>
          </p:nvSpPr>
          <p:spPr bwMode="auto">
            <a:xfrm>
              <a:off x="5713413" y="5175250"/>
              <a:ext cx="762000" cy="327025"/>
            </a:xfrm>
            <a:custGeom>
              <a:avLst/>
              <a:gdLst>
                <a:gd name="T0" fmla="*/ 0 w 186"/>
                <a:gd name="T1" fmla="*/ 0 h 80"/>
                <a:gd name="T2" fmla="*/ 93 w 186"/>
                <a:gd name="T3" fmla="*/ 80 h 80"/>
                <a:gd name="T4" fmla="*/ 186 w 186"/>
                <a:gd name="T5" fmla="*/ 0 h 80"/>
                <a:gd name="T6" fmla="*/ 0 w 186"/>
                <a:gd name="T7" fmla="*/ 0 h 80"/>
              </a:gdLst>
              <a:ahLst/>
              <a:cxnLst>
                <a:cxn ang="0">
                  <a:pos x="T0" y="T1"/>
                </a:cxn>
                <a:cxn ang="0">
                  <a:pos x="T2" y="T3"/>
                </a:cxn>
                <a:cxn ang="0">
                  <a:pos x="T4" y="T5"/>
                </a:cxn>
                <a:cxn ang="0">
                  <a:pos x="T6" y="T7"/>
                </a:cxn>
              </a:cxnLst>
              <a:rect l="0" t="0" r="r" b="b"/>
              <a:pathLst>
                <a:path w="186" h="80">
                  <a:moveTo>
                    <a:pt x="0" y="0"/>
                  </a:moveTo>
                  <a:cubicBezTo>
                    <a:pt x="6" y="45"/>
                    <a:pt x="46" y="80"/>
                    <a:pt x="93" y="80"/>
                  </a:cubicBezTo>
                  <a:cubicBezTo>
                    <a:pt x="140" y="80"/>
                    <a:pt x="179" y="45"/>
                    <a:pt x="186" y="0"/>
                  </a:cubicBezTo>
                  <a:lnTo>
                    <a:pt x="0" y="0"/>
                  </a:lnTo>
                  <a:close/>
                </a:path>
              </a:pathLst>
            </a:custGeom>
            <a:noFill/>
            <a:ln w="106363" cap="rnd">
              <a:solidFill>
                <a:srgbClr val="0B318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7" name="îṩ1ïď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EBAFAE95-12EB-4033-9FF7-C92B09644A91}"/>
                </a:ext>
              </a:extLst>
            </p:cNvPr>
            <p:cNvSpPr/>
            <p:nvPr/>
          </p:nvSpPr>
          <p:spPr bwMode="auto">
            <a:xfrm>
              <a:off x="5045075" y="1781175"/>
              <a:ext cx="2093913" cy="2084388"/>
            </a:xfrm>
            <a:custGeom>
              <a:avLst/>
              <a:gdLst>
                <a:gd name="T0" fmla="*/ 509 w 511"/>
                <a:gd name="T1" fmla="*/ 298 h 509"/>
                <a:gd name="T2" fmla="*/ 511 w 511"/>
                <a:gd name="T3" fmla="*/ 227 h 509"/>
                <a:gd name="T4" fmla="*/ 469 w 511"/>
                <a:gd name="T5" fmla="*/ 226 h 509"/>
                <a:gd name="T6" fmla="*/ 457 w 511"/>
                <a:gd name="T7" fmla="*/ 184 h 509"/>
                <a:gd name="T8" fmla="*/ 496 w 511"/>
                <a:gd name="T9" fmla="*/ 163 h 509"/>
                <a:gd name="T10" fmla="*/ 462 w 511"/>
                <a:gd name="T11" fmla="*/ 101 h 509"/>
                <a:gd name="T12" fmla="*/ 421 w 511"/>
                <a:gd name="T13" fmla="*/ 124 h 509"/>
                <a:gd name="T14" fmla="*/ 391 w 511"/>
                <a:gd name="T15" fmla="*/ 95 h 509"/>
                <a:gd name="T16" fmla="*/ 416 w 511"/>
                <a:gd name="T17" fmla="*/ 53 h 509"/>
                <a:gd name="T18" fmla="*/ 355 w 511"/>
                <a:gd name="T19" fmla="*/ 17 h 509"/>
                <a:gd name="T20" fmla="*/ 330 w 511"/>
                <a:gd name="T21" fmla="*/ 61 h 509"/>
                <a:gd name="T22" fmla="*/ 291 w 511"/>
                <a:gd name="T23" fmla="*/ 50 h 509"/>
                <a:gd name="T24" fmla="*/ 291 w 511"/>
                <a:gd name="T25" fmla="*/ 0 h 509"/>
                <a:gd name="T26" fmla="*/ 221 w 511"/>
                <a:gd name="T27" fmla="*/ 0 h 509"/>
                <a:gd name="T28" fmla="*/ 221 w 511"/>
                <a:gd name="T29" fmla="*/ 50 h 509"/>
                <a:gd name="T30" fmla="*/ 191 w 511"/>
                <a:gd name="T31" fmla="*/ 57 h 509"/>
                <a:gd name="T32" fmla="*/ 167 w 511"/>
                <a:gd name="T33" fmla="*/ 13 h 509"/>
                <a:gd name="T34" fmla="*/ 105 w 511"/>
                <a:gd name="T35" fmla="*/ 46 h 509"/>
                <a:gd name="T36" fmla="*/ 128 w 511"/>
                <a:gd name="T37" fmla="*/ 89 h 509"/>
                <a:gd name="T38" fmla="*/ 100 w 511"/>
                <a:gd name="T39" fmla="*/ 114 h 509"/>
                <a:gd name="T40" fmla="*/ 60 w 511"/>
                <a:gd name="T41" fmla="*/ 88 h 509"/>
                <a:gd name="T42" fmla="*/ 22 w 511"/>
                <a:gd name="T43" fmla="*/ 147 h 509"/>
                <a:gd name="T44" fmla="*/ 60 w 511"/>
                <a:gd name="T45" fmla="*/ 171 h 509"/>
                <a:gd name="T46" fmla="*/ 46 w 511"/>
                <a:gd name="T47" fmla="*/ 212 h 509"/>
                <a:gd name="T48" fmla="*/ 3 w 511"/>
                <a:gd name="T49" fmla="*/ 211 h 509"/>
                <a:gd name="T50" fmla="*/ 0 w 511"/>
                <a:gd name="T51" fmla="*/ 281 h 509"/>
                <a:gd name="T52" fmla="*/ 41 w 511"/>
                <a:gd name="T53" fmla="*/ 282 h 509"/>
                <a:gd name="T54" fmla="*/ 49 w 511"/>
                <a:gd name="T55" fmla="*/ 327 h 509"/>
                <a:gd name="T56" fmla="*/ 16 w 511"/>
                <a:gd name="T57" fmla="*/ 346 h 509"/>
                <a:gd name="T58" fmla="*/ 50 w 511"/>
                <a:gd name="T59" fmla="*/ 407 h 509"/>
                <a:gd name="T60" fmla="*/ 81 w 511"/>
                <a:gd name="T61" fmla="*/ 390 h 509"/>
                <a:gd name="T62" fmla="*/ 113 w 511"/>
                <a:gd name="T63" fmla="*/ 426 h 509"/>
                <a:gd name="T64" fmla="*/ 96 w 511"/>
                <a:gd name="T65" fmla="*/ 455 h 509"/>
                <a:gd name="T66" fmla="*/ 156 w 511"/>
                <a:gd name="T67" fmla="*/ 491 h 509"/>
                <a:gd name="T68" fmla="*/ 173 w 511"/>
                <a:gd name="T69" fmla="*/ 463 h 509"/>
                <a:gd name="T70" fmla="*/ 221 w 511"/>
                <a:gd name="T71" fmla="*/ 477 h 509"/>
                <a:gd name="T72" fmla="*/ 221 w 511"/>
                <a:gd name="T73" fmla="*/ 509 h 509"/>
                <a:gd name="T74" fmla="*/ 291 w 511"/>
                <a:gd name="T75" fmla="*/ 509 h 509"/>
                <a:gd name="T76" fmla="*/ 291 w 511"/>
                <a:gd name="T77" fmla="*/ 477 h 509"/>
                <a:gd name="T78" fmla="*/ 329 w 511"/>
                <a:gd name="T79" fmla="*/ 467 h 509"/>
                <a:gd name="T80" fmla="*/ 344 w 511"/>
                <a:gd name="T81" fmla="*/ 495 h 509"/>
                <a:gd name="T82" fmla="*/ 406 w 511"/>
                <a:gd name="T83" fmla="*/ 462 h 509"/>
                <a:gd name="T84" fmla="*/ 391 w 511"/>
                <a:gd name="T85" fmla="*/ 433 h 509"/>
                <a:gd name="T86" fmla="*/ 422 w 511"/>
                <a:gd name="T87" fmla="*/ 402 h 509"/>
                <a:gd name="T88" fmla="*/ 452 w 511"/>
                <a:gd name="T89" fmla="*/ 420 h 509"/>
                <a:gd name="T90" fmla="*/ 489 w 511"/>
                <a:gd name="T91" fmla="*/ 361 h 509"/>
                <a:gd name="T92" fmla="*/ 458 w 511"/>
                <a:gd name="T93" fmla="*/ 341 h 509"/>
                <a:gd name="T94" fmla="*/ 470 w 511"/>
                <a:gd name="T95" fmla="*/ 296 h 509"/>
                <a:gd name="T96" fmla="*/ 509 w 511"/>
                <a:gd name="T97" fmla="*/ 298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1" h="509">
                  <a:moveTo>
                    <a:pt x="509" y="298"/>
                  </a:moveTo>
                  <a:cubicBezTo>
                    <a:pt x="511" y="227"/>
                    <a:pt x="511" y="227"/>
                    <a:pt x="511" y="227"/>
                  </a:cubicBezTo>
                  <a:cubicBezTo>
                    <a:pt x="469" y="226"/>
                    <a:pt x="469" y="226"/>
                    <a:pt x="469" y="226"/>
                  </a:cubicBezTo>
                  <a:cubicBezTo>
                    <a:pt x="466" y="211"/>
                    <a:pt x="462" y="197"/>
                    <a:pt x="457" y="184"/>
                  </a:cubicBezTo>
                  <a:cubicBezTo>
                    <a:pt x="496" y="163"/>
                    <a:pt x="496" y="163"/>
                    <a:pt x="496" y="163"/>
                  </a:cubicBezTo>
                  <a:cubicBezTo>
                    <a:pt x="462" y="101"/>
                    <a:pt x="462" y="101"/>
                    <a:pt x="462" y="101"/>
                  </a:cubicBezTo>
                  <a:cubicBezTo>
                    <a:pt x="421" y="124"/>
                    <a:pt x="421" y="124"/>
                    <a:pt x="421" y="124"/>
                  </a:cubicBezTo>
                  <a:cubicBezTo>
                    <a:pt x="412" y="113"/>
                    <a:pt x="402" y="104"/>
                    <a:pt x="391" y="95"/>
                  </a:cubicBezTo>
                  <a:cubicBezTo>
                    <a:pt x="416" y="53"/>
                    <a:pt x="416" y="53"/>
                    <a:pt x="416" y="53"/>
                  </a:cubicBezTo>
                  <a:cubicBezTo>
                    <a:pt x="355" y="17"/>
                    <a:pt x="355" y="17"/>
                    <a:pt x="355" y="17"/>
                  </a:cubicBezTo>
                  <a:cubicBezTo>
                    <a:pt x="330" y="61"/>
                    <a:pt x="330" y="61"/>
                    <a:pt x="330" y="61"/>
                  </a:cubicBezTo>
                  <a:cubicBezTo>
                    <a:pt x="317" y="56"/>
                    <a:pt x="304" y="53"/>
                    <a:pt x="291" y="50"/>
                  </a:cubicBezTo>
                  <a:cubicBezTo>
                    <a:pt x="291" y="0"/>
                    <a:pt x="291" y="0"/>
                    <a:pt x="291" y="0"/>
                  </a:cubicBezTo>
                  <a:cubicBezTo>
                    <a:pt x="221" y="0"/>
                    <a:pt x="221" y="0"/>
                    <a:pt x="221" y="0"/>
                  </a:cubicBezTo>
                  <a:cubicBezTo>
                    <a:pt x="221" y="50"/>
                    <a:pt x="221" y="50"/>
                    <a:pt x="221" y="50"/>
                  </a:cubicBezTo>
                  <a:cubicBezTo>
                    <a:pt x="211" y="52"/>
                    <a:pt x="201" y="54"/>
                    <a:pt x="191" y="57"/>
                  </a:cubicBezTo>
                  <a:cubicBezTo>
                    <a:pt x="167" y="13"/>
                    <a:pt x="167" y="13"/>
                    <a:pt x="167" y="13"/>
                  </a:cubicBezTo>
                  <a:cubicBezTo>
                    <a:pt x="105" y="46"/>
                    <a:pt x="105" y="46"/>
                    <a:pt x="105" y="46"/>
                  </a:cubicBezTo>
                  <a:cubicBezTo>
                    <a:pt x="128" y="89"/>
                    <a:pt x="128" y="89"/>
                    <a:pt x="128" y="89"/>
                  </a:cubicBezTo>
                  <a:cubicBezTo>
                    <a:pt x="118" y="96"/>
                    <a:pt x="109" y="105"/>
                    <a:pt x="100" y="114"/>
                  </a:cubicBezTo>
                  <a:cubicBezTo>
                    <a:pt x="60" y="88"/>
                    <a:pt x="60" y="88"/>
                    <a:pt x="60" y="88"/>
                  </a:cubicBezTo>
                  <a:cubicBezTo>
                    <a:pt x="22" y="147"/>
                    <a:pt x="22" y="147"/>
                    <a:pt x="22" y="147"/>
                  </a:cubicBezTo>
                  <a:cubicBezTo>
                    <a:pt x="60" y="171"/>
                    <a:pt x="60" y="171"/>
                    <a:pt x="60" y="171"/>
                  </a:cubicBezTo>
                  <a:cubicBezTo>
                    <a:pt x="54" y="184"/>
                    <a:pt x="49" y="198"/>
                    <a:pt x="46" y="212"/>
                  </a:cubicBezTo>
                  <a:cubicBezTo>
                    <a:pt x="3" y="211"/>
                    <a:pt x="3" y="211"/>
                    <a:pt x="3" y="211"/>
                  </a:cubicBezTo>
                  <a:cubicBezTo>
                    <a:pt x="0" y="281"/>
                    <a:pt x="0" y="281"/>
                    <a:pt x="0" y="281"/>
                  </a:cubicBezTo>
                  <a:cubicBezTo>
                    <a:pt x="41" y="282"/>
                    <a:pt x="41" y="282"/>
                    <a:pt x="41" y="282"/>
                  </a:cubicBezTo>
                  <a:cubicBezTo>
                    <a:pt x="42" y="298"/>
                    <a:pt x="45" y="313"/>
                    <a:pt x="49" y="327"/>
                  </a:cubicBezTo>
                  <a:cubicBezTo>
                    <a:pt x="16" y="346"/>
                    <a:pt x="16" y="346"/>
                    <a:pt x="16" y="346"/>
                  </a:cubicBezTo>
                  <a:cubicBezTo>
                    <a:pt x="50" y="407"/>
                    <a:pt x="50" y="407"/>
                    <a:pt x="50" y="407"/>
                  </a:cubicBezTo>
                  <a:cubicBezTo>
                    <a:pt x="81" y="390"/>
                    <a:pt x="81" y="390"/>
                    <a:pt x="81" y="390"/>
                  </a:cubicBezTo>
                  <a:cubicBezTo>
                    <a:pt x="90" y="403"/>
                    <a:pt x="101" y="416"/>
                    <a:pt x="113" y="426"/>
                  </a:cubicBezTo>
                  <a:cubicBezTo>
                    <a:pt x="96" y="455"/>
                    <a:pt x="96" y="455"/>
                    <a:pt x="96" y="455"/>
                  </a:cubicBezTo>
                  <a:cubicBezTo>
                    <a:pt x="156" y="491"/>
                    <a:pt x="156" y="491"/>
                    <a:pt x="156" y="491"/>
                  </a:cubicBezTo>
                  <a:cubicBezTo>
                    <a:pt x="173" y="463"/>
                    <a:pt x="173" y="463"/>
                    <a:pt x="173" y="463"/>
                  </a:cubicBezTo>
                  <a:cubicBezTo>
                    <a:pt x="188" y="470"/>
                    <a:pt x="204" y="474"/>
                    <a:pt x="221" y="477"/>
                  </a:cubicBezTo>
                  <a:cubicBezTo>
                    <a:pt x="221" y="509"/>
                    <a:pt x="221" y="509"/>
                    <a:pt x="221" y="509"/>
                  </a:cubicBezTo>
                  <a:cubicBezTo>
                    <a:pt x="291" y="509"/>
                    <a:pt x="291" y="509"/>
                    <a:pt x="291" y="509"/>
                  </a:cubicBezTo>
                  <a:cubicBezTo>
                    <a:pt x="291" y="477"/>
                    <a:pt x="291" y="477"/>
                    <a:pt x="291" y="477"/>
                  </a:cubicBezTo>
                  <a:cubicBezTo>
                    <a:pt x="304" y="475"/>
                    <a:pt x="317" y="472"/>
                    <a:pt x="329" y="467"/>
                  </a:cubicBezTo>
                  <a:cubicBezTo>
                    <a:pt x="344" y="495"/>
                    <a:pt x="344" y="495"/>
                    <a:pt x="344" y="495"/>
                  </a:cubicBezTo>
                  <a:cubicBezTo>
                    <a:pt x="406" y="462"/>
                    <a:pt x="406" y="462"/>
                    <a:pt x="406" y="462"/>
                  </a:cubicBezTo>
                  <a:cubicBezTo>
                    <a:pt x="391" y="433"/>
                    <a:pt x="391" y="433"/>
                    <a:pt x="391" y="433"/>
                  </a:cubicBezTo>
                  <a:cubicBezTo>
                    <a:pt x="402" y="424"/>
                    <a:pt x="413" y="413"/>
                    <a:pt x="422" y="402"/>
                  </a:cubicBezTo>
                  <a:cubicBezTo>
                    <a:pt x="452" y="420"/>
                    <a:pt x="452" y="420"/>
                    <a:pt x="452" y="420"/>
                  </a:cubicBezTo>
                  <a:cubicBezTo>
                    <a:pt x="489" y="361"/>
                    <a:pt x="489" y="361"/>
                    <a:pt x="489" y="361"/>
                  </a:cubicBezTo>
                  <a:cubicBezTo>
                    <a:pt x="458" y="341"/>
                    <a:pt x="458" y="341"/>
                    <a:pt x="458" y="341"/>
                  </a:cubicBezTo>
                  <a:cubicBezTo>
                    <a:pt x="463" y="327"/>
                    <a:pt x="467" y="312"/>
                    <a:pt x="470" y="296"/>
                  </a:cubicBezTo>
                  <a:lnTo>
                    <a:pt x="509" y="298"/>
                  </a:lnTo>
                  <a:close/>
                </a:path>
              </a:pathLst>
            </a:custGeom>
            <a:noFill/>
            <a:ln w="106363" cap="flat">
              <a:solidFill>
                <a:srgbClr val="0B31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8" name="íśľíd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D276F477-A3E4-42E6-AF07-7A5C773BF29D}"/>
                </a:ext>
              </a:extLst>
            </p:cNvPr>
            <p:cNvSpPr/>
            <p:nvPr/>
          </p:nvSpPr>
          <p:spPr bwMode="auto">
            <a:xfrm>
              <a:off x="5462588" y="2195513"/>
              <a:ext cx="1258888" cy="1255713"/>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58 h 307"/>
                <a:gd name="T12" fmla="*/ 49 w 307"/>
                <a:gd name="T13" fmla="*/ 153 h 307"/>
                <a:gd name="T14" fmla="*/ 154 w 307"/>
                <a:gd name="T15" fmla="*/ 48 h 307"/>
                <a:gd name="T16" fmla="*/ 259 w 307"/>
                <a:gd name="T17" fmla="*/ 153 h 307"/>
                <a:gd name="T18" fmla="*/ 154 w 307"/>
                <a:gd name="T19" fmla="*/ 258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8"/>
                    <a:pt x="0" y="153"/>
                  </a:cubicBezTo>
                  <a:cubicBezTo>
                    <a:pt x="0" y="238"/>
                    <a:pt x="69" y="307"/>
                    <a:pt x="154" y="307"/>
                  </a:cubicBezTo>
                  <a:cubicBezTo>
                    <a:pt x="239" y="307"/>
                    <a:pt x="307" y="238"/>
                    <a:pt x="307" y="153"/>
                  </a:cubicBezTo>
                  <a:cubicBezTo>
                    <a:pt x="307" y="68"/>
                    <a:pt x="239" y="0"/>
                    <a:pt x="154" y="0"/>
                  </a:cubicBezTo>
                  <a:close/>
                  <a:moveTo>
                    <a:pt x="154" y="258"/>
                  </a:moveTo>
                  <a:cubicBezTo>
                    <a:pt x="96" y="258"/>
                    <a:pt x="49" y="211"/>
                    <a:pt x="49" y="153"/>
                  </a:cubicBezTo>
                  <a:cubicBezTo>
                    <a:pt x="49" y="95"/>
                    <a:pt x="96" y="48"/>
                    <a:pt x="154" y="48"/>
                  </a:cubicBezTo>
                  <a:cubicBezTo>
                    <a:pt x="212" y="48"/>
                    <a:pt x="259" y="95"/>
                    <a:pt x="259" y="153"/>
                  </a:cubicBezTo>
                  <a:cubicBezTo>
                    <a:pt x="259" y="211"/>
                    <a:pt x="212" y="258"/>
                    <a:pt x="154" y="258"/>
                  </a:cubicBezTo>
                  <a:close/>
                </a:path>
              </a:pathLst>
            </a:custGeom>
            <a:solidFill>
              <a:srgbClr val="6FC9F3"/>
            </a:solidFill>
            <a:ln w="106363" cap="flat">
              <a:solidFill>
                <a:srgbClr val="0B318F"/>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9" name="iṩľîdè">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D088FAD8-8066-4BE1-8745-FE0566847E35}"/>
                </a:ext>
              </a:extLst>
            </p:cNvPr>
            <p:cNvSpPr/>
            <p:nvPr/>
          </p:nvSpPr>
          <p:spPr bwMode="auto">
            <a:xfrm>
              <a:off x="6130925" y="2841625"/>
              <a:ext cx="1217613" cy="1216025"/>
            </a:xfrm>
            <a:custGeom>
              <a:avLst/>
              <a:gdLst>
                <a:gd name="T0" fmla="*/ 297 w 297"/>
                <a:gd name="T1" fmla="*/ 0 h 297"/>
                <a:gd name="T2" fmla="*/ 0 w 297"/>
                <a:gd name="T3" fmla="*/ 297 h 297"/>
              </a:gdLst>
              <a:ahLst/>
              <a:cxnLst>
                <a:cxn ang="0">
                  <a:pos x="T0" y="T1"/>
                </a:cxn>
                <a:cxn ang="0">
                  <a:pos x="T2" y="T3"/>
                </a:cxn>
              </a:cxnLst>
              <a:rect l="0" t="0" r="r" b="b"/>
              <a:pathLst>
                <a:path w="297" h="297">
                  <a:moveTo>
                    <a:pt x="297" y="0"/>
                  </a:moveTo>
                  <a:cubicBezTo>
                    <a:pt x="297" y="164"/>
                    <a:pt x="164" y="297"/>
                    <a:pt x="0" y="297"/>
                  </a:cubicBezTo>
                </a:path>
              </a:pathLst>
            </a:custGeom>
            <a:noFill/>
            <a:ln w="106363" cap="flat">
              <a:solidFill>
                <a:srgbClr val="0B31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grpSp>
      <p:grpSp>
        <p:nvGrpSpPr>
          <p:cNvPr id="27" name="08e7e138-8b4f-426a-adac-f69d349703fd"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4"/>
            </p:custDataLst>
          </p:nvPr>
        </p:nvGrpSpPr>
        <p:grpSpPr>
          <a:xfrm>
            <a:off x="6400148" y="2069043"/>
            <a:ext cx="3149042" cy="2704976"/>
            <a:chOff x="3935413" y="1573213"/>
            <a:chExt cx="4311650" cy="3703638"/>
          </a:xfrm>
        </p:grpSpPr>
        <p:sp>
          <p:nvSpPr>
            <p:cNvPr id="28" name="îṣ1ïḓ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434A0693-9918-47D2-B7D3-BFCC956FAAB3}"/>
                </a:ext>
              </a:extLst>
            </p:cNvPr>
            <p:cNvSpPr/>
            <p:nvPr/>
          </p:nvSpPr>
          <p:spPr bwMode="auto">
            <a:xfrm>
              <a:off x="3935413" y="1573213"/>
              <a:ext cx="4311650" cy="2895600"/>
            </a:xfrm>
            <a:custGeom>
              <a:avLst/>
              <a:gdLst>
                <a:gd name="T0" fmla="*/ 1014 w 1014"/>
                <a:gd name="T1" fmla="*/ 628 h 681"/>
                <a:gd name="T2" fmla="*/ 961 w 1014"/>
                <a:gd name="T3" fmla="*/ 681 h 681"/>
                <a:gd name="T4" fmla="*/ 54 w 1014"/>
                <a:gd name="T5" fmla="*/ 681 h 681"/>
                <a:gd name="T6" fmla="*/ 0 w 1014"/>
                <a:gd name="T7" fmla="*/ 628 h 681"/>
                <a:gd name="T8" fmla="*/ 0 w 1014"/>
                <a:gd name="T9" fmla="*/ 53 h 681"/>
                <a:gd name="T10" fmla="*/ 54 w 1014"/>
                <a:gd name="T11" fmla="*/ 0 h 681"/>
                <a:gd name="T12" fmla="*/ 961 w 1014"/>
                <a:gd name="T13" fmla="*/ 0 h 681"/>
                <a:gd name="T14" fmla="*/ 1014 w 1014"/>
                <a:gd name="T15" fmla="*/ 53 h 681"/>
                <a:gd name="T16" fmla="*/ 1014 w 1014"/>
                <a:gd name="T17" fmla="*/ 628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4" h="681">
                  <a:moveTo>
                    <a:pt x="1014" y="628"/>
                  </a:moveTo>
                  <a:cubicBezTo>
                    <a:pt x="1014" y="658"/>
                    <a:pt x="990" y="681"/>
                    <a:pt x="961" y="681"/>
                  </a:cubicBezTo>
                  <a:cubicBezTo>
                    <a:pt x="54" y="681"/>
                    <a:pt x="54" y="681"/>
                    <a:pt x="54" y="681"/>
                  </a:cubicBezTo>
                  <a:cubicBezTo>
                    <a:pt x="24" y="681"/>
                    <a:pt x="0" y="658"/>
                    <a:pt x="0" y="628"/>
                  </a:cubicBezTo>
                  <a:cubicBezTo>
                    <a:pt x="0" y="53"/>
                    <a:pt x="0" y="53"/>
                    <a:pt x="0" y="53"/>
                  </a:cubicBezTo>
                  <a:cubicBezTo>
                    <a:pt x="0" y="23"/>
                    <a:pt x="24" y="0"/>
                    <a:pt x="54" y="0"/>
                  </a:cubicBezTo>
                  <a:cubicBezTo>
                    <a:pt x="961" y="0"/>
                    <a:pt x="961" y="0"/>
                    <a:pt x="961" y="0"/>
                  </a:cubicBezTo>
                  <a:cubicBezTo>
                    <a:pt x="990" y="0"/>
                    <a:pt x="1014" y="23"/>
                    <a:pt x="1014" y="53"/>
                  </a:cubicBezTo>
                  <a:lnTo>
                    <a:pt x="1014" y="628"/>
                  </a:lnTo>
                  <a:close/>
                </a:path>
              </a:pathLst>
            </a:custGeom>
            <a:solidFill>
              <a:srgbClr val="6FC9F3"/>
            </a:solidFill>
            <a:ln w="111125" cap="flat">
              <a:solidFill>
                <a:srgbClr val="0B318F"/>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9" name="í$1ïḓè">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C8BF678F-DB82-45DF-8316-638F22424D8B}"/>
                </a:ext>
              </a:extLst>
            </p:cNvPr>
            <p:cNvSpPr/>
            <p:nvPr/>
          </p:nvSpPr>
          <p:spPr bwMode="auto">
            <a:xfrm>
              <a:off x="4195763" y="1833563"/>
              <a:ext cx="3797300" cy="2374900"/>
            </a:xfrm>
            <a:prstGeom prst="rect">
              <a:avLst/>
            </a:prstGeom>
            <a:solidFill>
              <a:srgbClr val="FFFFFF"/>
            </a:solidFill>
            <a:ln w="111125" cap="rnd">
              <a:solidFill>
                <a:srgbClr val="0B318F"/>
              </a:solidFill>
              <a:prstDash val="solid"/>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0" name="îŝ1íď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0B645DBC-69B6-4FC6-939E-BAA69A31AAB9}"/>
                </a:ext>
              </a:extLst>
            </p:cNvPr>
            <p:cNvSpPr/>
            <p:nvPr/>
          </p:nvSpPr>
          <p:spPr bwMode="auto">
            <a:xfrm>
              <a:off x="5683250" y="4468813"/>
              <a:ext cx="815975" cy="611188"/>
            </a:xfrm>
            <a:prstGeom prst="rect">
              <a:avLst/>
            </a:prstGeom>
            <a:solidFill>
              <a:srgbClr val="6FC9F3"/>
            </a:solidFill>
            <a:ln w="111125" cap="flat">
              <a:solidFill>
                <a:srgbClr val="0B318F"/>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1" name="iš1íḓ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16A591F2-C572-4367-AD34-28F7C383683B}"/>
                </a:ext>
              </a:extLst>
            </p:cNvPr>
            <p:cNvSpPr/>
            <p:nvPr/>
          </p:nvSpPr>
          <p:spPr bwMode="auto">
            <a:xfrm>
              <a:off x="5224463" y="5080001"/>
              <a:ext cx="1738313" cy="196850"/>
            </a:xfrm>
            <a:custGeom>
              <a:avLst/>
              <a:gdLst>
                <a:gd name="T0" fmla="*/ 363 w 409"/>
                <a:gd name="T1" fmla="*/ 0 h 46"/>
                <a:gd name="T2" fmla="*/ 298 w 409"/>
                <a:gd name="T3" fmla="*/ 0 h 46"/>
                <a:gd name="T4" fmla="*/ 204 w 409"/>
                <a:gd name="T5" fmla="*/ 0 h 46"/>
                <a:gd name="T6" fmla="*/ 111 w 409"/>
                <a:gd name="T7" fmla="*/ 0 h 46"/>
                <a:gd name="T8" fmla="*/ 45 w 409"/>
                <a:gd name="T9" fmla="*/ 0 h 46"/>
                <a:gd name="T10" fmla="*/ 0 w 409"/>
                <a:gd name="T11" fmla="*/ 46 h 46"/>
                <a:gd name="T12" fmla="*/ 204 w 409"/>
                <a:gd name="T13" fmla="*/ 46 h 46"/>
                <a:gd name="T14" fmla="*/ 409 w 409"/>
                <a:gd name="T15" fmla="*/ 46 h 46"/>
                <a:gd name="T16" fmla="*/ 363 w 409"/>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9" h="46">
                  <a:moveTo>
                    <a:pt x="363" y="0"/>
                  </a:moveTo>
                  <a:cubicBezTo>
                    <a:pt x="298" y="0"/>
                    <a:pt x="298" y="0"/>
                    <a:pt x="298" y="0"/>
                  </a:cubicBezTo>
                  <a:cubicBezTo>
                    <a:pt x="204" y="0"/>
                    <a:pt x="204" y="0"/>
                    <a:pt x="204" y="0"/>
                  </a:cubicBezTo>
                  <a:cubicBezTo>
                    <a:pt x="111" y="0"/>
                    <a:pt x="111" y="0"/>
                    <a:pt x="111" y="0"/>
                  </a:cubicBezTo>
                  <a:cubicBezTo>
                    <a:pt x="45" y="0"/>
                    <a:pt x="45" y="0"/>
                    <a:pt x="45" y="0"/>
                  </a:cubicBezTo>
                  <a:cubicBezTo>
                    <a:pt x="45" y="0"/>
                    <a:pt x="4" y="0"/>
                    <a:pt x="0" y="46"/>
                  </a:cubicBezTo>
                  <a:cubicBezTo>
                    <a:pt x="204" y="46"/>
                    <a:pt x="204" y="46"/>
                    <a:pt x="204" y="46"/>
                  </a:cubicBezTo>
                  <a:cubicBezTo>
                    <a:pt x="409" y="46"/>
                    <a:pt x="409" y="46"/>
                    <a:pt x="409" y="46"/>
                  </a:cubicBezTo>
                  <a:cubicBezTo>
                    <a:pt x="404" y="0"/>
                    <a:pt x="363" y="0"/>
                    <a:pt x="363" y="0"/>
                  </a:cubicBezTo>
                  <a:close/>
                </a:path>
              </a:pathLst>
            </a:custGeom>
            <a:solidFill>
              <a:srgbClr val="FFFFFF"/>
            </a:solidFill>
            <a:ln w="111125" cap="rnd">
              <a:solidFill>
                <a:srgbClr val="0B318F"/>
              </a:solidFill>
              <a:prstDash val="solid"/>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2" name="ïšḻïdè">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982E3F38-5BFD-4E6F-B9D8-77C06CC29CB1}"/>
                </a:ext>
              </a:extLst>
            </p:cNvPr>
            <p:cNvSpPr/>
            <p:nvPr/>
          </p:nvSpPr>
          <p:spPr bwMode="auto">
            <a:xfrm>
              <a:off x="4459288" y="2789238"/>
              <a:ext cx="1041400" cy="1173163"/>
            </a:xfrm>
            <a:custGeom>
              <a:avLst/>
              <a:gdLst>
                <a:gd name="T0" fmla="*/ 0 w 656"/>
                <a:gd name="T1" fmla="*/ 0 h 739"/>
                <a:gd name="T2" fmla="*/ 0 w 656"/>
                <a:gd name="T3" fmla="*/ 739 h 739"/>
                <a:gd name="T4" fmla="*/ 656 w 656"/>
                <a:gd name="T5" fmla="*/ 739 h 739"/>
              </a:gdLst>
              <a:ahLst/>
              <a:cxnLst>
                <a:cxn ang="0">
                  <a:pos x="T0" y="T1"/>
                </a:cxn>
                <a:cxn ang="0">
                  <a:pos x="T2" y="T3"/>
                </a:cxn>
                <a:cxn ang="0">
                  <a:pos x="T4" y="T5"/>
                </a:cxn>
              </a:cxnLst>
              <a:rect l="0" t="0" r="r" b="b"/>
              <a:pathLst>
                <a:path w="656" h="739">
                  <a:moveTo>
                    <a:pt x="0" y="0"/>
                  </a:moveTo>
                  <a:lnTo>
                    <a:pt x="0" y="739"/>
                  </a:lnTo>
                  <a:lnTo>
                    <a:pt x="656" y="739"/>
                  </a:lnTo>
                </a:path>
              </a:pathLst>
            </a:custGeom>
            <a:noFill/>
            <a:ln w="111125" cap="flat">
              <a:solidFill>
                <a:srgbClr val="0B31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3" name="ïŝḻïď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8D7DE129-ACFB-4775-BA64-A893DEBC3871}"/>
                </a:ext>
              </a:extLst>
            </p:cNvPr>
            <p:cNvSpPr/>
            <p:nvPr/>
          </p:nvSpPr>
          <p:spPr bwMode="auto">
            <a:xfrm>
              <a:off x="5203825" y="2138363"/>
              <a:ext cx="1776413" cy="1765300"/>
            </a:xfrm>
            <a:custGeom>
              <a:avLst/>
              <a:gdLst>
                <a:gd name="T0" fmla="*/ 384 w 418"/>
                <a:gd name="T1" fmla="*/ 210 h 415"/>
                <a:gd name="T2" fmla="*/ 383 w 418"/>
                <a:gd name="T3" fmla="*/ 194 h 415"/>
                <a:gd name="T4" fmla="*/ 418 w 418"/>
                <a:gd name="T5" fmla="*/ 185 h 415"/>
                <a:gd name="T6" fmla="*/ 402 w 418"/>
                <a:gd name="T7" fmla="*/ 125 h 415"/>
                <a:gd name="T8" fmla="*/ 367 w 418"/>
                <a:gd name="T9" fmla="*/ 134 h 415"/>
                <a:gd name="T10" fmla="*/ 338 w 418"/>
                <a:gd name="T11" fmla="*/ 92 h 415"/>
                <a:gd name="T12" fmla="*/ 361 w 418"/>
                <a:gd name="T13" fmla="*/ 62 h 415"/>
                <a:gd name="T14" fmla="*/ 312 w 418"/>
                <a:gd name="T15" fmla="*/ 24 h 415"/>
                <a:gd name="T16" fmla="*/ 288 w 418"/>
                <a:gd name="T17" fmla="*/ 54 h 415"/>
                <a:gd name="T18" fmla="*/ 240 w 418"/>
                <a:gd name="T19" fmla="*/ 38 h 415"/>
                <a:gd name="T20" fmla="*/ 240 w 418"/>
                <a:gd name="T21" fmla="*/ 0 h 415"/>
                <a:gd name="T22" fmla="*/ 178 w 418"/>
                <a:gd name="T23" fmla="*/ 0 h 415"/>
                <a:gd name="T24" fmla="*/ 178 w 418"/>
                <a:gd name="T25" fmla="*/ 38 h 415"/>
                <a:gd name="T26" fmla="*/ 132 w 418"/>
                <a:gd name="T27" fmla="*/ 53 h 415"/>
                <a:gd name="T28" fmla="*/ 109 w 418"/>
                <a:gd name="T29" fmla="*/ 23 h 415"/>
                <a:gd name="T30" fmla="*/ 60 w 418"/>
                <a:gd name="T31" fmla="*/ 60 h 415"/>
                <a:gd name="T32" fmla="*/ 82 w 418"/>
                <a:gd name="T33" fmla="*/ 90 h 415"/>
                <a:gd name="T34" fmla="*/ 60 w 418"/>
                <a:gd name="T35" fmla="*/ 120 h 415"/>
                <a:gd name="T36" fmla="*/ 25 w 418"/>
                <a:gd name="T37" fmla="*/ 107 h 415"/>
                <a:gd name="T38" fmla="*/ 4 w 418"/>
                <a:gd name="T39" fmla="*/ 165 h 415"/>
                <a:gd name="T40" fmla="*/ 38 w 418"/>
                <a:gd name="T41" fmla="*/ 177 h 415"/>
                <a:gd name="T42" fmla="*/ 35 w 418"/>
                <a:gd name="T43" fmla="*/ 210 h 415"/>
                <a:gd name="T44" fmla="*/ 35 w 418"/>
                <a:gd name="T45" fmla="*/ 221 h 415"/>
                <a:gd name="T46" fmla="*/ 0 w 418"/>
                <a:gd name="T47" fmla="*/ 230 h 415"/>
                <a:gd name="T48" fmla="*/ 16 w 418"/>
                <a:gd name="T49" fmla="*/ 290 h 415"/>
                <a:gd name="T50" fmla="*/ 50 w 418"/>
                <a:gd name="T51" fmla="*/ 281 h 415"/>
                <a:gd name="T52" fmla="*/ 79 w 418"/>
                <a:gd name="T53" fmla="*/ 326 h 415"/>
                <a:gd name="T54" fmla="*/ 58 w 418"/>
                <a:gd name="T55" fmla="*/ 353 h 415"/>
                <a:gd name="T56" fmla="*/ 107 w 418"/>
                <a:gd name="T57" fmla="*/ 391 h 415"/>
                <a:gd name="T58" fmla="*/ 128 w 418"/>
                <a:gd name="T59" fmla="*/ 364 h 415"/>
                <a:gd name="T60" fmla="*/ 178 w 418"/>
                <a:gd name="T61" fmla="*/ 381 h 415"/>
                <a:gd name="T62" fmla="*/ 178 w 418"/>
                <a:gd name="T63" fmla="*/ 415 h 415"/>
                <a:gd name="T64" fmla="*/ 240 w 418"/>
                <a:gd name="T65" fmla="*/ 415 h 415"/>
                <a:gd name="T66" fmla="*/ 240 w 418"/>
                <a:gd name="T67" fmla="*/ 381 h 415"/>
                <a:gd name="T68" fmla="*/ 289 w 418"/>
                <a:gd name="T69" fmla="*/ 365 h 415"/>
                <a:gd name="T70" fmla="*/ 309 w 418"/>
                <a:gd name="T71" fmla="*/ 392 h 415"/>
                <a:gd name="T72" fmla="*/ 358 w 418"/>
                <a:gd name="T73" fmla="*/ 355 h 415"/>
                <a:gd name="T74" fmla="*/ 338 w 418"/>
                <a:gd name="T75" fmla="*/ 328 h 415"/>
                <a:gd name="T76" fmla="*/ 361 w 418"/>
                <a:gd name="T77" fmla="*/ 296 h 415"/>
                <a:gd name="T78" fmla="*/ 393 w 418"/>
                <a:gd name="T79" fmla="*/ 308 h 415"/>
                <a:gd name="T80" fmla="*/ 415 w 418"/>
                <a:gd name="T81" fmla="*/ 250 h 415"/>
                <a:gd name="T82" fmla="*/ 381 w 418"/>
                <a:gd name="T83" fmla="*/ 238 h 415"/>
                <a:gd name="T84" fmla="*/ 384 w 418"/>
                <a:gd name="T85" fmla="*/ 210 h 415"/>
                <a:gd name="T86" fmla="*/ 209 w 418"/>
                <a:gd name="T87" fmla="*/ 326 h 415"/>
                <a:gd name="T88" fmla="*/ 90 w 418"/>
                <a:gd name="T89" fmla="*/ 208 h 415"/>
                <a:gd name="T90" fmla="*/ 209 w 418"/>
                <a:gd name="T91" fmla="*/ 89 h 415"/>
                <a:gd name="T92" fmla="*/ 328 w 418"/>
                <a:gd name="T93" fmla="*/ 208 h 415"/>
                <a:gd name="T94" fmla="*/ 209 w 418"/>
                <a:gd name="T95" fmla="*/ 326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18" h="415">
                  <a:moveTo>
                    <a:pt x="384" y="210"/>
                  </a:moveTo>
                  <a:cubicBezTo>
                    <a:pt x="384" y="204"/>
                    <a:pt x="383" y="199"/>
                    <a:pt x="383" y="194"/>
                  </a:cubicBezTo>
                  <a:cubicBezTo>
                    <a:pt x="418" y="185"/>
                    <a:pt x="418" y="185"/>
                    <a:pt x="418" y="185"/>
                  </a:cubicBezTo>
                  <a:cubicBezTo>
                    <a:pt x="402" y="125"/>
                    <a:pt x="402" y="125"/>
                    <a:pt x="402" y="125"/>
                  </a:cubicBezTo>
                  <a:cubicBezTo>
                    <a:pt x="367" y="134"/>
                    <a:pt x="367" y="134"/>
                    <a:pt x="367" y="134"/>
                  </a:cubicBezTo>
                  <a:cubicBezTo>
                    <a:pt x="359" y="119"/>
                    <a:pt x="349" y="104"/>
                    <a:pt x="338" y="92"/>
                  </a:cubicBezTo>
                  <a:cubicBezTo>
                    <a:pt x="361" y="62"/>
                    <a:pt x="361" y="62"/>
                    <a:pt x="361" y="62"/>
                  </a:cubicBezTo>
                  <a:cubicBezTo>
                    <a:pt x="312" y="24"/>
                    <a:pt x="312" y="24"/>
                    <a:pt x="312" y="24"/>
                  </a:cubicBezTo>
                  <a:cubicBezTo>
                    <a:pt x="288" y="54"/>
                    <a:pt x="288" y="54"/>
                    <a:pt x="288" y="54"/>
                  </a:cubicBezTo>
                  <a:cubicBezTo>
                    <a:pt x="273" y="47"/>
                    <a:pt x="257" y="41"/>
                    <a:pt x="240" y="38"/>
                  </a:cubicBezTo>
                  <a:cubicBezTo>
                    <a:pt x="240" y="0"/>
                    <a:pt x="240" y="0"/>
                    <a:pt x="240" y="0"/>
                  </a:cubicBezTo>
                  <a:cubicBezTo>
                    <a:pt x="178" y="0"/>
                    <a:pt x="178" y="0"/>
                    <a:pt x="178" y="0"/>
                  </a:cubicBezTo>
                  <a:cubicBezTo>
                    <a:pt x="178" y="38"/>
                    <a:pt x="178" y="38"/>
                    <a:pt x="178" y="38"/>
                  </a:cubicBezTo>
                  <a:cubicBezTo>
                    <a:pt x="162" y="41"/>
                    <a:pt x="147" y="46"/>
                    <a:pt x="132" y="53"/>
                  </a:cubicBezTo>
                  <a:cubicBezTo>
                    <a:pt x="109" y="23"/>
                    <a:pt x="109" y="23"/>
                    <a:pt x="109" y="23"/>
                  </a:cubicBezTo>
                  <a:cubicBezTo>
                    <a:pt x="60" y="60"/>
                    <a:pt x="60" y="60"/>
                    <a:pt x="60" y="60"/>
                  </a:cubicBezTo>
                  <a:cubicBezTo>
                    <a:pt x="82" y="90"/>
                    <a:pt x="82" y="90"/>
                    <a:pt x="82" y="90"/>
                  </a:cubicBezTo>
                  <a:cubicBezTo>
                    <a:pt x="74" y="99"/>
                    <a:pt x="66" y="109"/>
                    <a:pt x="60" y="120"/>
                  </a:cubicBezTo>
                  <a:cubicBezTo>
                    <a:pt x="25" y="107"/>
                    <a:pt x="25" y="107"/>
                    <a:pt x="25" y="107"/>
                  </a:cubicBezTo>
                  <a:cubicBezTo>
                    <a:pt x="4" y="165"/>
                    <a:pt x="4" y="165"/>
                    <a:pt x="4" y="165"/>
                  </a:cubicBezTo>
                  <a:cubicBezTo>
                    <a:pt x="38" y="177"/>
                    <a:pt x="38" y="177"/>
                    <a:pt x="38" y="177"/>
                  </a:cubicBezTo>
                  <a:cubicBezTo>
                    <a:pt x="36" y="188"/>
                    <a:pt x="35" y="199"/>
                    <a:pt x="35" y="210"/>
                  </a:cubicBezTo>
                  <a:cubicBezTo>
                    <a:pt x="35" y="214"/>
                    <a:pt x="35" y="217"/>
                    <a:pt x="35" y="221"/>
                  </a:cubicBezTo>
                  <a:cubicBezTo>
                    <a:pt x="0" y="230"/>
                    <a:pt x="0" y="230"/>
                    <a:pt x="0" y="230"/>
                  </a:cubicBezTo>
                  <a:cubicBezTo>
                    <a:pt x="16" y="290"/>
                    <a:pt x="16" y="290"/>
                    <a:pt x="16" y="290"/>
                  </a:cubicBezTo>
                  <a:cubicBezTo>
                    <a:pt x="50" y="281"/>
                    <a:pt x="50" y="281"/>
                    <a:pt x="50" y="281"/>
                  </a:cubicBezTo>
                  <a:cubicBezTo>
                    <a:pt x="57" y="298"/>
                    <a:pt x="67" y="312"/>
                    <a:pt x="79" y="326"/>
                  </a:cubicBezTo>
                  <a:cubicBezTo>
                    <a:pt x="58" y="353"/>
                    <a:pt x="58" y="353"/>
                    <a:pt x="58" y="353"/>
                  </a:cubicBezTo>
                  <a:cubicBezTo>
                    <a:pt x="107" y="391"/>
                    <a:pt x="107" y="391"/>
                    <a:pt x="107" y="391"/>
                  </a:cubicBezTo>
                  <a:cubicBezTo>
                    <a:pt x="128" y="364"/>
                    <a:pt x="128" y="364"/>
                    <a:pt x="128" y="364"/>
                  </a:cubicBezTo>
                  <a:cubicBezTo>
                    <a:pt x="143" y="372"/>
                    <a:pt x="160" y="378"/>
                    <a:pt x="178" y="381"/>
                  </a:cubicBezTo>
                  <a:cubicBezTo>
                    <a:pt x="178" y="415"/>
                    <a:pt x="178" y="415"/>
                    <a:pt x="178" y="415"/>
                  </a:cubicBezTo>
                  <a:cubicBezTo>
                    <a:pt x="240" y="415"/>
                    <a:pt x="240" y="415"/>
                    <a:pt x="240" y="415"/>
                  </a:cubicBezTo>
                  <a:cubicBezTo>
                    <a:pt x="240" y="381"/>
                    <a:pt x="240" y="381"/>
                    <a:pt x="240" y="381"/>
                  </a:cubicBezTo>
                  <a:cubicBezTo>
                    <a:pt x="257" y="378"/>
                    <a:pt x="274" y="373"/>
                    <a:pt x="289" y="365"/>
                  </a:cubicBezTo>
                  <a:cubicBezTo>
                    <a:pt x="309" y="392"/>
                    <a:pt x="309" y="392"/>
                    <a:pt x="309" y="392"/>
                  </a:cubicBezTo>
                  <a:cubicBezTo>
                    <a:pt x="358" y="355"/>
                    <a:pt x="358" y="355"/>
                    <a:pt x="358" y="355"/>
                  </a:cubicBezTo>
                  <a:cubicBezTo>
                    <a:pt x="338" y="328"/>
                    <a:pt x="338" y="328"/>
                    <a:pt x="338" y="328"/>
                  </a:cubicBezTo>
                  <a:cubicBezTo>
                    <a:pt x="347" y="318"/>
                    <a:pt x="354" y="308"/>
                    <a:pt x="361" y="296"/>
                  </a:cubicBezTo>
                  <a:cubicBezTo>
                    <a:pt x="393" y="308"/>
                    <a:pt x="393" y="308"/>
                    <a:pt x="393" y="308"/>
                  </a:cubicBezTo>
                  <a:cubicBezTo>
                    <a:pt x="415" y="250"/>
                    <a:pt x="415" y="250"/>
                    <a:pt x="415" y="250"/>
                  </a:cubicBezTo>
                  <a:cubicBezTo>
                    <a:pt x="381" y="238"/>
                    <a:pt x="381" y="238"/>
                    <a:pt x="381" y="238"/>
                  </a:cubicBezTo>
                  <a:cubicBezTo>
                    <a:pt x="383" y="229"/>
                    <a:pt x="384" y="219"/>
                    <a:pt x="384" y="210"/>
                  </a:cubicBezTo>
                  <a:close/>
                  <a:moveTo>
                    <a:pt x="209" y="326"/>
                  </a:moveTo>
                  <a:cubicBezTo>
                    <a:pt x="144" y="326"/>
                    <a:pt x="90" y="273"/>
                    <a:pt x="90" y="208"/>
                  </a:cubicBezTo>
                  <a:cubicBezTo>
                    <a:pt x="90" y="142"/>
                    <a:pt x="144" y="89"/>
                    <a:pt x="209" y="89"/>
                  </a:cubicBezTo>
                  <a:cubicBezTo>
                    <a:pt x="275" y="89"/>
                    <a:pt x="328" y="142"/>
                    <a:pt x="328" y="208"/>
                  </a:cubicBezTo>
                  <a:cubicBezTo>
                    <a:pt x="328" y="273"/>
                    <a:pt x="275" y="326"/>
                    <a:pt x="209" y="326"/>
                  </a:cubicBezTo>
                  <a:close/>
                </a:path>
              </a:pathLst>
            </a:custGeom>
            <a:noFill/>
            <a:ln w="111125" cap="flat">
              <a:solidFill>
                <a:srgbClr val="0B31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grpSp>
    </p:spTree>
    <p:custDataLst>
      <p:tags r:id="rId2"/>
    </p:custDataLst>
    <p:extLst>
      <p:ext uri="{BB962C8B-B14F-4D97-AF65-F5344CB8AC3E}">
        <p14:creationId xmlns:p14="http://schemas.microsoft.com/office/powerpoint/2010/main" val="91193317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4" name="ïṩḷidê">
            <a:extLst>
              <a:ext uri="{FF2B5EF4-FFF2-40B4-BE49-F238E27FC236}">
                <a16:creationId xmlns="" xmlns:p14="http://schemas.microsoft.com/office/powerpoint/2010/main" xmlns:a16="http://schemas.microsoft.com/office/drawing/2014/main" id="{625D0406-0787-4EE6-9393-820D5CE03187}"/>
              </a:ext>
            </a:extLst>
          </p:cNvPr>
          <p:cNvSpPr>
            <a:spLocks noGrp="1"/>
          </p:cNvSpPr>
          <p:nvPr>
            <p:ph type="sldNum" sz="quarter" idx="12"/>
          </p:nvPr>
        </p:nvSpPr>
        <p:spPr/>
        <p:txBody>
          <a:bodyPr/>
          <a:lstStyle/>
          <a:p>
            <a:fld id="{5DD3DB80-B894-403A-B48E-6FDC1A72010E}" type="slidenum">
              <a:rPr lang="zh-CN" altLang="en-US" smtClean="0"/>
              <a:pPr/>
              <a:t>20</a:t>
            </a:fld>
            <a:endParaRPr lang="zh-CN" altLang="en-US"/>
          </a:p>
        </p:txBody>
      </p:sp>
      <p:sp>
        <p:nvSpPr>
          <p:cNvPr id="2" name="íṣľiḑe">
            <a:extLst>
              <a:ext uri="{FF2B5EF4-FFF2-40B4-BE49-F238E27FC236}">
                <a16:creationId xmlns="" xmlns:p14="http://schemas.microsoft.com/office/powerpoint/2010/main" xmlns:a16="http://schemas.microsoft.com/office/drawing/2014/main" id="{8AC4395B-A0A0-4D81-B628-E4F9AB374736}"/>
              </a:ext>
            </a:extLst>
          </p:cNvPr>
          <p:cNvSpPr>
            <a:spLocks noGrp="1"/>
          </p:cNvSpPr>
          <p:nvPr>
            <p:ph type="title"/>
          </p:nvPr>
        </p:nvSpPr>
        <p:spPr/>
        <p:txBody>
          <a:bodyPr/>
          <a:lstStyle/>
          <a:p>
            <a:r>
              <a:rPr lang="en-US" altLang="zh-CN" dirty="0"/>
              <a:t>Transformer </a:t>
            </a:r>
            <a:r>
              <a:rPr lang="en-US" altLang="zh-CN" dirty="0" smtClean="0"/>
              <a:t>- </a:t>
            </a:r>
            <a:r>
              <a:rPr lang="en-US" altLang="zh-CN" dirty="0"/>
              <a:t>Self-Attention</a:t>
            </a:r>
            <a:endParaRPr lang="zh-CN" altLang="en-US" dirty="0"/>
          </a:p>
        </p:txBody>
      </p:sp>
      <p:sp>
        <p:nvSpPr>
          <p:cNvPr id="5" name="內容版面配置區 4"/>
          <p:cNvSpPr>
            <a:spLocks noGrp="1"/>
          </p:cNvSpPr>
          <p:nvPr>
            <p:ph sz="quarter" idx="13"/>
          </p:nvPr>
        </p:nvSpPr>
        <p:spPr/>
        <p:txBody>
          <a:bodyPr/>
          <a:lstStyle/>
          <a:p>
            <a:r>
              <a:rPr lang="zh-TW" altLang="en-US" dirty="0"/>
              <a:t>對於</a:t>
            </a:r>
            <a:r>
              <a:rPr lang="en-US" altLang="zh-TW" dirty="0"/>
              <a:t>self-attention</a:t>
            </a:r>
            <a:r>
              <a:rPr lang="zh-TW" altLang="en-US" dirty="0"/>
              <a:t>來講，</a:t>
            </a:r>
            <a:r>
              <a:rPr lang="en-US" altLang="zh-TW" dirty="0"/>
              <a:t>Q(Query), K(Key), V(Value)</a:t>
            </a:r>
            <a:r>
              <a:rPr lang="zh-TW" altLang="en-US" dirty="0"/>
              <a:t>三個矩陣均來自同一輸入，首先我們要計算</a:t>
            </a:r>
            <a:r>
              <a:rPr lang="en-US" altLang="zh-TW" dirty="0"/>
              <a:t>Q</a:t>
            </a:r>
            <a:r>
              <a:rPr lang="zh-TW" altLang="en-US" dirty="0"/>
              <a:t>與</a:t>
            </a:r>
            <a:r>
              <a:rPr lang="en-US" altLang="zh-TW" dirty="0"/>
              <a:t>K</a:t>
            </a:r>
            <a:r>
              <a:rPr lang="zh-TW" altLang="en-US" dirty="0"/>
              <a:t>之間的點乘，然後為了防止其結果過大，會除以一個尺度標度 ，其中 為一個</a:t>
            </a:r>
            <a:r>
              <a:rPr lang="en-US" altLang="zh-TW" dirty="0"/>
              <a:t>query</a:t>
            </a:r>
            <a:r>
              <a:rPr lang="zh-TW" altLang="en-US" dirty="0"/>
              <a:t>和</a:t>
            </a:r>
            <a:r>
              <a:rPr lang="en-US" altLang="zh-TW" dirty="0"/>
              <a:t>key</a:t>
            </a:r>
            <a:r>
              <a:rPr lang="zh-TW" altLang="en-US" dirty="0"/>
              <a:t>向量的維度。再利用</a:t>
            </a:r>
            <a:r>
              <a:rPr lang="en-US" altLang="zh-TW" dirty="0" err="1"/>
              <a:t>Softmax</a:t>
            </a:r>
            <a:r>
              <a:rPr lang="zh-TW" altLang="en-US" dirty="0"/>
              <a:t>操作將其結果歸一化為概率分布，然後再乘以矩陣</a:t>
            </a:r>
            <a:r>
              <a:rPr lang="en-US" altLang="zh-TW" dirty="0"/>
              <a:t>V</a:t>
            </a:r>
            <a:r>
              <a:rPr lang="zh-TW" altLang="en-US" dirty="0"/>
              <a:t>就得到權重求和的表示。該操作可以表示為 </a:t>
            </a:r>
            <a:endParaRPr lang="zh-TW" altLang="en-US" dirty="0"/>
          </a:p>
        </p:txBody>
      </p:sp>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97339" y="2129835"/>
            <a:ext cx="3609975" cy="514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99" name="Picture 3" descr="E:\Delete\git_r\two_month_report\202011_2021_1\11_31_to_12_4_fifth\img\scaled_dot_product_attention.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13276" y="2969068"/>
            <a:ext cx="2578100" cy="3098800"/>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0325066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098"/>
                                        </p:tgtEl>
                                        <p:attrNameLst>
                                          <p:attrName>style.visibility</p:attrName>
                                        </p:attrNameLst>
                                      </p:cBhvr>
                                      <p:to>
                                        <p:strVal val="visible"/>
                                      </p:to>
                                    </p:set>
                                    <p:anim calcmode="lin" valueType="num">
                                      <p:cBhvr additive="base">
                                        <p:cTn id="7" dur="500" fill="hold"/>
                                        <p:tgtEl>
                                          <p:spTgt spid="4098"/>
                                        </p:tgtEl>
                                        <p:attrNameLst>
                                          <p:attrName>ppt_x</p:attrName>
                                        </p:attrNameLst>
                                      </p:cBhvr>
                                      <p:tavLst>
                                        <p:tav tm="0">
                                          <p:val>
                                            <p:strVal val="#ppt_x"/>
                                          </p:val>
                                        </p:tav>
                                        <p:tav tm="100000">
                                          <p:val>
                                            <p:strVal val="#ppt_x"/>
                                          </p:val>
                                        </p:tav>
                                      </p:tavLst>
                                    </p:anim>
                                    <p:anim calcmode="lin" valueType="num">
                                      <p:cBhvr additive="base">
                                        <p:cTn id="8" dur="500" fill="hold"/>
                                        <p:tgtEl>
                                          <p:spTgt spid="409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42" presetClass="entr" presetSubtype="0" fill="hold" nodeType="clickEffect">
                                  <p:stCondLst>
                                    <p:cond delay="0"/>
                                  </p:stCondLst>
                                  <p:childTnLst>
                                    <p:set>
                                      <p:cBhvr>
                                        <p:cTn id="12" dur="1" fill="hold">
                                          <p:stCondLst>
                                            <p:cond delay="0"/>
                                          </p:stCondLst>
                                        </p:cTn>
                                        <p:tgtEl>
                                          <p:spTgt spid="4099"/>
                                        </p:tgtEl>
                                        <p:attrNameLst>
                                          <p:attrName>style.visibility</p:attrName>
                                        </p:attrNameLst>
                                      </p:cBhvr>
                                      <p:to>
                                        <p:strVal val="visible"/>
                                      </p:to>
                                    </p:set>
                                    <p:animEffect transition="in" filter="fade">
                                      <p:cBhvr>
                                        <p:cTn id="13" dur="1000"/>
                                        <p:tgtEl>
                                          <p:spTgt spid="4099"/>
                                        </p:tgtEl>
                                      </p:cBhvr>
                                    </p:animEffect>
                                    <p:anim calcmode="lin" valueType="num">
                                      <p:cBhvr>
                                        <p:cTn id="14" dur="1000" fill="hold"/>
                                        <p:tgtEl>
                                          <p:spTgt spid="4099"/>
                                        </p:tgtEl>
                                        <p:attrNameLst>
                                          <p:attrName>ppt_x</p:attrName>
                                        </p:attrNameLst>
                                      </p:cBhvr>
                                      <p:tavLst>
                                        <p:tav tm="0">
                                          <p:val>
                                            <p:strVal val="#ppt_x"/>
                                          </p:val>
                                        </p:tav>
                                        <p:tav tm="100000">
                                          <p:val>
                                            <p:strVal val="#ppt_x"/>
                                          </p:val>
                                        </p:tav>
                                      </p:tavLst>
                                    </p:anim>
                                    <p:anim calcmode="lin" valueType="num">
                                      <p:cBhvr>
                                        <p:cTn id="15" dur="1000" fill="hold"/>
                                        <p:tgtEl>
                                          <p:spTgt spid="409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4" name="ïṩḷidê">
            <a:extLst>
              <a:ext uri="{FF2B5EF4-FFF2-40B4-BE49-F238E27FC236}">
                <a16:creationId xmlns="" xmlns:p14="http://schemas.microsoft.com/office/powerpoint/2010/main" xmlns:a16="http://schemas.microsoft.com/office/drawing/2014/main" id="{625D0406-0787-4EE6-9393-820D5CE03187}"/>
              </a:ext>
            </a:extLst>
          </p:cNvPr>
          <p:cNvSpPr>
            <a:spLocks noGrp="1"/>
          </p:cNvSpPr>
          <p:nvPr>
            <p:ph type="sldNum" sz="quarter" idx="12"/>
          </p:nvPr>
        </p:nvSpPr>
        <p:spPr/>
        <p:txBody>
          <a:bodyPr/>
          <a:lstStyle/>
          <a:p>
            <a:fld id="{5DD3DB80-B894-403A-B48E-6FDC1A72010E}" type="slidenum">
              <a:rPr lang="zh-CN" altLang="en-US" smtClean="0"/>
              <a:pPr/>
              <a:t>21</a:t>
            </a:fld>
            <a:endParaRPr lang="zh-CN" altLang="en-US"/>
          </a:p>
        </p:txBody>
      </p:sp>
      <p:sp>
        <p:nvSpPr>
          <p:cNvPr id="2" name="íṣľiḑe">
            <a:extLst>
              <a:ext uri="{FF2B5EF4-FFF2-40B4-BE49-F238E27FC236}">
                <a16:creationId xmlns="" xmlns:p14="http://schemas.microsoft.com/office/powerpoint/2010/main" xmlns:a16="http://schemas.microsoft.com/office/drawing/2014/main" id="{8AC4395B-A0A0-4D81-B628-E4F9AB374736}"/>
              </a:ext>
            </a:extLst>
          </p:cNvPr>
          <p:cNvSpPr>
            <a:spLocks noGrp="1"/>
          </p:cNvSpPr>
          <p:nvPr>
            <p:ph type="title"/>
          </p:nvPr>
        </p:nvSpPr>
        <p:spPr/>
        <p:txBody>
          <a:bodyPr/>
          <a:lstStyle/>
          <a:p>
            <a:r>
              <a:rPr lang="en-US" altLang="zh-CN" dirty="0"/>
              <a:t>Transformer </a:t>
            </a:r>
            <a:r>
              <a:rPr lang="en-US" altLang="zh-CN" dirty="0" smtClean="0"/>
              <a:t>- </a:t>
            </a:r>
            <a:r>
              <a:rPr lang="en-US" altLang="zh-CN" dirty="0"/>
              <a:t>Self-Attention</a:t>
            </a:r>
            <a:endParaRPr lang="zh-CN" altLang="en-US" dirty="0"/>
          </a:p>
        </p:txBody>
      </p:sp>
      <p:pic>
        <p:nvPicPr>
          <p:cNvPr id="4100" name="Picture 4"/>
          <p:cNvPicPr>
            <a:picLocks noGrp="1" noChangeAspect="1" noChangeArrowheads="1"/>
          </p:cNvPicPr>
          <p:nvPr>
            <p:ph sz="quarter" idx="13"/>
          </p:nvPr>
        </p:nvPicPr>
        <p:blipFill>
          <a:blip r:embed="rId3">
            <a:extLst>
              <a:ext uri="{28A0092B-C50C-407E-A947-70E740481C1C}">
                <a14:useLocalDpi xmlns:a14="http://schemas.microsoft.com/office/drawing/2010/main" val="0"/>
              </a:ext>
            </a:extLst>
          </a:blip>
          <a:srcRect/>
          <a:stretch>
            <a:fillRect/>
          </a:stretch>
        </p:blipFill>
        <p:spPr bwMode="auto">
          <a:xfrm>
            <a:off x="686036" y="1235193"/>
            <a:ext cx="10995505" cy="10295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01" name="Picture 5" descr="E:\Delete\git_r\two_month_report\202011_2021_1\11_31_to_12_4_fifth\img\self_attention_q_k_v.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14170" y="2357451"/>
            <a:ext cx="6750825" cy="4258806"/>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4338029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4101"/>
                                        </p:tgtEl>
                                        <p:attrNameLst>
                                          <p:attrName>style.visibility</p:attrName>
                                        </p:attrNameLst>
                                      </p:cBhvr>
                                      <p:to>
                                        <p:strVal val="visible"/>
                                      </p:to>
                                    </p:set>
                                    <p:animEffect transition="in" filter="barn(inVertical)">
                                      <p:cBhvr>
                                        <p:cTn id="7" dur="500"/>
                                        <p:tgtEl>
                                          <p:spTgt spid="410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4" name="ïṩḷidê">
            <a:extLst>
              <a:ext uri="{FF2B5EF4-FFF2-40B4-BE49-F238E27FC236}">
                <a16:creationId xmlns="" xmlns:p14="http://schemas.microsoft.com/office/powerpoint/2010/main" xmlns:a16="http://schemas.microsoft.com/office/drawing/2014/main" id="{625D0406-0787-4EE6-9393-820D5CE03187}"/>
              </a:ext>
            </a:extLst>
          </p:cNvPr>
          <p:cNvSpPr>
            <a:spLocks noGrp="1"/>
          </p:cNvSpPr>
          <p:nvPr>
            <p:ph type="sldNum" sz="quarter" idx="12"/>
          </p:nvPr>
        </p:nvSpPr>
        <p:spPr/>
        <p:txBody>
          <a:bodyPr/>
          <a:lstStyle/>
          <a:p>
            <a:fld id="{5DD3DB80-B894-403A-B48E-6FDC1A72010E}" type="slidenum">
              <a:rPr lang="zh-CN" altLang="en-US" smtClean="0"/>
              <a:pPr/>
              <a:t>22</a:t>
            </a:fld>
            <a:endParaRPr lang="zh-CN" altLang="en-US"/>
          </a:p>
        </p:txBody>
      </p:sp>
      <p:sp>
        <p:nvSpPr>
          <p:cNvPr id="2" name="íṣľiḑe">
            <a:extLst>
              <a:ext uri="{FF2B5EF4-FFF2-40B4-BE49-F238E27FC236}">
                <a16:creationId xmlns="" xmlns:p14="http://schemas.microsoft.com/office/powerpoint/2010/main" xmlns:a16="http://schemas.microsoft.com/office/drawing/2014/main" id="{8AC4395B-A0A0-4D81-B628-E4F9AB374736}"/>
              </a:ext>
            </a:extLst>
          </p:cNvPr>
          <p:cNvSpPr>
            <a:spLocks noGrp="1"/>
          </p:cNvSpPr>
          <p:nvPr>
            <p:ph type="title"/>
          </p:nvPr>
        </p:nvSpPr>
        <p:spPr/>
        <p:txBody>
          <a:bodyPr/>
          <a:lstStyle/>
          <a:p>
            <a:r>
              <a:rPr lang="en-US" altLang="zh-TW" dirty="0"/>
              <a:t>Transformer - Self-Attention</a:t>
            </a:r>
          </a:p>
        </p:txBody>
      </p:sp>
      <p:pic>
        <p:nvPicPr>
          <p:cNvPr id="5122" name="Picture 2"/>
          <p:cNvPicPr>
            <a:picLocks noGrp="1" noChangeAspect="1" noChangeArrowheads="1"/>
          </p:cNvPicPr>
          <p:nvPr>
            <p:ph sz="quarter" idx="13"/>
          </p:nvPr>
        </p:nvPicPr>
        <p:blipFill>
          <a:blip r:embed="rId3">
            <a:extLst>
              <a:ext uri="{28A0092B-C50C-407E-A947-70E740481C1C}">
                <a14:useLocalDpi xmlns:a14="http://schemas.microsoft.com/office/drawing/2010/main" val="0"/>
              </a:ext>
            </a:extLst>
          </a:blip>
          <a:srcRect/>
          <a:stretch>
            <a:fillRect/>
          </a:stretch>
        </p:blipFill>
        <p:spPr bwMode="auto">
          <a:xfrm>
            <a:off x="614408" y="1146521"/>
            <a:ext cx="11240290" cy="44355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ustDataLst>
      <p:tags r:id="rId1"/>
    </p:custDataLst>
    <p:extLst>
      <p:ext uri="{BB962C8B-B14F-4D97-AF65-F5344CB8AC3E}">
        <p14:creationId xmlns:p14="http://schemas.microsoft.com/office/powerpoint/2010/main" val="73691698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4" name="ïṩḷidê">
            <a:extLst>
              <a:ext uri="{FF2B5EF4-FFF2-40B4-BE49-F238E27FC236}">
                <a16:creationId xmlns="" xmlns:p14="http://schemas.microsoft.com/office/powerpoint/2010/main" xmlns:a16="http://schemas.microsoft.com/office/drawing/2014/main" id="{625D0406-0787-4EE6-9393-820D5CE03187}"/>
              </a:ext>
            </a:extLst>
          </p:cNvPr>
          <p:cNvSpPr>
            <a:spLocks noGrp="1"/>
          </p:cNvSpPr>
          <p:nvPr>
            <p:ph type="sldNum" sz="quarter" idx="12"/>
          </p:nvPr>
        </p:nvSpPr>
        <p:spPr/>
        <p:txBody>
          <a:bodyPr/>
          <a:lstStyle/>
          <a:p>
            <a:fld id="{5DD3DB80-B894-403A-B48E-6FDC1A72010E}" type="slidenum">
              <a:rPr lang="zh-CN" altLang="en-US" smtClean="0"/>
              <a:pPr/>
              <a:t>23</a:t>
            </a:fld>
            <a:endParaRPr lang="zh-CN" altLang="en-US"/>
          </a:p>
        </p:txBody>
      </p:sp>
      <p:sp>
        <p:nvSpPr>
          <p:cNvPr id="2" name="íṣľiḑe">
            <a:extLst>
              <a:ext uri="{FF2B5EF4-FFF2-40B4-BE49-F238E27FC236}">
                <a16:creationId xmlns="" xmlns:p14="http://schemas.microsoft.com/office/powerpoint/2010/main" xmlns:a16="http://schemas.microsoft.com/office/drawing/2014/main" id="{8AC4395B-A0A0-4D81-B628-E4F9AB374736}"/>
              </a:ext>
            </a:extLst>
          </p:cNvPr>
          <p:cNvSpPr>
            <a:spLocks noGrp="1"/>
          </p:cNvSpPr>
          <p:nvPr>
            <p:ph type="title"/>
          </p:nvPr>
        </p:nvSpPr>
        <p:spPr/>
        <p:txBody>
          <a:bodyPr/>
          <a:lstStyle/>
          <a:p>
            <a:r>
              <a:rPr lang="en-US" altLang="zh-TW" dirty="0"/>
              <a:t>Transformer - Self-Attention</a:t>
            </a:r>
          </a:p>
        </p:txBody>
      </p:sp>
      <p:sp>
        <p:nvSpPr>
          <p:cNvPr id="5" name="內容版面配置區 4"/>
          <p:cNvSpPr>
            <a:spLocks noGrp="1"/>
          </p:cNvSpPr>
          <p:nvPr>
            <p:ph sz="quarter" idx="13"/>
          </p:nvPr>
        </p:nvSpPr>
        <p:spPr/>
        <p:txBody>
          <a:bodyPr/>
          <a:lstStyle/>
          <a:p>
            <a:endParaRPr lang="zh-TW" altLang="en-US" dirty="0"/>
          </a:p>
        </p:txBody>
      </p:sp>
      <p:pic>
        <p:nvPicPr>
          <p:cNvPr id="6146" name="Picture 2" descr="E:\Delete\git_r\two_month_report\202011_2021_1\11_31_to_12_4_fifth\img\self-attention-step_qkv.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20091" y="1095154"/>
            <a:ext cx="5443046" cy="5170894"/>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91582124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4" name="ïṩḷidê">
            <a:extLst>
              <a:ext uri="{FF2B5EF4-FFF2-40B4-BE49-F238E27FC236}">
                <a16:creationId xmlns="" xmlns:p14="http://schemas.microsoft.com/office/powerpoint/2010/main" xmlns:a16="http://schemas.microsoft.com/office/drawing/2014/main" id="{625D0406-0787-4EE6-9393-820D5CE03187}"/>
              </a:ext>
            </a:extLst>
          </p:cNvPr>
          <p:cNvSpPr>
            <a:spLocks noGrp="1"/>
          </p:cNvSpPr>
          <p:nvPr>
            <p:ph type="sldNum" sz="quarter" idx="12"/>
          </p:nvPr>
        </p:nvSpPr>
        <p:spPr/>
        <p:txBody>
          <a:bodyPr/>
          <a:lstStyle/>
          <a:p>
            <a:fld id="{5DD3DB80-B894-403A-B48E-6FDC1A72010E}" type="slidenum">
              <a:rPr lang="zh-CN" altLang="en-US" smtClean="0"/>
              <a:pPr/>
              <a:t>24</a:t>
            </a:fld>
            <a:endParaRPr lang="zh-CN" altLang="en-US"/>
          </a:p>
        </p:txBody>
      </p:sp>
      <p:sp>
        <p:nvSpPr>
          <p:cNvPr id="2" name="íṣľiḑe">
            <a:extLst>
              <a:ext uri="{FF2B5EF4-FFF2-40B4-BE49-F238E27FC236}">
                <a16:creationId xmlns="" xmlns:p14="http://schemas.microsoft.com/office/powerpoint/2010/main" xmlns:a16="http://schemas.microsoft.com/office/drawing/2014/main" id="{8AC4395B-A0A0-4D81-B628-E4F9AB374736}"/>
              </a:ext>
            </a:extLst>
          </p:cNvPr>
          <p:cNvSpPr>
            <a:spLocks noGrp="1"/>
          </p:cNvSpPr>
          <p:nvPr>
            <p:ph type="title"/>
          </p:nvPr>
        </p:nvSpPr>
        <p:spPr/>
        <p:txBody>
          <a:bodyPr/>
          <a:lstStyle/>
          <a:p>
            <a:r>
              <a:rPr lang="en-US" altLang="zh-TW" dirty="0"/>
              <a:t>Transformer - Self-Attention</a:t>
            </a:r>
          </a:p>
        </p:txBody>
      </p:sp>
      <p:pic>
        <p:nvPicPr>
          <p:cNvPr id="7171" name="Picture 3"/>
          <p:cNvPicPr>
            <a:picLocks noGrp="1" noChangeAspect="1" noChangeArrowheads="1"/>
          </p:cNvPicPr>
          <p:nvPr>
            <p:ph sz="quarter" idx="13"/>
          </p:nvPr>
        </p:nvPicPr>
        <p:blipFill>
          <a:blip r:embed="rId3">
            <a:extLst>
              <a:ext uri="{28A0092B-C50C-407E-A947-70E740481C1C}">
                <a14:useLocalDpi xmlns:a14="http://schemas.microsoft.com/office/drawing/2010/main" val="0"/>
              </a:ext>
            </a:extLst>
          </a:blip>
          <a:srcRect/>
          <a:stretch>
            <a:fillRect/>
          </a:stretch>
        </p:blipFill>
        <p:spPr bwMode="auto">
          <a:xfrm>
            <a:off x="643648" y="1084317"/>
            <a:ext cx="9889802" cy="4893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72" name="Picture 4" descr="E:\Delete\git_r\two_month_report\202011_2021_1\11_31_to_12_4_fifth\img\self-attention-step_qkv_matrix.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31854" y="1477924"/>
            <a:ext cx="4457237" cy="5047955"/>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88926557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4" name="ïṩḷidê">
            <a:extLst>
              <a:ext uri="{FF2B5EF4-FFF2-40B4-BE49-F238E27FC236}">
                <a16:creationId xmlns="" xmlns:p14="http://schemas.microsoft.com/office/powerpoint/2010/main" xmlns:a16="http://schemas.microsoft.com/office/drawing/2014/main" id="{625D0406-0787-4EE6-9393-820D5CE03187}"/>
              </a:ext>
            </a:extLst>
          </p:cNvPr>
          <p:cNvSpPr>
            <a:spLocks noGrp="1"/>
          </p:cNvSpPr>
          <p:nvPr>
            <p:ph type="sldNum" sz="quarter" idx="12"/>
          </p:nvPr>
        </p:nvSpPr>
        <p:spPr/>
        <p:txBody>
          <a:bodyPr/>
          <a:lstStyle/>
          <a:p>
            <a:fld id="{5DD3DB80-B894-403A-B48E-6FDC1A72010E}" type="slidenum">
              <a:rPr lang="zh-CN" altLang="en-US" smtClean="0"/>
              <a:pPr/>
              <a:t>25</a:t>
            </a:fld>
            <a:endParaRPr lang="zh-CN" altLang="en-US"/>
          </a:p>
        </p:txBody>
      </p:sp>
      <p:sp>
        <p:nvSpPr>
          <p:cNvPr id="2" name="íṣľiḑe">
            <a:extLst>
              <a:ext uri="{FF2B5EF4-FFF2-40B4-BE49-F238E27FC236}">
                <a16:creationId xmlns="" xmlns:p14="http://schemas.microsoft.com/office/powerpoint/2010/main" xmlns:a16="http://schemas.microsoft.com/office/drawing/2014/main" id="{8AC4395B-A0A0-4D81-B628-E4F9AB374736}"/>
              </a:ext>
            </a:extLst>
          </p:cNvPr>
          <p:cNvSpPr>
            <a:spLocks noGrp="1"/>
          </p:cNvSpPr>
          <p:nvPr>
            <p:ph type="title"/>
          </p:nvPr>
        </p:nvSpPr>
        <p:spPr/>
        <p:txBody>
          <a:bodyPr/>
          <a:lstStyle/>
          <a:p>
            <a:r>
              <a:rPr lang="en-US" altLang="zh-TW" dirty="0"/>
              <a:t>Transformer - Self-Attention</a:t>
            </a:r>
          </a:p>
        </p:txBody>
      </p:sp>
      <p:pic>
        <p:nvPicPr>
          <p:cNvPr id="8194" name="Picture 2"/>
          <p:cNvPicPr>
            <a:picLocks noGrp="1" noChangeAspect="1" noChangeArrowheads="1"/>
          </p:cNvPicPr>
          <p:nvPr>
            <p:ph sz="quarter" idx="13"/>
          </p:nvPr>
        </p:nvPicPr>
        <p:blipFill>
          <a:blip r:embed="rId3">
            <a:extLst>
              <a:ext uri="{28A0092B-C50C-407E-A947-70E740481C1C}">
                <a14:useLocalDpi xmlns:a14="http://schemas.microsoft.com/office/drawing/2010/main" val="0"/>
              </a:ext>
            </a:extLst>
          </a:blip>
          <a:srcRect/>
          <a:stretch>
            <a:fillRect/>
          </a:stretch>
        </p:blipFill>
        <p:spPr bwMode="auto">
          <a:xfrm>
            <a:off x="661884" y="1131216"/>
            <a:ext cx="4537437" cy="6503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195" name="Picture 3" descr="E:\Delete\git_r\two_month_report\202011_2021_1\11_31_to_12_4_fifth\img\self-attention-step_qkv_softmax.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58605" y="2133526"/>
            <a:ext cx="8505825" cy="3324225"/>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727575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194"/>
                                        </p:tgtEl>
                                        <p:attrNameLst>
                                          <p:attrName>style.visibility</p:attrName>
                                        </p:attrNameLst>
                                      </p:cBhvr>
                                      <p:to>
                                        <p:strVal val="visible"/>
                                      </p:to>
                                    </p:set>
                                    <p:anim calcmode="lin" valueType="num">
                                      <p:cBhvr additive="base">
                                        <p:cTn id="7" dur="500" fill="hold"/>
                                        <p:tgtEl>
                                          <p:spTgt spid="8194"/>
                                        </p:tgtEl>
                                        <p:attrNameLst>
                                          <p:attrName>ppt_x</p:attrName>
                                        </p:attrNameLst>
                                      </p:cBhvr>
                                      <p:tavLst>
                                        <p:tav tm="0">
                                          <p:val>
                                            <p:strVal val="#ppt_x"/>
                                          </p:val>
                                        </p:tav>
                                        <p:tav tm="100000">
                                          <p:val>
                                            <p:strVal val="#ppt_x"/>
                                          </p:val>
                                        </p:tav>
                                      </p:tavLst>
                                    </p:anim>
                                    <p:anim calcmode="lin" valueType="num">
                                      <p:cBhvr additive="base">
                                        <p:cTn id="8" dur="500" fill="hold"/>
                                        <p:tgtEl>
                                          <p:spTgt spid="819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4" name="ïṩḷidê">
            <a:extLst>
              <a:ext uri="{FF2B5EF4-FFF2-40B4-BE49-F238E27FC236}">
                <a16:creationId xmlns="" xmlns:p14="http://schemas.microsoft.com/office/powerpoint/2010/main" xmlns:a16="http://schemas.microsoft.com/office/drawing/2014/main" id="{625D0406-0787-4EE6-9393-820D5CE03187}"/>
              </a:ext>
            </a:extLst>
          </p:cNvPr>
          <p:cNvSpPr>
            <a:spLocks noGrp="1"/>
          </p:cNvSpPr>
          <p:nvPr>
            <p:ph type="sldNum" sz="quarter" idx="12"/>
          </p:nvPr>
        </p:nvSpPr>
        <p:spPr/>
        <p:txBody>
          <a:bodyPr/>
          <a:lstStyle/>
          <a:p>
            <a:fld id="{5DD3DB80-B894-403A-B48E-6FDC1A72010E}" type="slidenum">
              <a:rPr lang="zh-CN" altLang="en-US" smtClean="0"/>
              <a:pPr/>
              <a:t>26</a:t>
            </a:fld>
            <a:endParaRPr lang="zh-CN" altLang="en-US"/>
          </a:p>
        </p:txBody>
      </p:sp>
      <p:sp>
        <p:nvSpPr>
          <p:cNvPr id="2" name="íṣľiḑe">
            <a:extLst>
              <a:ext uri="{FF2B5EF4-FFF2-40B4-BE49-F238E27FC236}">
                <a16:creationId xmlns="" xmlns:p14="http://schemas.microsoft.com/office/powerpoint/2010/main" xmlns:a16="http://schemas.microsoft.com/office/drawing/2014/main" id="{8AC4395B-A0A0-4D81-B628-E4F9AB374736}"/>
              </a:ext>
            </a:extLst>
          </p:cNvPr>
          <p:cNvSpPr>
            <a:spLocks noGrp="1"/>
          </p:cNvSpPr>
          <p:nvPr>
            <p:ph type="title"/>
          </p:nvPr>
        </p:nvSpPr>
        <p:spPr/>
        <p:txBody>
          <a:bodyPr/>
          <a:lstStyle/>
          <a:p>
            <a:r>
              <a:rPr lang="en-US" altLang="zh-TW" dirty="0"/>
              <a:t>Transformer - Self-Attention</a:t>
            </a:r>
          </a:p>
        </p:txBody>
      </p:sp>
      <p:pic>
        <p:nvPicPr>
          <p:cNvPr id="9218" name="Picture 2"/>
          <p:cNvPicPr>
            <a:picLocks noGrp="1" noChangeAspect="1" noChangeArrowheads="1"/>
          </p:cNvPicPr>
          <p:nvPr>
            <p:ph sz="quarter" idx="13"/>
          </p:nvPr>
        </p:nvPicPr>
        <p:blipFill>
          <a:blip r:embed="rId3">
            <a:extLst>
              <a:ext uri="{28A0092B-C50C-407E-A947-70E740481C1C}">
                <a14:useLocalDpi xmlns:a14="http://schemas.microsoft.com/office/drawing/2010/main" val="0"/>
              </a:ext>
            </a:extLst>
          </a:blip>
          <a:srcRect/>
          <a:stretch>
            <a:fillRect/>
          </a:stretch>
        </p:blipFill>
        <p:spPr bwMode="auto">
          <a:xfrm>
            <a:off x="682511" y="1133160"/>
            <a:ext cx="11445649" cy="29816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ustDataLst>
      <p:tags r:id="rId1"/>
    </p:custDataLst>
    <p:extLst>
      <p:ext uri="{BB962C8B-B14F-4D97-AF65-F5344CB8AC3E}">
        <p14:creationId xmlns:p14="http://schemas.microsoft.com/office/powerpoint/2010/main" val="219876005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4" name="ïṩḷidê">
            <a:extLst>
              <a:ext uri="{FF2B5EF4-FFF2-40B4-BE49-F238E27FC236}">
                <a16:creationId xmlns="" xmlns:p14="http://schemas.microsoft.com/office/powerpoint/2010/main" xmlns:a16="http://schemas.microsoft.com/office/drawing/2014/main" id="{625D0406-0787-4EE6-9393-820D5CE03187}"/>
              </a:ext>
            </a:extLst>
          </p:cNvPr>
          <p:cNvSpPr>
            <a:spLocks noGrp="1"/>
          </p:cNvSpPr>
          <p:nvPr>
            <p:ph type="sldNum" sz="quarter" idx="12"/>
          </p:nvPr>
        </p:nvSpPr>
        <p:spPr/>
        <p:txBody>
          <a:bodyPr/>
          <a:lstStyle/>
          <a:p>
            <a:fld id="{5DD3DB80-B894-403A-B48E-6FDC1A72010E}" type="slidenum">
              <a:rPr lang="zh-CN" altLang="en-US" smtClean="0"/>
              <a:pPr/>
              <a:t>27</a:t>
            </a:fld>
            <a:endParaRPr lang="zh-CN" altLang="en-US"/>
          </a:p>
        </p:txBody>
      </p:sp>
      <p:sp>
        <p:nvSpPr>
          <p:cNvPr id="2" name="íṣľiḑe">
            <a:extLst>
              <a:ext uri="{FF2B5EF4-FFF2-40B4-BE49-F238E27FC236}">
                <a16:creationId xmlns="" xmlns:p14="http://schemas.microsoft.com/office/powerpoint/2010/main" xmlns:a16="http://schemas.microsoft.com/office/drawing/2014/main" id="{8AC4395B-A0A0-4D81-B628-E4F9AB374736}"/>
              </a:ext>
            </a:extLst>
          </p:cNvPr>
          <p:cNvSpPr>
            <a:spLocks noGrp="1"/>
          </p:cNvSpPr>
          <p:nvPr>
            <p:ph type="title"/>
          </p:nvPr>
        </p:nvSpPr>
        <p:spPr/>
        <p:txBody>
          <a:bodyPr/>
          <a:lstStyle/>
          <a:p>
            <a:r>
              <a:rPr lang="en-US" altLang="zh-TW" dirty="0"/>
              <a:t>Transformer - Multi-Head Attention</a:t>
            </a:r>
          </a:p>
        </p:txBody>
      </p:sp>
      <p:pic>
        <p:nvPicPr>
          <p:cNvPr id="10242" name="Picture 2"/>
          <p:cNvPicPr>
            <a:picLocks noGrp="1" noChangeAspect="1" noChangeArrowheads="1"/>
          </p:cNvPicPr>
          <p:nvPr>
            <p:ph sz="quarter" idx="13"/>
          </p:nvPr>
        </p:nvPicPr>
        <p:blipFill>
          <a:blip r:embed="rId3">
            <a:extLst>
              <a:ext uri="{28A0092B-C50C-407E-A947-70E740481C1C}">
                <a14:useLocalDpi xmlns:a14="http://schemas.microsoft.com/office/drawing/2010/main" val="0"/>
              </a:ext>
            </a:extLst>
          </a:blip>
          <a:srcRect/>
          <a:stretch>
            <a:fillRect/>
          </a:stretch>
        </p:blipFill>
        <p:spPr bwMode="auto">
          <a:xfrm>
            <a:off x="683166" y="1073600"/>
            <a:ext cx="11302330" cy="36472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ustDataLst>
      <p:tags r:id="rId1"/>
    </p:custDataLst>
    <p:extLst>
      <p:ext uri="{BB962C8B-B14F-4D97-AF65-F5344CB8AC3E}">
        <p14:creationId xmlns:p14="http://schemas.microsoft.com/office/powerpoint/2010/main" val="402804830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4" name="ïṩḷidê">
            <a:extLst>
              <a:ext uri="{FF2B5EF4-FFF2-40B4-BE49-F238E27FC236}">
                <a16:creationId xmlns="" xmlns:p14="http://schemas.microsoft.com/office/powerpoint/2010/main" xmlns:a16="http://schemas.microsoft.com/office/drawing/2014/main" id="{625D0406-0787-4EE6-9393-820D5CE03187}"/>
              </a:ext>
            </a:extLst>
          </p:cNvPr>
          <p:cNvSpPr>
            <a:spLocks noGrp="1"/>
          </p:cNvSpPr>
          <p:nvPr>
            <p:ph type="sldNum" sz="quarter" idx="12"/>
          </p:nvPr>
        </p:nvSpPr>
        <p:spPr/>
        <p:txBody>
          <a:bodyPr/>
          <a:lstStyle/>
          <a:p>
            <a:fld id="{5DD3DB80-B894-403A-B48E-6FDC1A72010E}" type="slidenum">
              <a:rPr lang="zh-CN" altLang="en-US" smtClean="0"/>
              <a:pPr/>
              <a:t>28</a:t>
            </a:fld>
            <a:endParaRPr lang="zh-CN" altLang="en-US"/>
          </a:p>
        </p:txBody>
      </p:sp>
      <p:sp>
        <p:nvSpPr>
          <p:cNvPr id="2" name="íṣľiḑe">
            <a:extLst>
              <a:ext uri="{FF2B5EF4-FFF2-40B4-BE49-F238E27FC236}">
                <a16:creationId xmlns="" xmlns:p14="http://schemas.microsoft.com/office/powerpoint/2010/main" xmlns:a16="http://schemas.microsoft.com/office/drawing/2014/main" id="{8AC4395B-A0A0-4D81-B628-E4F9AB374736}"/>
              </a:ext>
            </a:extLst>
          </p:cNvPr>
          <p:cNvSpPr>
            <a:spLocks noGrp="1"/>
          </p:cNvSpPr>
          <p:nvPr>
            <p:ph type="title"/>
          </p:nvPr>
        </p:nvSpPr>
        <p:spPr/>
        <p:txBody>
          <a:bodyPr/>
          <a:lstStyle/>
          <a:p>
            <a:r>
              <a:rPr lang="en-US" altLang="zh-TW" dirty="0"/>
              <a:t>Transformer - Multi-Head Attention</a:t>
            </a:r>
          </a:p>
        </p:txBody>
      </p:sp>
      <p:sp>
        <p:nvSpPr>
          <p:cNvPr id="5" name="內容版面配置區 4"/>
          <p:cNvSpPr>
            <a:spLocks noGrp="1"/>
          </p:cNvSpPr>
          <p:nvPr>
            <p:ph sz="quarter" idx="13"/>
          </p:nvPr>
        </p:nvSpPr>
        <p:spPr/>
        <p:txBody>
          <a:bodyPr/>
          <a:lstStyle/>
          <a:p>
            <a:r>
              <a:rPr lang="en-US" altLang="zh-TW" dirty="0"/>
              <a:t>1.</a:t>
            </a:r>
            <a:r>
              <a:rPr lang="zh-TW" altLang="en-US" dirty="0"/>
              <a:t>如下</a:t>
            </a:r>
            <a:r>
              <a:rPr lang="en-US" altLang="zh-TW" dirty="0"/>
              <a:t>,</a:t>
            </a:r>
            <a:r>
              <a:rPr lang="zh-TW" altLang="en-US" dirty="0"/>
              <a:t>一個詞對應到多個</a:t>
            </a:r>
            <a:r>
              <a:rPr lang="en-US" altLang="zh-TW" dirty="0"/>
              <a:t>Attention Head(</a:t>
            </a:r>
            <a:r>
              <a:rPr lang="zh-TW" altLang="en-US" dirty="0"/>
              <a:t>論文裡寫</a:t>
            </a:r>
            <a:r>
              <a:rPr lang="en-US" altLang="zh-TW" dirty="0"/>
              <a:t>8</a:t>
            </a:r>
            <a:r>
              <a:rPr lang="zh-TW" altLang="en-US" dirty="0"/>
              <a:t>個</a:t>
            </a:r>
            <a:r>
              <a:rPr lang="en-US" altLang="zh-TW" dirty="0"/>
              <a:t>,w1 ~ w8</a:t>
            </a:r>
            <a:r>
              <a:rPr lang="en-US" altLang="zh-TW" dirty="0" smtClean="0"/>
              <a:t>)</a:t>
            </a:r>
          </a:p>
          <a:p>
            <a:endParaRPr lang="zh-TW" altLang="en-US" dirty="0"/>
          </a:p>
        </p:txBody>
      </p:sp>
      <p:pic>
        <p:nvPicPr>
          <p:cNvPr id="11266" name="Picture 2" descr="E:\Delete\git_r\two_month_report\202011_2021_1\11_31_to_12_4_fifth\img\transformer_attention_heads_qkv.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46067" y="1542547"/>
            <a:ext cx="8269803" cy="4886127"/>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410834609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4" name="ïṩḷidê">
            <a:extLst>
              <a:ext uri="{FF2B5EF4-FFF2-40B4-BE49-F238E27FC236}">
                <a16:creationId xmlns="" xmlns:p14="http://schemas.microsoft.com/office/powerpoint/2010/main" xmlns:a16="http://schemas.microsoft.com/office/drawing/2014/main" id="{625D0406-0787-4EE6-9393-820D5CE03187}"/>
              </a:ext>
            </a:extLst>
          </p:cNvPr>
          <p:cNvSpPr>
            <a:spLocks noGrp="1"/>
          </p:cNvSpPr>
          <p:nvPr>
            <p:ph type="sldNum" sz="quarter" idx="12"/>
          </p:nvPr>
        </p:nvSpPr>
        <p:spPr/>
        <p:txBody>
          <a:bodyPr/>
          <a:lstStyle/>
          <a:p>
            <a:fld id="{5DD3DB80-B894-403A-B48E-6FDC1A72010E}" type="slidenum">
              <a:rPr lang="zh-CN" altLang="en-US" smtClean="0"/>
              <a:pPr/>
              <a:t>29</a:t>
            </a:fld>
            <a:endParaRPr lang="zh-CN" altLang="en-US"/>
          </a:p>
        </p:txBody>
      </p:sp>
      <p:sp>
        <p:nvSpPr>
          <p:cNvPr id="2" name="íṣľiḑe">
            <a:extLst>
              <a:ext uri="{FF2B5EF4-FFF2-40B4-BE49-F238E27FC236}">
                <a16:creationId xmlns="" xmlns:p14="http://schemas.microsoft.com/office/powerpoint/2010/main" xmlns:a16="http://schemas.microsoft.com/office/drawing/2014/main" id="{8AC4395B-A0A0-4D81-B628-E4F9AB374736}"/>
              </a:ext>
            </a:extLst>
          </p:cNvPr>
          <p:cNvSpPr>
            <a:spLocks noGrp="1"/>
          </p:cNvSpPr>
          <p:nvPr>
            <p:ph type="title"/>
          </p:nvPr>
        </p:nvSpPr>
        <p:spPr/>
        <p:txBody>
          <a:bodyPr/>
          <a:lstStyle/>
          <a:p>
            <a:r>
              <a:rPr lang="en-US" altLang="zh-TW" dirty="0"/>
              <a:t>Transformer - Multi-Head Attention</a:t>
            </a:r>
          </a:p>
        </p:txBody>
      </p:sp>
      <p:sp>
        <p:nvSpPr>
          <p:cNvPr id="5" name="內容版面配置區 4"/>
          <p:cNvSpPr>
            <a:spLocks noGrp="1"/>
          </p:cNvSpPr>
          <p:nvPr>
            <p:ph sz="quarter" idx="13"/>
          </p:nvPr>
        </p:nvSpPr>
        <p:spPr/>
        <p:txBody>
          <a:bodyPr/>
          <a:lstStyle/>
          <a:p>
            <a:r>
              <a:rPr lang="en-US" altLang="zh-TW" dirty="0"/>
              <a:t>2.</a:t>
            </a:r>
            <a:r>
              <a:rPr lang="zh-TW" altLang="en-US" dirty="0"/>
              <a:t>特征矩陣經過一層全連接後得到輸出 </a:t>
            </a:r>
            <a:r>
              <a:rPr lang="en-US" altLang="zh-TW" b="1" dirty="0"/>
              <a:t>Z</a:t>
            </a:r>
            <a:endParaRPr lang="zh-TW" altLang="en-US" b="1" dirty="0"/>
          </a:p>
        </p:txBody>
      </p:sp>
      <p:pic>
        <p:nvPicPr>
          <p:cNvPr id="12290" name="Picture 2" descr="E:\Delete\git_r\two_month_report\202011_2021_1\11_31_to_12_4_fifth\img\multi-attention_combine_z.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49168" y="1626780"/>
            <a:ext cx="8514396" cy="4710223"/>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39588863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i$ḷíḑê"/>
        <p:cNvGrpSpPr/>
        <p:nvPr/>
      </p:nvGrpSpPr>
      <p:grpSpPr>
        <a:xfrm>
          <a:off x="0" y="0"/>
          <a:ext cx="0" cy="0"/>
          <a:chOff x="0" y="0"/>
          <a:chExt cx="0" cy="0"/>
        </a:xfrm>
      </p:grpSpPr>
      <p:sp>
        <p:nvSpPr>
          <p:cNvPr id="5" name="íšľîḑê"/>
          <p:cNvSpPr>
            <a:spLocks noGrp="1"/>
          </p:cNvSpPr>
          <p:nvPr>
            <p:ph type="title"/>
          </p:nvPr>
        </p:nvSpPr>
        <p:spPr>
          <a:xfrm>
            <a:off x="4751615" y="3380413"/>
            <a:ext cx="5419185" cy="895350"/>
          </a:xfrm>
        </p:spPr>
        <p:txBody>
          <a:bodyPr/>
          <a:lstStyle/>
          <a:p>
            <a:r>
              <a:rPr lang="en-US" altLang="zh-TW" dirty="0" err="1"/>
              <a:t>rnn</a:t>
            </a:r>
            <a:r>
              <a:rPr lang="en-US" altLang="zh-TW" dirty="0"/>
              <a:t>/seq2seq</a:t>
            </a:r>
            <a:r>
              <a:rPr lang="zh-TW" altLang="en-US" dirty="0"/>
              <a:t>的問題</a:t>
            </a:r>
          </a:p>
        </p:txBody>
      </p:sp>
      <p:sp>
        <p:nvSpPr>
          <p:cNvPr id="6" name="isliḋê"/>
          <p:cNvSpPr>
            <a:spLocks noGrp="1"/>
          </p:cNvSpPr>
          <p:nvPr>
            <p:ph type="body" idx="1"/>
          </p:nvPr>
        </p:nvSpPr>
        <p:spPr>
          <a:xfrm>
            <a:off x="4752731" y="4275763"/>
            <a:ext cx="5419185" cy="1015623"/>
          </a:xfrm>
        </p:spPr>
        <p:txBody>
          <a:bodyPr/>
          <a:lstStyle/>
          <a:p>
            <a:pPr lvl="0"/>
            <a:r>
              <a:rPr lang="en-US" altLang="zh-CN" dirty="0" smtClean="0"/>
              <a:t>Encoder &amp; Decoder Model</a:t>
            </a:r>
            <a:endParaRPr lang="en-US" altLang="zh-CN" dirty="0"/>
          </a:p>
        </p:txBody>
      </p:sp>
      <p:sp>
        <p:nvSpPr>
          <p:cNvPr id="9" name="iṧḻiḑe">
            <a:extLst>
              <a:ext uri="{FF2B5EF4-FFF2-40B4-BE49-F238E27FC236}">
                <a16:creationId xmlns="" xmlns:p14="http://schemas.microsoft.com/office/powerpoint/2010/main" xmlns:a16="http://schemas.microsoft.com/office/drawing/2014/main" id="{04F69230-F3A6-4586-9371-A858F4763E9F}"/>
              </a:ext>
            </a:extLst>
          </p:cNvPr>
          <p:cNvSpPr txBox="1"/>
          <p:nvPr/>
        </p:nvSpPr>
        <p:spPr>
          <a:xfrm>
            <a:off x="4751615" y="1566614"/>
            <a:ext cx="2141996" cy="1862386"/>
          </a:xfrm>
          <a:prstGeom prst="rect">
            <a:avLst/>
          </a:prstGeom>
          <a:noFill/>
          <a:ln w="117475">
            <a:noFill/>
          </a:ln>
        </p:spPr>
        <p:txBody>
          <a:bodyPr wrap="none" rtlCol="0">
            <a:prstTxWarp prst="textPlain">
              <a:avLst/>
            </a:prstTxWarp>
            <a:spAutoFit/>
          </a:bodyPr>
          <a:lstStyle/>
          <a:p>
            <a:r>
              <a:rPr lang="en-US" altLang="zh-CN" spc="100" smtClean="0">
                <a:solidFill>
                  <a:schemeClr val="accent1"/>
                </a:solidFill>
                <a:latin typeface="Impact" panose="020B0806030902050204" pitchFamily="34" charset="0"/>
                <a:cs typeface="Arial" panose="020B0604020202020204" pitchFamily="34" charset="0"/>
              </a:rPr>
              <a:t>/</a:t>
            </a:r>
            <a:r>
              <a:rPr lang="en-US" altLang="zh-CN" sz="100" spc="100" smtClean="0">
                <a:solidFill>
                  <a:schemeClr val="accent1"/>
                </a:solidFill>
                <a:latin typeface="Impact" panose="020B0806030902050204" pitchFamily="34" charset="0"/>
                <a:cs typeface="Arial" panose="020B0604020202020204" pitchFamily="34" charset="0"/>
              </a:rPr>
              <a:t> </a:t>
            </a:r>
            <a:r>
              <a:rPr lang="en-US" altLang="zh-CN" spc="100" smtClean="0">
                <a:solidFill>
                  <a:schemeClr val="accent1"/>
                </a:solidFill>
                <a:latin typeface="Impact" panose="020B0806030902050204" pitchFamily="34" charset="0"/>
                <a:cs typeface="Arial" panose="020B0604020202020204" pitchFamily="34" charset="0"/>
              </a:rPr>
              <a:t>01</a:t>
            </a:r>
            <a:endParaRPr lang="zh-CN" altLang="en-US" spc="100" dirty="0">
              <a:solidFill>
                <a:schemeClr val="accent1"/>
              </a:solidFill>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237159738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4" name="ïṩḷidê">
            <a:extLst>
              <a:ext uri="{FF2B5EF4-FFF2-40B4-BE49-F238E27FC236}">
                <a16:creationId xmlns="" xmlns:p14="http://schemas.microsoft.com/office/powerpoint/2010/main" xmlns:a16="http://schemas.microsoft.com/office/drawing/2014/main" id="{625D0406-0787-4EE6-9393-820D5CE03187}"/>
              </a:ext>
            </a:extLst>
          </p:cNvPr>
          <p:cNvSpPr>
            <a:spLocks noGrp="1"/>
          </p:cNvSpPr>
          <p:nvPr>
            <p:ph type="sldNum" sz="quarter" idx="12"/>
          </p:nvPr>
        </p:nvSpPr>
        <p:spPr/>
        <p:txBody>
          <a:bodyPr/>
          <a:lstStyle/>
          <a:p>
            <a:fld id="{5DD3DB80-B894-403A-B48E-6FDC1A72010E}" type="slidenum">
              <a:rPr lang="zh-CN" altLang="en-US" smtClean="0"/>
              <a:pPr/>
              <a:t>30</a:t>
            </a:fld>
            <a:endParaRPr lang="zh-CN" altLang="en-US"/>
          </a:p>
        </p:txBody>
      </p:sp>
      <p:sp>
        <p:nvSpPr>
          <p:cNvPr id="2" name="íṣľiḑe">
            <a:extLst>
              <a:ext uri="{FF2B5EF4-FFF2-40B4-BE49-F238E27FC236}">
                <a16:creationId xmlns="" xmlns:p14="http://schemas.microsoft.com/office/powerpoint/2010/main" xmlns:a16="http://schemas.microsoft.com/office/drawing/2014/main" id="{8AC4395B-A0A0-4D81-B628-E4F9AB374736}"/>
              </a:ext>
            </a:extLst>
          </p:cNvPr>
          <p:cNvSpPr>
            <a:spLocks noGrp="1"/>
          </p:cNvSpPr>
          <p:nvPr>
            <p:ph type="title"/>
          </p:nvPr>
        </p:nvSpPr>
        <p:spPr/>
        <p:txBody>
          <a:bodyPr/>
          <a:lstStyle/>
          <a:p>
            <a:r>
              <a:rPr lang="en-US" altLang="zh-TW" dirty="0"/>
              <a:t>Transformer - Multi-Head Attention</a:t>
            </a:r>
          </a:p>
        </p:txBody>
      </p:sp>
      <p:sp>
        <p:nvSpPr>
          <p:cNvPr id="5" name="內容版面配置區 4"/>
          <p:cNvSpPr>
            <a:spLocks noGrp="1"/>
          </p:cNvSpPr>
          <p:nvPr>
            <p:ph sz="quarter" idx="13"/>
          </p:nvPr>
        </p:nvSpPr>
        <p:spPr/>
        <p:txBody>
          <a:bodyPr/>
          <a:lstStyle/>
          <a:p>
            <a:r>
              <a:rPr lang="en-US" altLang="zh-TW" dirty="0"/>
              <a:t>3.</a:t>
            </a:r>
            <a:r>
              <a:rPr lang="zh-TW" altLang="en-US" dirty="0"/>
              <a:t>最後八個注意力的計算結果合併輸出，整個流程如下</a:t>
            </a:r>
            <a:r>
              <a:rPr lang="zh-TW" altLang="en-US" dirty="0" smtClean="0"/>
              <a:t>圖</a:t>
            </a:r>
            <a:endParaRPr lang="en-US" altLang="zh-TW" dirty="0" smtClean="0"/>
          </a:p>
          <a:p>
            <a:endParaRPr lang="zh-TW" altLang="en-US" b="1" dirty="0"/>
          </a:p>
        </p:txBody>
      </p:sp>
      <p:pic>
        <p:nvPicPr>
          <p:cNvPr id="13314" name="Picture 2" descr="E:\Delete\git_r\two_month_report\202011_2021_1\11_31_to_12_4_fifth\img\transformer_multi_attention_8.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9133" y="1500933"/>
            <a:ext cx="8412309" cy="4709955"/>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019062054"/>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4" name="ïṩḷidê">
            <a:extLst>
              <a:ext uri="{FF2B5EF4-FFF2-40B4-BE49-F238E27FC236}">
                <a16:creationId xmlns="" xmlns:p14="http://schemas.microsoft.com/office/powerpoint/2010/main" xmlns:a16="http://schemas.microsoft.com/office/drawing/2014/main" id="{625D0406-0787-4EE6-9393-820D5CE03187}"/>
              </a:ext>
            </a:extLst>
          </p:cNvPr>
          <p:cNvSpPr>
            <a:spLocks noGrp="1"/>
          </p:cNvSpPr>
          <p:nvPr>
            <p:ph type="sldNum" sz="quarter" idx="12"/>
          </p:nvPr>
        </p:nvSpPr>
        <p:spPr/>
        <p:txBody>
          <a:bodyPr/>
          <a:lstStyle/>
          <a:p>
            <a:fld id="{5DD3DB80-B894-403A-B48E-6FDC1A72010E}" type="slidenum">
              <a:rPr lang="zh-CN" altLang="en-US" smtClean="0"/>
              <a:pPr/>
              <a:t>31</a:t>
            </a:fld>
            <a:endParaRPr lang="zh-CN" altLang="en-US"/>
          </a:p>
        </p:txBody>
      </p:sp>
      <p:sp>
        <p:nvSpPr>
          <p:cNvPr id="2" name="íṣľiḑe">
            <a:extLst>
              <a:ext uri="{FF2B5EF4-FFF2-40B4-BE49-F238E27FC236}">
                <a16:creationId xmlns="" xmlns:p14="http://schemas.microsoft.com/office/powerpoint/2010/main" xmlns:a16="http://schemas.microsoft.com/office/drawing/2014/main" id="{8AC4395B-A0A0-4D81-B628-E4F9AB374736}"/>
              </a:ext>
            </a:extLst>
          </p:cNvPr>
          <p:cNvSpPr>
            <a:spLocks noGrp="1"/>
          </p:cNvSpPr>
          <p:nvPr>
            <p:ph type="title"/>
          </p:nvPr>
        </p:nvSpPr>
        <p:spPr/>
        <p:txBody>
          <a:bodyPr/>
          <a:lstStyle/>
          <a:p>
            <a:r>
              <a:rPr lang="en-US" altLang="zh-TW" dirty="0"/>
              <a:t>Transformer </a:t>
            </a:r>
            <a:r>
              <a:rPr lang="en-US" altLang="zh-TW" dirty="0" smtClean="0"/>
              <a:t>- </a:t>
            </a:r>
            <a:r>
              <a:rPr lang="en-US" altLang="zh-TW" dirty="0"/>
              <a:t>Positional Encoding</a:t>
            </a:r>
            <a:endParaRPr lang="en-US" altLang="zh-TW" dirty="0"/>
          </a:p>
        </p:txBody>
      </p:sp>
      <p:sp>
        <p:nvSpPr>
          <p:cNvPr id="5" name="內容版面配置區 4"/>
          <p:cNvSpPr>
            <a:spLocks noGrp="1"/>
          </p:cNvSpPr>
          <p:nvPr>
            <p:ph sz="quarter" idx="13"/>
          </p:nvPr>
        </p:nvSpPr>
        <p:spPr/>
        <p:txBody>
          <a:bodyPr/>
          <a:lstStyle/>
          <a:p>
            <a:r>
              <a:rPr lang="en-US" altLang="zh-TW" dirty="0"/>
              <a:t>transformer</a:t>
            </a:r>
            <a:r>
              <a:rPr lang="zh-TW" altLang="en-US" dirty="0"/>
              <a:t>給</a:t>
            </a:r>
            <a:r>
              <a:rPr lang="en-US" altLang="zh-TW" dirty="0"/>
              <a:t>encoder</a:t>
            </a:r>
            <a:r>
              <a:rPr lang="zh-TW" altLang="en-US" dirty="0"/>
              <a:t>層和</a:t>
            </a:r>
            <a:r>
              <a:rPr lang="en-US" altLang="zh-TW" dirty="0"/>
              <a:t>decoder</a:t>
            </a:r>
            <a:r>
              <a:rPr lang="zh-TW" altLang="en-US" dirty="0"/>
              <a:t>層的輸入添加了一個額外的向量</a:t>
            </a:r>
            <a:r>
              <a:rPr lang="en-US" altLang="zh-TW" dirty="0"/>
              <a:t>Positional Encoding</a:t>
            </a:r>
            <a:r>
              <a:rPr lang="zh-TW" altLang="en-US" dirty="0"/>
              <a:t>作為釋輸入序列中單詞順序的</a:t>
            </a:r>
            <a:r>
              <a:rPr lang="zh-TW" altLang="en-US" dirty="0" smtClean="0"/>
              <a:t>方法</a:t>
            </a:r>
            <a:r>
              <a:rPr lang="en-US" altLang="zh-TW" dirty="0" smtClean="0"/>
              <a:t>,</a:t>
            </a:r>
            <a:r>
              <a:rPr lang="zh-TW" altLang="en-US" dirty="0"/>
              <a:t>最後把這個</a:t>
            </a:r>
            <a:r>
              <a:rPr lang="en-US" altLang="zh-TW" dirty="0"/>
              <a:t>Positional Encoding</a:t>
            </a:r>
            <a:r>
              <a:rPr lang="zh-TW" altLang="en-US" dirty="0"/>
              <a:t>與</a:t>
            </a:r>
            <a:r>
              <a:rPr lang="en-US" altLang="zh-TW" dirty="0"/>
              <a:t>embedding</a:t>
            </a:r>
            <a:r>
              <a:rPr lang="zh-TW" altLang="en-US" dirty="0"/>
              <a:t>的值相加，作為輸入送到下</a:t>
            </a:r>
            <a:r>
              <a:rPr lang="zh-TW" altLang="en-US" dirty="0" smtClean="0"/>
              <a:t>一層</a:t>
            </a:r>
            <a:endParaRPr lang="zh-TW" altLang="en-US" dirty="0"/>
          </a:p>
        </p:txBody>
      </p:sp>
      <p:pic>
        <p:nvPicPr>
          <p:cNvPr id="14338" name="Picture 2" descr="E:\Delete\git_r\two_month_report\202011_2021_1\11_31_to_12_4_fifth\img\position_layer.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80892" y="1742259"/>
            <a:ext cx="8563323" cy="4722333"/>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7028886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4338"/>
                                        </p:tgtEl>
                                        <p:attrNameLst>
                                          <p:attrName>style.visibility</p:attrName>
                                        </p:attrNameLst>
                                      </p:cBhvr>
                                      <p:to>
                                        <p:strVal val="visible"/>
                                      </p:to>
                                    </p:set>
                                    <p:animEffect transition="in" filter="fade">
                                      <p:cBhvr>
                                        <p:cTn id="7" dur="1000"/>
                                        <p:tgtEl>
                                          <p:spTgt spid="14338"/>
                                        </p:tgtEl>
                                      </p:cBhvr>
                                    </p:animEffect>
                                    <p:anim calcmode="lin" valueType="num">
                                      <p:cBhvr>
                                        <p:cTn id="8" dur="1000" fill="hold"/>
                                        <p:tgtEl>
                                          <p:spTgt spid="14338"/>
                                        </p:tgtEl>
                                        <p:attrNameLst>
                                          <p:attrName>ppt_x</p:attrName>
                                        </p:attrNameLst>
                                      </p:cBhvr>
                                      <p:tavLst>
                                        <p:tav tm="0">
                                          <p:val>
                                            <p:strVal val="#ppt_x"/>
                                          </p:val>
                                        </p:tav>
                                        <p:tav tm="100000">
                                          <p:val>
                                            <p:strVal val="#ppt_x"/>
                                          </p:val>
                                        </p:tav>
                                      </p:tavLst>
                                    </p:anim>
                                    <p:anim calcmode="lin" valueType="num">
                                      <p:cBhvr>
                                        <p:cTn id="9" dur="1000" fill="hold"/>
                                        <p:tgtEl>
                                          <p:spTgt spid="1433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4" name="ïṩḷidê">
            <a:extLst>
              <a:ext uri="{FF2B5EF4-FFF2-40B4-BE49-F238E27FC236}">
                <a16:creationId xmlns="" xmlns:p14="http://schemas.microsoft.com/office/powerpoint/2010/main" xmlns:a16="http://schemas.microsoft.com/office/drawing/2014/main" id="{625D0406-0787-4EE6-9393-820D5CE03187}"/>
              </a:ext>
            </a:extLst>
          </p:cNvPr>
          <p:cNvSpPr>
            <a:spLocks noGrp="1"/>
          </p:cNvSpPr>
          <p:nvPr>
            <p:ph type="sldNum" sz="quarter" idx="12"/>
          </p:nvPr>
        </p:nvSpPr>
        <p:spPr/>
        <p:txBody>
          <a:bodyPr/>
          <a:lstStyle/>
          <a:p>
            <a:fld id="{5DD3DB80-B894-403A-B48E-6FDC1A72010E}" type="slidenum">
              <a:rPr lang="zh-CN" altLang="en-US" smtClean="0"/>
              <a:pPr/>
              <a:t>32</a:t>
            </a:fld>
            <a:endParaRPr lang="zh-CN" altLang="en-US"/>
          </a:p>
        </p:txBody>
      </p:sp>
      <p:sp>
        <p:nvSpPr>
          <p:cNvPr id="2" name="íṣľiḑe">
            <a:extLst>
              <a:ext uri="{FF2B5EF4-FFF2-40B4-BE49-F238E27FC236}">
                <a16:creationId xmlns="" xmlns:p14="http://schemas.microsoft.com/office/powerpoint/2010/main" xmlns:a16="http://schemas.microsoft.com/office/drawing/2014/main" id="{8AC4395B-A0A0-4D81-B628-E4F9AB374736}"/>
              </a:ext>
            </a:extLst>
          </p:cNvPr>
          <p:cNvSpPr>
            <a:spLocks noGrp="1"/>
          </p:cNvSpPr>
          <p:nvPr>
            <p:ph type="title"/>
          </p:nvPr>
        </p:nvSpPr>
        <p:spPr/>
        <p:txBody>
          <a:bodyPr/>
          <a:lstStyle/>
          <a:p>
            <a:r>
              <a:rPr lang="en-US" altLang="zh-TW" dirty="0"/>
              <a:t>Transformer </a:t>
            </a:r>
            <a:r>
              <a:rPr lang="en-US" altLang="zh-TW" dirty="0" smtClean="0"/>
              <a:t>- </a:t>
            </a:r>
            <a:r>
              <a:rPr lang="en-US" altLang="zh-TW" dirty="0"/>
              <a:t>Positional Encoding</a:t>
            </a:r>
            <a:endParaRPr lang="en-US" altLang="zh-TW" dirty="0"/>
          </a:p>
        </p:txBody>
      </p:sp>
      <p:sp>
        <p:nvSpPr>
          <p:cNvPr id="5" name="內容版面配置區 4"/>
          <p:cNvSpPr>
            <a:spLocks noGrp="1"/>
          </p:cNvSpPr>
          <p:nvPr>
            <p:ph sz="quarter" idx="13"/>
          </p:nvPr>
        </p:nvSpPr>
        <p:spPr/>
        <p:txBody>
          <a:bodyPr/>
          <a:lstStyle/>
          <a:p>
            <a:endParaRPr lang="zh-TW" altLang="en-US" dirty="0"/>
          </a:p>
        </p:txBody>
      </p:sp>
      <p:pic>
        <p:nvPicPr>
          <p:cNvPr id="15362" name="Picture 2" descr="E:\Delete\git_r\two_month_report\202011_2021_1\11_31_to_12_4_fifth\img\position_encoding_formula.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4316" y="1092496"/>
            <a:ext cx="9913938" cy="4981575"/>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417936514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4" name="ïṩḷidê">
            <a:extLst>
              <a:ext uri="{FF2B5EF4-FFF2-40B4-BE49-F238E27FC236}">
                <a16:creationId xmlns="" xmlns:p14="http://schemas.microsoft.com/office/powerpoint/2010/main" xmlns:a16="http://schemas.microsoft.com/office/drawing/2014/main" id="{625D0406-0787-4EE6-9393-820D5CE03187}"/>
              </a:ext>
            </a:extLst>
          </p:cNvPr>
          <p:cNvSpPr>
            <a:spLocks noGrp="1"/>
          </p:cNvSpPr>
          <p:nvPr>
            <p:ph type="sldNum" sz="quarter" idx="12"/>
          </p:nvPr>
        </p:nvSpPr>
        <p:spPr/>
        <p:txBody>
          <a:bodyPr/>
          <a:lstStyle/>
          <a:p>
            <a:fld id="{5DD3DB80-B894-403A-B48E-6FDC1A72010E}" type="slidenum">
              <a:rPr lang="zh-CN" altLang="en-US" smtClean="0"/>
              <a:pPr/>
              <a:t>33</a:t>
            </a:fld>
            <a:endParaRPr lang="zh-CN" altLang="en-US"/>
          </a:p>
        </p:txBody>
      </p:sp>
      <p:sp>
        <p:nvSpPr>
          <p:cNvPr id="2" name="íṣľiḑe">
            <a:extLst>
              <a:ext uri="{FF2B5EF4-FFF2-40B4-BE49-F238E27FC236}">
                <a16:creationId xmlns="" xmlns:p14="http://schemas.microsoft.com/office/powerpoint/2010/main" xmlns:a16="http://schemas.microsoft.com/office/drawing/2014/main" id="{8AC4395B-A0A0-4D81-B628-E4F9AB374736}"/>
              </a:ext>
            </a:extLst>
          </p:cNvPr>
          <p:cNvSpPr>
            <a:spLocks noGrp="1"/>
          </p:cNvSpPr>
          <p:nvPr>
            <p:ph type="title"/>
          </p:nvPr>
        </p:nvSpPr>
        <p:spPr/>
        <p:txBody>
          <a:bodyPr/>
          <a:lstStyle/>
          <a:p>
            <a:r>
              <a:rPr lang="en-US" altLang="zh-TW" dirty="0"/>
              <a:t>Transformer </a:t>
            </a:r>
            <a:r>
              <a:rPr lang="en-US" altLang="zh-TW" dirty="0" smtClean="0"/>
              <a:t>- </a:t>
            </a:r>
            <a:r>
              <a:rPr lang="en-US" altLang="zh-TW" dirty="0"/>
              <a:t>Decoder</a:t>
            </a:r>
          </a:p>
        </p:txBody>
      </p:sp>
      <p:sp>
        <p:nvSpPr>
          <p:cNvPr id="5" name="內容版面配置區 4"/>
          <p:cNvSpPr>
            <a:spLocks noGrp="1"/>
          </p:cNvSpPr>
          <p:nvPr>
            <p:ph sz="quarter" idx="13"/>
          </p:nvPr>
        </p:nvSpPr>
        <p:spPr/>
        <p:txBody>
          <a:bodyPr/>
          <a:lstStyle/>
          <a:p>
            <a:endParaRPr lang="zh-TW" altLang="en-US" dirty="0"/>
          </a:p>
        </p:txBody>
      </p:sp>
      <p:pic>
        <p:nvPicPr>
          <p:cNvPr id="16386" name="Picture 2" descr="E:\Delete\git_r\two_month_report\202011_2021_1\11_31_to_12_4_fifth\img\transformer_resideual_layer_norm_3.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7802" y="1188391"/>
            <a:ext cx="8419362" cy="4783864"/>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88924769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4" name="ïṩḷidê">
            <a:extLst>
              <a:ext uri="{FF2B5EF4-FFF2-40B4-BE49-F238E27FC236}">
                <a16:creationId xmlns="" xmlns:p14="http://schemas.microsoft.com/office/powerpoint/2010/main" xmlns:a16="http://schemas.microsoft.com/office/drawing/2014/main" id="{625D0406-0787-4EE6-9393-820D5CE03187}"/>
              </a:ext>
            </a:extLst>
          </p:cNvPr>
          <p:cNvSpPr>
            <a:spLocks noGrp="1"/>
          </p:cNvSpPr>
          <p:nvPr>
            <p:ph type="sldNum" sz="quarter" idx="12"/>
          </p:nvPr>
        </p:nvSpPr>
        <p:spPr/>
        <p:txBody>
          <a:bodyPr/>
          <a:lstStyle/>
          <a:p>
            <a:fld id="{5DD3DB80-B894-403A-B48E-6FDC1A72010E}" type="slidenum">
              <a:rPr lang="zh-CN" altLang="en-US" smtClean="0"/>
              <a:pPr/>
              <a:t>34</a:t>
            </a:fld>
            <a:endParaRPr lang="zh-CN" altLang="en-US"/>
          </a:p>
        </p:txBody>
      </p:sp>
      <p:sp>
        <p:nvSpPr>
          <p:cNvPr id="2" name="íṣľiḑe">
            <a:extLst>
              <a:ext uri="{FF2B5EF4-FFF2-40B4-BE49-F238E27FC236}">
                <a16:creationId xmlns="" xmlns:p14="http://schemas.microsoft.com/office/powerpoint/2010/main" xmlns:a16="http://schemas.microsoft.com/office/drawing/2014/main" id="{8AC4395B-A0A0-4D81-B628-E4F9AB374736}"/>
              </a:ext>
            </a:extLst>
          </p:cNvPr>
          <p:cNvSpPr>
            <a:spLocks noGrp="1"/>
          </p:cNvSpPr>
          <p:nvPr>
            <p:ph type="title"/>
          </p:nvPr>
        </p:nvSpPr>
        <p:spPr/>
        <p:txBody>
          <a:bodyPr/>
          <a:lstStyle/>
          <a:p>
            <a:r>
              <a:rPr lang="en-US" altLang="zh-TW" dirty="0"/>
              <a:t>Transformer </a:t>
            </a:r>
            <a:r>
              <a:rPr lang="en-US" altLang="zh-TW" dirty="0" smtClean="0"/>
              <a:t>- </a:t>
            </a:r>
            <a:r>
              <a:rPr lang="en-US" altLang="zh-TW" dirty="0"/>
              <a:t>Decoder</a:t>
            </a:r>
          </a:p>
        </p:txBody>
      </p:sp>
      <p:sp>
        <p:nvSpPr>
          <p:cNvPr id="5" name="內容版面配置區 4"/>
          <p:cNvSpPr>
            <a:spLocks noGrp="1"/>
          </p:cNvSpPr>
          <p:nvPr>
            <p:ph sz="quarter" idx="13"/>
          </p:nvPr>
        </p:nvSpPr>
        <p:spPr/>
        <p:txBody>
          <a:bodyPr/>
          <a:lstStyle/>
          <a:p>
            <a:r>
              <a:rPr lang="zh-TW" altLang="en-US" dirty="0"/>
              <a:t>編碼器通過處理輸入序列開啟工作。頂端編碼器的輸出之後會變轉化為一個包含向量</a:t>
            </a:r>
            <a:r>
              <a:rPr lang="en-US" altLang="zh-TW" dirty="0"/>
              <a:t>K</a:t>
            </a:r>
            <a:r>
              <a:rPr lang="zh-TW" altLang="en-US" dirty="0"/>
              <a:t>（鍵向量）和</a:t>
            </a:r>
            <a:r>
              <a:rPr lang="en-US" altLang="zh-TW" dirty="0"/>
              <a:t>V</a:t>
            </a:r>
            <a:r>
              <a:rPr lang="zh-TW" altLang="en-US" dirty="0"/>
              <a:t>（值向量）的注意力向量集。這些向量將被每個解碼器用於自身的“編碼</a:t>
            </a:r>
            <a:r>
              <a:rPr lang="en-US" altLang="zh-TW" dirty="0"/>
              <a:t>-</a:t>
            </a:r>
            <a:r>
              <a:rPr lang="zh-TW" altLang="en-US" dirty="0"/>
              <a:t>解碼注意力層”，而這些層可以幫助解碼器關注輸入序列哪些位置合適</a:t>
            </a:r>
          </a:p>
        </p:txBody>
      </p:sp>
      <p:pic>
        <p:nvPicPr>
          <p:cNvPr id="17410" name="Picture 2" descr="E:\Delete\git_r\two_month_report\202011_2021_1\11_31_to_12_4_fifth\img\transformer_decoding_1.gif"/>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1656908" y="2074986"/>
            <a:ext cx="8529084" cy="4685659"/>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8162006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17410"/>
                                        </p:tgtEl>
                                        <p:attrNameLst>
                                          <p:attrName>style.visibility</p:attrName>
                                        </p:attrNameLst>
                                      </p:cBhvr>
                                      <p:to>
                                        <p:strVal val="visible"/>
                                      </p:to>
                                    </p:set>
                                    <p:animEffect transition="in" filter="barn(inVertical)">
                                      <p:cBhvr>
                                        <p:cTn id="7" dur="500"/>
                                        <p:tgtEl>
                                          <p:spTgt spid="174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4" name="ïṩḷidê">
            <a:extLst>
              <a:ext uri="{FF2B5EF4-FFF2-40B4-BE49-F238E27FC236}">
                <a16:creationId xmlns="" xmlns:p14="http://schemas.microsoft.com/office/powerpoint/2010/main" xmlns:a16="http://schemas.microsoft.com/office/drawing/2014/main" id="{625D0406-0787-4EE6-9393-820D5CE03187}"/>
              </a:ext>
            </a:extLst>
          </p:cNvPr>
          <p:cNvSpPr>
            <a:spLocks noGrp="1"/>
          </p:cNvSpPr>
          <p:nvPr>
            <p:ph type="sldNum" sz="quarter" idx="12"/>
          </p:nvPr>
        </p:nvSpPr>
        <p:spPr/>
        <p:txBody>
          <a:bodyPr/>
          <a:lstStyle/>
          <a:p>
            <a:fld id="{5DD3DB80-B894-403A-B48E-6FDC1A72010E}" type="slidenum">
              <a:rPr lang="zh-CN" altLang="en-US" smtClean="0"/>
              <a:pPr/>
              <a:t>35</a:t>
            </a:fld>
            <a:endParaRPr lang="zh-CN" altLang="en-US"/>
          </a:p>
        </p:txBody>
      </p:sp>
      <p:sp>
        <p:nvSpPr>
          <p:cNvPr id="2" name="íṣľiḑe">
            <a:extLst>
              <a:ext uri="{FF2B5EF4-FFF2-40B4-BE49-F238E27FC236}">
                <a16:creationId xmlns="" xmlns:p14="http://schemas.microsoft.com/office/powerpoint/2010/main" xmlns:a16="http://schemas.microsoft.com/office/drawing/2014/main" id="{8AC4395B-A0A0-4D81-B628-E4F9AB374736}"/>
              </a:ext>
            </a:extLst>
          </p:cNvPr>
          <p:cNvSpPr>
            <a:spLocks noGrp="1"/>
          </p:cNvSpPr>
          <p:nvPr>
            <p:ph type="title"/>
          </p:nvPr>
        </p:nvSpPr>
        <p:spPr/>
        <p:txBody>
          <a:bodyPr/>
          <a:lstStyle/>
          <a:p>
            <a:r>
              <a:rPr lang="en-US" altLang="zh-TW" dirty="0"/>
              <a:t>Transformer </a:t>
            </a:r>
            <a:r>
              <a:rPr lang="en-US" altLang="zh-TW" dirty="0" smtClean="0"/>
              <a:t>– Decoder -</a:t>
            </a:r>
            <a:r>
              <a:rPr lang="zh-TW" altLang="en-US" b="0" dirty="0"/>
              <a:t>整體解碼過程</a:t>
            </a:r>
            <a:endParaRPr lang="en-US" altLang="zh-TW" dirty="0"/>
          </a:p>
        </p:txBody>
      </p:sp>
      <p:sp>
        <p:nvSpPr>
          <p:cNvPr id="5" name="內容版面配置區 4"/>
          <p:cNvSpPr>
            <a:spLocks noGrp="1"/>
          </p:cNvSpPr>
          <p:nvPr>
            <p:ph sz="quarter" idx="13"/>
          </p:nvPr>
        </p:nvSpPr>
        <p:spPr/>
        <p:txBody>
          <a:bodyPr/>
          <a:lstStyle/>
          <a:p>
            <a:endParaRPr lang="zh-TW" altLang="en-US" dirty="0"/>
          </a:p>
        </p:txBody>
      </p:sp>
      <p:pic>
        <p:nvPicPr>
          <p:cNvPr id="18434" name="Picture 2" descr="E:\Delete\git_r\two_month_report\202011_2021_1\11_31_to_12_4_fifth\img\transformer_decoding_2.gif"/>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775621" y="1137684"/>
            <a:ext cx="9694307" cy="5325801"/>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85371073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4" name="ïṩḷidê">
            <a:extLst>
              <a:ext uri="{FF2B5EF4-FFF2-40B4-BE49-F238E27FC236}">
                <a16:creationId xmlns="" xmlns:p14="http://schemas.microsoft.com/office/powerpoint/2010/main" xmlns:a16="http://schemas.microsoft.com/office/drawing/2014/main" id="{625D0406-0787-4EE6-9393-820D5CE03187}"/>
              </a:ext>
            </a:extLst>
          </p:cNvPr>
          <p:cNvSpPr>
            <a:spLocks noGrp="1"/>
          </p:cNvSpPr>
          <p:nvPr>
            <p:ph type="sldNum" sz="quarter" idx="12"/>
          </p:nvPr>
        </p:nvSpPr>
        <p:spPr/>
        <p:txBody>
          <a:bodyPr/>
          <a:lstStyle/>
          <a:p>
            <a:fld id="{5DD3DB80-B894-403A-B48E-6FDC1A72010E}" type="slidenum">
              <a:rPr lang="zh-CN" altLang="en-US" smtClean="0"/>
              <a:pPr/>
              <a:t>36</a:t>
            </a:fld>
            <a:endParaRPr lang="zh-CN" altLang="en-US"/>
          </a:p>
        </p:txBody>
      </p:sp>
      <p:sp>
        <p:nvSpPr>
          <p:cNvPr id="2" name="íṣľiḑe">
            <a:extLst>
              <a:ext uri="{FF2B5EF4-FFF2-40B4-BE49-F238E27FC236}">
                <a16:creationId xmlns="" xmlns:p14="http://schemas.microsoft.com/office/powerpoint/2010/main" xmlns:a16="http://schemas.microsoft.com/office/drawing/2014/main" id="{8AC4395B-A0A0-4D81-B628-E4F9AB374736}"/>
              </a:ext>
            </a:extLst>
          </p:cNvPr>
          <p:cNvSpPr>
            <a:spLocks noGrp="1"/>
          </p:cNvSpPr>
          <p:nvPr>
            <p:ph type="title"/>
          </p:nvPr>
        </p:nvSpPr>
        <p:spPr/>
        <p:txBody>
          <a:bodyPr/>
          <a:lstStyle/>
          <a:p>
            <a:r>
              <a:rPr lang="en-US" altLang="zh-TW" dirty="0"/>
              <a:t>Transformer- Encoder-Decoder Attention</a:t>
            </a:r>
            <a:endParaRPr lang="en-US" altLang="zh-TW" dirty="0"/>
          </a:p>
        </p:txBody>
      </p:sp>
      <p:sp>
        <p:nvSpPr>
          <p:cNvPr id="5" name="內容版面配置區 4"/>
          <p:cNvSpPr>
            <a:spLocks noGrp="1"/>
          </p:cNvSpPr>
          <p:nvPr>
            <p:ph sz="quarter" idx="13"/>
          </p:nvPr>
        </p:nvSpPr>
        <p:spPr/>
        <p:txBody>
          <a:bodyPr/>
          <a:lstStyle/>
          <a:p>
            <a:r>
              <a:rPr lang="zh-TW" altLang="en-US" dirty="0"/>
              <a:t>在完成編碼階段後，則開始解碼階段。解碼階段的每個步驟都會輸出一個輸出序列（在這個例子里，是英語翻譯的句子）的元素。接下來的步驟重覆了這個過程，直到到達一個特殊的終止符號，它表示</a:t>
            </a:r>
            <a:r>
              <a:rPr lang="en-US" altLang="zh-TW" dirty="0"/>
              <a:t>transformer</a:t>
            </a:r>
            <a:r>
              <a:rPr lang="zh-TW" altLang="en-US" dirty="0"/>
              <a:t>的解碼器已經完成了它的輸出。</a:t>
            </a:r>
          </a:p>
          <a:p>
            <a:endParaRPr lang="en-US" altLang="zh-TW" dirty="0" smtClean="0"/>
          </a:p>
          <a:p>
            <a:r>
              <a:rPr lang="zh-TW" altLang="en-US" dirty="0" smtClean="0"/>
              <a:t>每</a:t>
            </a:r>
            <a:r>
              <a:rPr lang="zh-TW" altLang="en-US" dirty="0"/>
              <a:t>個步驟的輸出在下一個時間步被提供給底端解碼器，並且就像編碼器之前做的那樣，這些解碼器會輸出它們的解碼結果。另外，就像我們對編碼器的輸入所做的那樣，我們會嵌入並添加位置編碼給那些解碼器，來表示每個單詞的位置。</a:t>
            </a:r>
          </a:p>
          <a:p>
            <a:endParaRPr lang="en-US" altLang="zh-TW" dirty="0" smtClean="0"/>
          </a:p>
          <a:p>
            <a:r>
              <a:rPr lang="zh-TW" altLang="en-US" dirty="0" smtClean="0"/>
              <a:t>而</a:t>
            </a:r>
            <a:r>
              <a:rPr lang="zh-TW" altLang="en-US" dirty="0"/>
              <a:t>那些解碼器中的自注意力層表現的模式與編碼器不同：在解碼器中，</a:t>
            </a:r>
            <a:r>
              <a:rPr lang="zh-TW" altLang="en-US" dirty="0">
                <a:solidFill>
                  <a:schemeClr val="accent1">
                    <a:lumMod val="75000"/>
                    <a:lumOff val="25000"/>
                  </a:schemeClr>
                </a:solidFill>
              </a:rPr>
              <a:t>自注意力層只被允許處理輸出序列中更靠前的那些位置。在</a:t>
            </a:r>
            <a:r>
              <a:rPr lang="en-US" altLang="zh-TW" dirty="0" err="1">
                <a:solidFill>
                  <a:schemeClr val="accent1">
                    <a:lumMod val="75000"/>
                    <a:lumOff val="25000"/>
                  </a:schemeClr>
                </a:solidFill>
              </a:rPr>
              <a:t>softmax</a:t>
            </a:r>
            <a:r>
              <a:rPr lang="zh-TW" altLang="en-US" dirty="0">
                <a:solidFill>
                  <a:schemeClr val="accent1">
                    <a:lumMod val="75000"/>
                    <a:lumOff val="25000"/>
                  </a:schemeClr>
                </a:solidFill>
              </a:rPr>
              <a:t>步驟前，它會把後面的位置給隱去（把它們設為</a:t>
            </a:r>
            <a:r>
              <a:rPr lang="en-US" altLang="zh-TW" dirty="0">
                <a:solidFill>
                  <a:schemeClr val="accent1">
                    <a:lumMod val="75000"/>
                    <a:lumOff val="25000"/>
                  </a:schemeClr>
                </a:solidFill>
              </a:rPr>
              <a:t>-</a:t>
            </a:r>
            <a:r>
              <a:rPr lang="en-US" altLang="zh-TW" dirty="0" err="1">
                <a:solidFill>
                  <a:schemeClr val="accent1">
                    <a:lumMod val="75000"/>
                    <a:lumOff val="25000"/>
                  </a:schemeClr>
                </a:solidFill>
              </a:rPr>
              <a:t>inf</a:t>
            </a:r>
            <a:r>
              <a:rPr lang="zh-TW" altLang="en-US" dirty="0">
                <a:solidFill>
                  <a:schemeClr val="accent1">
                    <a:lumMod val="75000"/>
                    <a:lumOff val="25000"/>
                  </a:schemeClr>
                </a:solidFill>
              </a:rPr>
              <a:t>）。</a:t>
            </a:r>
            <a:r>
              <a:rPr lang="zh-TW" altLang="en-US" dirty="0"/>
              <a:t>這個“編碼</a:t>
            </a:r>
            <a:r>
              <a:rPr lang="en-US" altLang="zh-TW" dirty="0"/>
              <a:t>-</a:t>
            </a:r>
            <a:r>
              <a:rPr lang="zh-TW" altLang="en-US" dirty="0"/>
              <a:t>解碼注意力層”工作方式基本就像多頭自注意力層一樣，只不過它是通過在它前面的層來創造查詢矩陣，並且從編碼器的輸出中取得鍵</a:t>
            </a:r>
            <a:r>
              <a:rPr lang="en-US" altLang="zh-TW" dirty="0"/>
              <a:t>/</a:t>
            </a:r>
            <a:r>
              <a:rPr lang="zh-TW" altLang="en-US" dirty="0"/>
              <a:t>值矩陣。</a:t>
            </a:r>
          </a:p>
          <a:p>
            <a:endParaRPr lang="zh-TW" altLang="en-US" dirty="0"/>
          </a:p>
        </p:txBody>
      </p:sp>
      <p:grpSp>
        <p:nvGrpSpPr>
          <p:cNvPr id="6" name="0faae1e5-443b-4bd8-857c-6457c0133495"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2"/>
            </p:custDataLst>
          </p:nvPr>
        </p:nvGrpSpPr>
        <p:grpSpPr>
          <a:xfrm>
            <a:off x="8919045" y="4652988"/>
            <a:ext cx="2261954" cy="2095465"/>
            <a:chOff x="3594100" y="1166813"/>
            <a:chExt cx="5003800" cy="4635500"/>
          </a:xfrm>
        </p:grpSpPr>
        <p:sp>
          <p:nvSpPr>
            <p:cNvPr id="7" name="îṥľïḑé">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B770AB72-5A88-4AF7-8638-EDB0B470A8DD}"/>
                </a:ext>
              </a:extLst>
            </p:cNvPr>
            <p:cNvSpPr/>
            <p:nvPr/>
          </p:nvSpPr>
          <p:spPr bwMode="auto">
            <a:xfrm>
              <a:off x="3594100" y="2917825"/>
              <a:ext cx="5003800" cy="2884488"/>
            </a:xfrm>
            <a:custGeom>
              <a:avLst/>
              <a:gdLst>
                <a:gd name="T0" fmla="*/ 1624 w 1976"/>
                <a:gd name="T1" fmla="*/ 203 h 1141"/>
                <a:gd name="T2" fmla="*/ 1624 w 1976"/>
                <a:gd name="T3" fmla="*/ 938 h 1141"/>
                <a:gd name="T4" fmla="*/ 352 w 1976"/>
                <a:gd name="T5" fmla="*/ 938 h 1141"/>
                <a:gd name="T6" fmla="*/ 352 w 1976"/>
                <a:gd name="T7" fmla="*/ 203 h 1141"/>
                <a:gd name="T8" fmla="*/ 1624 w 1976"/>
                <a:gd name="T9" fmla="*/ 203 h 1141"/>
              </a:gdLst>
              <a:ahLst/>
              <a:cxnLst>
                <a:cxn ang="0">
                  <a:pos x="T0" y="T1"/>
                </a:cxn>
                <a:cxn ang="0">
                  <a:pos x="T2" y="T3"/>
                </a:cxn>
                <a:cxn ang="0">
                  <a:pos x="T4" y="T5"/>
                </a:cxn>
                <a:cxn ang="0">
                  <a:pos x="T6" y="T7"/>
                </a:cxn>
                <a:cxn ang="0">
                  <a:pos x="T8" y="T9"/>
                </a:cxn>
              </a:cxnLst>
              <a:rect l="0" t="0" r="r" b="b"/>
              <a:pathLst>
                <a:path w="1976" h="1141">
                  <a:moveTo>
                    <a:pt x="1624" y="203"/>
                  </a:moveTo>
                  <a:cubicBezTo>
                    <a:pt x="1976" y="406"/>
                    <a:pt x="1976" y="735"/>
                    <a:pt x="1624" y="938"/>
                  </a:cubicBezTo>
                  <a:cubicBezTo>
                    <a:pt x="1273" y="1141"/>
                    <a:pt x="703" y="1141"/>
                    <a:pt x="352" y="938"/>
                  </a:cubicBezTo>
                  <a:cubicBezTo>
                    <a:pt x="0" y="735"/>
                    <a:pt x="0" y="406"/>
                    <a:pt x="352" y="203"/>
                  </a:cubicBezTo>
                  <a:cubicBezTo>
                    <a:pt x="703" y="0"/>
                    <a:pt x="1273" y="0"/>
                    <a:pt x="1624" y="203"/>
                  </a:cubicBezTo>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8" name="î$líḋ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DDA15EBB-9004-4885-8A30-04DF837C3BC3}"/>
                </a:ext>
              </a:extLst>
            </p:cNvPr>
            <p:cNvSpPr/>
            <p:nvPr/>
          </p:nvSpPr>
          <p:spPr bwMode="auto">
            <a:xfrm>
              <a:off x="6665913" y="4341813"/>
              <a:ext cx="1212850" cy="696913"/>
            </a:xfrm>
            <a:custGeom>
              <a:avLst/>
              <a:gdLst>
                <a:gd name="T0" fmla="*/ 393 w 479"/>
                <a:gd name="T1" fmla="*/ 49 h 276"/>
                <a:gd name="T2" fmla="*/ 393 w 479"/>
                <a:gd name="T3" fmla="*/ 227 h 276"/>
                <a:gd name="T4" fmla="*/ 85 w 479"/>
                <a:gd name="T5" fmla="*/ 227 h 276"/>
                <a:gd name="T6" fmla="*/ 85 w 479"/>
                <a:gd name="T7" fmla="*/ 49 h 276"/>
                <a:gd name="T8" fmla="*/ 393 w 479"/>
                <a:gd name="T9" fmla="*/ 49 h 276"/>
              </a:gdLst>
              <a:ahLst/>
              <a:cxnLst>
                <a:cxn ang="0">
                  <a:pos x="T0" y="T1"/>
                </a:cxn>
                <a:cxn ang="0">
                  <a:pos x="T2" y="T3"/>
                </a:cxn>
                <a:cxn ang="0">
                  <a:pos x="T4" y="T5"/>
                </a:cxn>
                <a:cxn ang="0">
                  <a:pos x="T6" y="T7"/>
                </a:cxn>
                <a:cxn ang="0">
                  <a:pos x="T8" y="T9"/>
                </a:cxn>
              </a:cxnLst>
              <a:rect l="0" t="0" r="r" b="b"/>
              <a:pathLst>
                <a:path w="479" h="276">
                  <a:moveTo>
                    <a:pt x="393" y="49"/>
                  </a:moveTo>
                  <a:cubicBezTo>
                    <a:pt x="479" y="98"/>
                    <a:pt x="479" y="178"/>
                    <a:pt x="393" y="227"/>
                  </a:cubicBezTo>
                  <a:cubicBezTo>
                    <a:pt x="308" y="276"/>
                    <a:pt x="170" y="276"/>
                    <a:pt x="85" y="227"/>
                  </a:cubicBezTo>
                  <a:cubicBezTo>
                    <a:pt x="0" y="178"/>
                    <a:pt x="0" y="98"/>
                    <a:pt x="85" y="49"/>
                  </a:cubicBezTo>
                  <a:cubicBezTo>
                    <a:pt x="170" y="0"/>
                    <a:pt x="308" y="0"/>
                    <a:pt x="393" y="49"/>
                  </a:cubicBezTo>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 name="íślíd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48190C86-E6E9-45B1-BA33-C7ED0D7E932E}"/>
                </a:ext>
              </a:extLst>
            </p:cNvPr>
            <p:cNvSpPr/>
            <p:nvPr/>
          </p:nvSpPr>
          <p:spPr bwMode="auto">
            <a:xfrm>
              <a:off x="4287838" y="1166813"/>
              <a:ext cx="1160463" cy="1433513"/>
            </a:xfrm>
            <a:custGeom>
              <a:avLst/>
              <a:gdLst>
                <a:gd name="T0" fmla="*/ 342 w 458"/>
                <a:gd name="T1" fmla="*/ 21 h 567"/>
                <a:gd name="T2" fmla="*/ 200 w 458"/>
                <a:gd name="T3" fmla="*/ 35 h 567"/>
                <a:gd name="T4" fmla="*/ 0 w 458"/>
                <a:gd name="T5" fmla="*/ 383 h 567"/>
                <a:gd name="T6" fmla="*/ 59 w 458"/>
                <a:gd name="T7" fmla="*/ 513 h 567"/>
                <a:gd name="T8" fmla="*/ 116 w 458"/>
                <a:gd name="T9" fmla="*/ 546 h 567"/>
                <a:gd name="T10" fmla="*/ 258 w 458"/>
                <a:gd name="T11" fmla="*/ 532 h 567"/>
                <a:gd name="T12" fmla="*/ 458 w 458"/>
                <a:gd name="T13" fmla="*/ 184 h 567"/>
                <a:gd name="T14" fmla="*/ 400 w 458"/>
                <a:gd name="T15" fmla="*/ 54 h 567"/>
                <a:gd name="T16" fmla="*/ 342 w 458"/>
                <a:gd name="T17" fmla="*/ 21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8" h="567">
                  <a:moveTo>
                    <a:pt x="342" y="21"/>
                  </a:moveTo>
                  <a:cubicBezTo>
                    <a:pt x="306" y="0"/>
                    <a:pt x="256" y="3"/>
                    <a:pt x="200" y="35"/>
                  </a:cubicBezTo>
                  <a:cubicBezTo>
                    <a:pt x="90" y="99"/>
                    <a:pt x="0" y="255"/>
                    <a:pt x="0" y="383"/>
                  </a:cubicBezTo>
                  <a:cubicBezTo>
                    <a:pt x="0" y="447"/>
                    <a:pt x="22" y="492"/>
                    <a:pt x="59" y="513"/>
                  </a:cubicBezTo>
                  <a:cubicBezTo>
                    <a:pt x="68" y="518"/>
                    <a:pt x="106" y="540"/>
                    <a:pt x="116" y="546"/>
                  </a:cubicBezTo>
                  <a:cubicBezTo>
                    <a:pt x="152" y="567"/>
                    <a:pt x="202" y="564"/>
                    <a:pt x="258" y="532"/>
                  </a:cubicBezTo>
                  <a:cubicBezTo>
                    <a:pt x="368" y="468"/>
                    <a:pt x="458" y="312"/>
                    <a:pt x="458" y="184"/>
                  </a:cubicBezTo>
                  <a:cubicBezTo>
                    <a:pt x="458" y="120"/>
                    <a:pt x="436" y="75"/>
                    <a:pt x="400" y="54"/>
                  </a:cubicBezTo>
                  <a:cubicBezTo>
                    <a:pt x="342" y="21"/>
                    <a:pt x="342" y="21"/>
                    <a:pt x="342" y="2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 name="ïṣlíḑ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BE1054B4-BB22-4201-8680-317D1798C689}"/>
                </a:ext>
              </a:extLst>
            </p:cNvPr>
            <p:cNvSpPr/>
            <p:nvPr/>
          </p:nvSpPr>
          <p:spPr bwMode="auto">
            <a:xfrm>
              <a:off x="4287838" y="2135188"/>
              <a:ext cx="468313" cy="444500"/>
            </a:xfrm>
            <a:custGeom>
              <a:avLst/>
              <a:gdLst>
                <a:gd name="T0" fmla="*/ 116 w 185"/>
                <a:gd name="T1" fmla="*/ 163 h 176"/>
                <a:gd name="T2" fmla="*/ 168 w 185"/>
                <a:gd name="T3" fmla="*/ 176 h 176"/>
                <a:gd name="T4" fmla="*/ 185 w 185"/>
                <a:gd name="T5" fmla="*/ 175 h 176"/>
                <a:gd name="T6" fmla="*/ 168 w 185"/>
                <a:gd name="T7" fmla="*/ 176 h 176"/>
                <a:gd name="T8" fmla="*/ 116 w 185"/>
                <a:gd name="T9" fmla="*/ 163 h 176"/>
                <a:gd name="T10" fmla="*/ 0 w 185"/>
                <a:gd name="T11" fmla="*/ 0 h 176"/>
                <a:gd name="T12" fmla="*/ 0 w 185"/>
                <a:gd name="T13" fmla="*/ 0 h 176"/>
                <a:gd name="T14" fmla="*/ 0 w 185"/>
                <a:gd name="T15" fmla="*/ 0 h 176"/>
                <a:gd name="T16" fmla="*/ 0 w 185"/>
                <a:gd name="T17" fmla="*/ 0 h 176"/>
                <a:gd name="T18" fmla="*/ 0 w 185"/>
                <a:gd name="T19"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5" h="176">
                  <a:moveTo>
                    <a:pt x="116" y="163"/>
                  </a:moveTo>
                  <a:cubicBezTo>
                    <a:pt x="131" y="171"/>
                    <a:pt x="149" y="176"/>
                    <a:pt x="168" y="176"/>
                  </a:cubicBezTo>
                  <a:cubicBezTo>
                    <a:pt x="174" y="176"/>
                    <a:pt x="179" y="176"/>
                    <a:pt x="185" y="175"/>
                  </a:cubicBezTo>
                  <a:cubicBezTo>
                    <a:pt x="179" y="176"/>
                    <a:pt x="174" y="176"/>
                    <a:pt x="168" y="176"/>
                  </a:cubicBezTo>
                  <a:cubicBezTo>
                    <a:pt x="149" y="176"/>
                    <a:pt x="131" y="171"/>
                    <a:pt x="116" y="163"/>
                  </a:cubicBezTo>
                  <a:moveTo>
                    <a:pt x="0" y="0"/>
                  </a:moveTo>
                  <a:cubicBezTo>
                    <a:pt x="0" y="0"/>
                    <a:pt x="0" y="0"/>
                    <a:pt x="0" y="0"/>
                  </a:cubicBezTo>
                  <a:cubicBezTo>
                    <a:pt x="0" y="0"/>
                    <a:pt x="0" y="0"/>
                    <a:pt x="0" y="0"/>
                  </a:cubicBezTo>
                  <a:cubicBezTo>
                    <a:pt x="0" y="0"/>
                    <a:pt x="0" y="0"/>
                    <a:pt x="0" y="0"/>
                  </a:cubicBezTo>
                  <a:cubicBezTo>
                    <a:pt x="0" y="0"/>
                    <a:pt x="0" y="0"/>
                    <a:pt x="0" y="0"/>
                  </a:cubicBezTo>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 name="îsľiďé">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E1E20615-C0EB-48FA-A322-DB16E7B101E6}"/>
                </a:ext>
              </a:extLst>
            </p:cNvPr>
            <p:cNvSpPr/>
            <p:nvPr/>
          </p:nvSpPr>
          <p:spPr bwMode="auto">
            <a:xfrm>
              <a:off x="4287838" y="2135188"/>
              <a:ext cx="652463" cy="444500"/>
            </a:xfrm>
            <a:custGeom>
              <a:avLst/>
              <a:gdLst>
                <a:gd name="T0" fmla="*/ 0 w 258"/>
                <a:gd name="T1" fmla="*/ 0 h 176"/>
                <a:gd name="T2" fmla="*/ 0 w 258"/>
                <a:gd name="T3" fmla="*/ 0 h 176"/>
                <a:gd name="T4" fmla="*/ 59 w 258"/>
                <a:gd name="T5" fmla="*/ 130 h 176"/>
                <a:gd name="T6" fmla="*/ 116 w 258"/>
                <a:gd name="T7" fmla="*/ 163 h 176"/>
                <a:gd name="T8" fmla="*/ 116 w 258"/>
                <a:gd name="T9" fmla="*/ 163 h 176"/>
                <a:gd name="T10" fmla="*/ 168 w 258"/>
                <a:gd name="T11" fmla="*/ 176 h 176"/>
                <a:gd name="T12" fmla="*/ 185 w 258"/>
                <a:gd name="T13" fmla="*/ 175 h 176"/>
                <a:gd name="T14" fmla="*/ 258 w 258"/>
                <a:gd name="T15" fmla="*/ 149 h 176"/>
                <a:gd name="T16" fmla="*/ 0 w 258"/>
                <a:gd name="T17"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8" h="176">
                  <a:moveTo>
                    <a:pt x="0" y="0"/>
                  </a:moveTo>
                  <a:cubicBezTo>
                    <a:pt x="0" y="0"/>
                    <a:pt x="0" y="0"/>
                    <a:pt x="0" y="0"/>
                  </a:cubicBezTo>
                  <a:cubicBezTo>
                    <a:pt x="0" y="64"/>
                    <a:pt x="22" y="109"/>
                    <a:pt x="59" y="130"/>
                  </a:cubicBezTo>
                  <a:cubicBezTo>
                    <a:pt x="68" y="135"/>
                    <a:pt x="106" y="157"/>
                    <a:pt x="116" y="163"/>
                  </a:cubicBezTo>
                  <a:cubicBezTo>
                    <a:pt x="116" y="163"/>
                    <a:pt x="116" y="163"/>
                    <a:pt x="116" y="163"/>
                  </a:cubicBezTo>
                  <a:cubicBezTo>
                    <a:pt x="131" y="171"/>
                    <a:pt x="149" y="176"/>
                    <a:pt x="168" y="176"/>
                  </a:cubicBezTo>
                  <a:cubicBezTo>
                    <a:pt x="174" y="176"/>
                    <a:pt x="179" y="176"/>
                    <a:pt x="185" y="175"/>
                  </a:cubicBezTo>
                  <a:cubicBezTo>
                    <a:pt x="208" y="172"/>
                    <a:pt x="232" y="163"/>
                    <a:pt x="258" y="149"/>
                  </a:cubicBezTo>
                  <a:cubicBezTo>
                    <a:pt x="0" y="0"/>
                    <a:pt x="0" y="0"/>
                    <a:pt x="0" y="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 name="iş1iḑé">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B31A11C8-FEE9-40B4-AAD5-C8C99066E5BD}"/>
                </a:ext>
              </a:extLst>
            </p:cNvPr>
            <p:cNvSpPr/>
            <p:nvPr/>
          </p:nvSpPr>
          <p:spPr bwMode="auto">
            <a:xfrm>
              <a:off x="4287838" y="2130425"/>
              <a:ext cx="655638" cy="377825"/>
            </a:xfrm>
            <a:custGeom>
              <a:avLst/>
              <a:gdLst>
                <a:gd name="T0" fmla="*/ 258 w 259"/>
                <a:gd name="T1" fmla="*/ 150 h 150"/>
                <a:gd name="T2" fmla="*/ 258 w 259"/>
                <a:gd name="T3" fmla="*/ 150 h 150"/>
                <a:gd name="T4" fmla="*/ 258 w 259"/>
                <a:gd name="T5" fmla="*/ 150 h 150"/>
                <a:gd name="T6" fmla="*/ 259 w 259"/>
                <a:gd name="T7" fmla="*/ 150 h 150"/>
                <a:gd name="T8" fmla="*/ 258 w 259"/>
                <a:gd name="T9" fmla="*/ 150 h 150"/>
                <a:gd name="T10" fmla="*/ 259 w 259"/>
                <a:gd name="T11" fmla="*/ 150 h 150"/>
                <a:gd name="T12" fmla="*/ 259 w 259"/>
                <a:gd name="T13" fmla="*/ 150 h 150"/>
                <a:gd name="T14" fmla="*/ 259 w 259"/>
                <a:gd name="T15" fmla="*/ 150 h 150"/>
                <a:gd name="T16" fmla="*/ 259 w 259"/>
                <a:gd name="T17" fmla="*/ 150 h 150"/>
                <a:gd name="T18" fmla="*/ 259 w 259"/>
                <a:gd name="T19" fmla="*/ 150 h 150"/>
                <a:gd name="T20" fmla="*/ 259 w 259"/>
                <a:gd name="T21" fmla="*/ 150 h 150"/>
                <a:gd name="T22" fmla="*/ 259 w 259"/>
                <a:gd name="T23" fmla="*/ 150 h 150"/>
                <a:gd name="T24" fmla="*/ 0 w 259"/>
                <a:gd name="T25" fmla="*/ 2 h 150"/>
                <a:gd name="T26" fmla="*/ 0 w 259"/>
                <a:gd name="T27" fmla="*/ 2 h 150"/>
                <a:gd name="T28" fmla="*/ 0 w 259"/>
                <a:gd name="T29" fmla="*/ 2 h 150"/>
                <a:gd name="T30" fmla="*/ 0 w 259"/>
                <a:gd name="T31" fmla="*/ 2 h 150"/>
                <a:gd name="T32" fmla="*/ 0 w 259"/>
                <a:gd name="T33" fmla="*/ 1 h 150"/>
                <a:gd name="T34" fmla="*/ 0 w 259"/>
                <a:gd name="T35" fmla="*/ 1 h 150"/>
                <a:gd name="T36" fmla="*/ 0 w 259"/>
                <a:gd name="T37" fmla="*/ 1 h 150"/>
                <a:gd name="T38" fmla="*/ 0 w 259"/>
                <a:gd name="T39" fmla="*/ 1 h 150"/>
                <a:gd name="T40" fmla="*/ 0 w 259"/>
                <a:gd name="T41" fmla="*/ 1 h 150"/>
                <a:gd name="T42" fmla="*/ 0 w 259"/>
                <a:gd name="T43" fmla="*/ 1 h 150"/>
                <a:gd name="T44" fmla="*/ 0 w 259"/>
                <a:gd name="T45" fmla="*/ 0 h 150"/>
                <a:gd name="T46" fmla="*/ 0 w 259"/>
                <a:gd name="T47" fmla="*/ 0 h 150"/>
                <a:gd name="T48" fmla="*/ 0 w 259"/>
                <a:gd name="T49" fmla="*/ 0 h 150"/>
                <a:gd name="T50" fmla="*/ 0 w 259"/>
                <a:gd name="T51" fmla="*/ 0 h 150"/>
                <a:gd name="T52" fmla="*/ 0 w 259"/>
                <a:gd name="T53" fmla="*/ 0 h 150"/>
                <a:gd name="T54" fmla="*/ 0 w 259"/>
                <a:gd name="T55"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9" h="150">
                  <a:moveTo>
                    <a:pt x="258" y="150"/>
                  </a:moveTo>
                  <a:cubicBezTo>
                    <a:pt x="258" y="150"/>
                    <a:pt x="258" y="150"/>
                    <a:pt x="258" y="150"/>
                  </a:cubicBezTo>
                  <a:cubicBezTo>
                    <a:pt x="258" y="150"/>
                    <a:pt x="258" y="150"/>
                    <a:pt x="258" y="150"/>
                  </a:cubicBezTo>
                  <a:moveTo>
                    <a:pt x="259" y="150"/>
                  </a:moveTo>
                  <a:cubicBezTo>
                    <a:pt x="259" y="150"/>
                    <a:pt x="258" y="150"/>
                    <a:pt x="258" y="150"/>
                  </a:cubicBezTo>
                  <a:cubicBezTo>
                    <a:pt x="259" y="150"/>
                    <a:pt x="259" y="150"/>
                    <a:pt x="259" y="150"/>
                  </a:cubicBezTo>
                  <a:moveTo>
                    <a:pt x="259" y="150"/>
                  </a:moveTo>
                  <a:cubicBezTo>
                    <a:pt x="259" y="150"/>
                    <a:pt x="259" y="150"/>
                    <a:pt x="259" y="150"/>
                  </a:cubicBezTo>
                  <a:cubicBezTo>
                    <a:pt x="259" y="150"/>
                    <a:pt x="259" y="150"/>
                    <a:pt x="259" y="150"/>
                  </a:cubicBezTo>
                  <a:moveTo>
                    <a:pt x="259" y="150"/>
                  </a:moveTo>
                  <a:cubicBezTo>
                    <a:pt x="259" y="150"/>
                    <a:pt x="259" y="150"/>
                    <a:pt x="259" y="150"/>
                  </a:cubicBezTo>
                  <a:cubicBezTo>
                    <a:pt x="259" y="150"/>
                    <a:pt x="259" y="150"/>
                    <a:pt x="259" y="150"/>
                  </a:cubicBezTo>
                  <a:moveTo>
                    <a:pt x="0" y="2"/>
                  </a:moveTo>
                  <a:cubicBezTo>
                    <a:pt x="0" y="2"/>
                    <a:pt x="0" y="2"/>
                    <a:pt x="0" y="2"/>
                  </a:cubicBezTo>
                  <a:cubicBezTo>
                    <a:pt x="0" y="2"/>
                    <a:pt x="0" y="2"/>
                    <a:pt x="0" y="2"/>
                  </a:cubicBezTo>
                  <a:cubicBezTo>
                    <a:pt x="0" y="2"/>
                    <a:pt x="0" y="2"/>
                    <a:pt x="0" y="2"/>
                  </a:cubicBezTo>
                  <a:moveTo>
                    <a:pt x="0" y="1"/>
                  </a:moveTo>
                  <a:cubicBezTo>
                    <a:pt x="0" y="1"/>
                    <a:pt x="0" y="1"/>
                    <a:pt x="0" y="1"/>
                  </a:cubicBezTo>
                  <a:cubicBezTo>
                    <a:pt x="0" y="1"/>
                    <a:pt x="0" y="1"/>
                    <a:pt x="0" y="1"/>
                  </a:cubicBezTo>
                  <a:moveTo>
                    <a:pt x="0" y="1"/>
                  </a:move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 name="íŝḷiḓ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171362E7-A3A1-4ED7-B130-E68938045213}"/>
                </a:ext>
              </a:extLst>
            </p:cNvPr>
            <p:cNvSpPr/>
            <p:nvPr/>
          </p:nvSpPr>
          <p:spPr bwMode="auto">
            <a:xfrm>
              <a:off x="4287838" y="1785938"/>
              <a:ext cx="915988" cy="725488"/>
            </a:xfrm>
            <a:custGeom>
              <a:avLst/>
              <a:gdLst>
                <a:gd name="T0" fmla="*/ 29 w 362"/>
                <a:gd name="T1" fmla="*/ 0 h 287"/>
                <a:gd name="T2" fmla="*/ 0 w 362"/>
                <a:gd name="T3" fmla="*/ 136 h 287"/>
                <a:gd name="T4" fmla="*/ 0 w 362"/>
                <a:gd name="T5" fmla="*/ 136 h 287"/>
                <a:gd name="T6" fmla="*/ 0 w 362"/>
                <a:gd name="T7" fmla="*/ 136 h 287"/>
                <a:gd name="T8" fmla="*/ 0 w 362"/>
                <a:gd name="T9" fmla="*/ 136 h 287"/>
                <a:gd name="T10" fmla="*/ 0 w 362"/>
                <a:gd name="T11" fmla="*/ 137 h 287"/>
                <a:gd name="T12" fmla="*/ 0 w 362"/>
                <a:gd name="T13" fmla="*/ 137 h 287"/>
                <a:gd name="T14" fmla="*/ 0 w 362"/>
                <a:gd name="T15" fmla="*/ 137 h 287"/>
                <a:gd name="T16" fmla="*/ 0 w 362"/>
                <a:gd name="T17" fmla="*/ 137 h 287"/>
                <a:gd name="T18" fmla="*/ 0 w 362"/>
                <a:gd name="T19" fmla="*/ 138 h 287"/>
                <a:gd name="T20" fmla="*/ 0 w 362"/>
                <a:gd name="T21" fmla="*/ 138 h 287"/>
                <a:gd name="T22" fmla="*/ 258 w 362"/>
                <a:gd name="T23" fmla="*/ 287 h 287"/>
                <a:gd name="T24" fmla="*/ 258 w 362"/>
                <a:gd name="T25" fmla="*/ 287 h 287"/>
                <a:gd name="T26" fmla="*/ 258 w 362"/>
                <a:gd name="T27" fmla="*/ 286 h 287"/>
                <a:gd name="T28" fmla="*/ 258 w 362"/>
                <a:gd name="T29" fmla="*/ 286 h 287"/>
                <a:gd name="T30" fmla="*/ 258 w 362"/>
                <a:gd name="T31" fmla="*/ 286 h 287"/>
                <a:gd name="T32" fmla="*/ 259 w 362"/>
                <a:gd name="T33" fmla="*/ 286 h 287"/>
                <a:gd name="T34" fmla="*/ 259 w 362"/>
                <a:gd name="T35" fmla="*/ 286 h 287"/>
                <a:gd name="T36" fmla="*/ 259 w 362"/>
                <a:gd name="T37" fmla="*/ 286 h 287"/>
                <a:gd name="T38" fmla="*/ 259 w 362"/>
                <a:gd name="T39" fmla="*/ 286 h 287"/>
                <a:gd name="T40" fmla="*/ 259 w 362"/>
                <a:gd name="T41" fmla="*/ 286 h 287"/>
                <a:gd name="T42" fmla="*/ 362 w 362"/>
                <a:gd name="T43" fmla="*/ 193 h 287"/>
                <a:gd name="T44" fmla="*/ 29 w 362"/>
                <a:gd name="T45"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2" h="287">
                  <a:moveTo>
                    <a:pt x="29" y="0"/>
                  </a:moveTo>
                  <a:cubicBezTo>
                    <a:pt x="11" y="45"/>
                    <a:pt x="0" y="92"/>
                    <a:pt x="0" y="136"/>
                  </a:cubicBezTo>
                  <a:cubicBezTo>
                    <a:pt x="0" y="136"/>
                    <a:pt x="0" y="136"/>
                    <a:pt x="0" y="136"/>
                  </a:cubicBezTo>
                  <a:cubicBezTo>
                    <a:pt x="0" y="136"/>
                    <a:pt x="0" y="136"/>
                    <a:pt x="0" y="136"/>
                  </a:cubicBezTo>
                  <a:cubicBezTo>
                    <a:pt x="0" y="136"/>
                    <a:pt x="0" y="136"/>
                    <a:pt x="0" y="136"/>
                  </a:cubicBezTo>
                  <a:cubicBezTo>
                    <a:pt x="0" y="136"/>
                    <a:pt x="0" y="137"/>
                    <a:pt x="0" y="137"/>
                  </a:cubicBezTo>
                  <a:cubicBezTo>
                    <a:pt x="0" y="137"/>
                    <a:pt x="0" y="137"/>
                    <a:pt x="0" y="137"/>
                  </a:cubicBezTo>
                  <a:cubicBezTo>
                    <a:pt x="0" y="137"/>
                    <a:pt x="0" y="137"/>
                    <a:pt x="0" y="137"/>
                  </a:cubicBezTo>
                  <a:cubicBezTo>
                    <a:pt x="0" y="137"/>
                    <a:pt x="0" y="137"/>
                    <a:pt x="0" y="137"/>
                  </a:cubicBezTo>
                  <a:cubicBezTo>
                    <a:pt x="0" y="137"/>
                    <a:pt x="0" y="138"/>
                    <a:pt x="0" y="138"/>
                  </a:cubicBezTo>
                  <a:cubicBezTo>
                    <a:pt x="0" y="138"/>
                    <a:pt x="0" y="138"/>
                    <a:pt x="0" y="138"/>
                  </a:cubicBezTo>
                  <a:cubicBezTo>
                    <a:pt x="258" y="287"/>
                    <a:pt x="258" y="287"/>
                    <a:pt x="258" y="287"/>
                  </a:cubicBezTo>
                  <a:cubicBezTo>
                    <a:pt x="258" y="287"/>
                    <a:pt x="258" y="287"/>
                    <a:pt x="258" y="287"/>
                  </a:cubicBezTo>
                  <a:cubicBezTo>
                    <a:pt x="258" y="287"/>
                    <a:pt x="258" y="286"/>
                    <a:pt x="258" y="286"/>
                  </a:cubicBezTo>
                  <a:cubicBezTo>
                    <a:pt x="258" y="286"/>
                    <a:pt x="258" y="286"/>
                    <a:pt x="258" y="286"/>
                  </a:cubicBezTo>
                  <a:cubicBezTo>
                    <a:pt x="258" y="286"/>
                    <a:pt x="258" y="286"/>
                    <a:pt x="258" y="286"/>
                  </a:cubicBezTo>
                  <a:cubicBezTo>
                    <a:pt x="258" y="286"/>
                    <a:pt x="259" y="286"/>
                    <a:pt x="259" y="286"/>
                  </a:cubicBezTo>
                  <a:cubicBezTo>
                    <a:pt x="259" y="286"/>
                    <a:pt x="259" y="286"/>
                    <a:pt x="259" y="286"/>
                  </a:cubicBezTo>
                  <a:cubicBezTo>
                    <a:pt x="259" y="286"/>
                    <a:pt x="259" y="286"/>
                    <a:pt x="259" y="286"/>
                  </a:cubicBezTo>
                  <a:cubicBezTo>
                    <a:pt x="259" y="286"/>
                    <a:pt x="259" y="286"/>
                    <a:pt x="259" y="286"/>
                  </a:cubicBezTo>
                  <a:cubicBezTo>
                    <a:pt x="259" y="286"/>
                    <a:pt x="259" y="286"/>
                    <a:pt x="259" y="286"/>
                  </a:cubicBezTo>
                  <a:cubicBezTo>
                    <a:pt x="297" y="264"/>
                    <a:pt x="332" y="231"/>
                    <a:pt x="362" y="193"/>
                  </a:cubicBezTo>
                  <a:cubicBezTo>
                    <a:pt x="29" y="0"/>
                    <a:pt x="29" y="0"/>
                    <a:pt x="29" y="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 name="ïṧ1íḓ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775B059C-FBD6-415F-9351-63442A7CA8BA}"/>
                </a:ext>
              </a:extLst>
            </p:cNvPr>
            <p:cNvSpPr/>
            <p:nvPr/>
          </p:nvSpPr>
          <p:spPr bwMode="auto">
            <a:xfrm>
              <a:off x="4789488" y="1255713"/>
              <a:ext cx="658813" cy="414338"/>
            </a:xfrm>
            <a:custGeom>
              <a:avLst/>
              <a:gdLst>
                <a:gd name="T0" fmla="*/ 260 w 260"/>
                <a:gd name="T1" fmla="*/ 164 h 164"/>
                <a:gd name="T2" fmla="*/ 260 w 260"/>
                <a:gd name="T3" fmla="*/ 163 h 164"/>
                <a:gd name="T4" fmla="*/ 260 w 260"/>
                <a:gd name="T5" fmla="*/ 163 h 164"/>
                <a:gd name="T6" fmla="*/ 260 w 260"/>
                <a:gd name="T7" fmla="*/ 162 h 164"/>
                <a:gd name="T8" fmla="*/ 260 w 260"/>
                <a:gd name="T9" fmla="*/ 161 h 164"/>
                <a:gd name="T10" fmla="*/ 260 w 260"/>
                <a:gd name="T11" fmla="*/ 161 h 164"/>
                <a:gd name="T12" fmla="*/ 260 w 260"/>
                <a:gd name="T13" fmla="*/ 160 h 164"/>
                <a:gd name="T14" fmla="*/ 260 w 260"/>
                <a:gd name="T15" fmla="*/ 159 h 164"/>
                <a:gd name="T16" fmla="*/ 260 w 260"/>
                <a:gd name="T17" fmla="*/ 159 h 164"/>
                <a:gd name="T18" fmla="*/ 260 w 260"/>
                <a:gd name="T19" fmla="*/ 159 h 164"/>
                <a:gd name="T20" fmla="*/ 260 w 260"/>
                <a:gd name="T21" fmla="*/ 158 h 164"/>
                <a:gd name="T22" fmla="*/ 260 w 260"/>
                <a:gd name="T23" fmla="*/ 158 h 164"/>
                <a:gd name="T24" fmla="*/ 260 w 260"/>
                <a:gd name="T25" fmla="*/ 158 h 164"/>
                <a:gd name="T26" fmla="*/ 260 w 260"/>
                <a:gd name="T27" fmla="*/ 157 h 164"/>
                <a:gd name="T28" fmla="*/ 260 w 260"/>
                <a:gd name="T29" fmla="*/ 157 h 164"/>
                <a:gd name="T30" fmla="*/ 260 w 260"/>
                <a:gd name="T31" fmla="*/ 157 h 164"/>
                <a:gd name="T32" fmla="*/ 260 w 260"/>
                <a:gd name="T33" fmla="*/ 156 h 164"/>
                <a:gd name="T34" fmla="*/ 260 w 260"/>
                <a:gd name="T35" fmla="*/ 156 h 164"/>
                <a:gd name="T36" fmla="*/ 260 w 260"/>
                <a:gd name="T37" fmla="*/ 155 h 164"/>
                <a:gd name="T38" fmla="*/ 260 w 260"/>
                <a:gd name="T39" fmla="*/ 155 h 164"/>
                <a:gd name="T40" fmla="*/ 260 w 260"/>
                <a:gd name="T41" fmla="*/ 155 h 164"/>
                <a:gd name="T42" fmla="*/ 260 w 260"/>
                <a:gd name="T43" fmla="*/ 154 h 164"/>
                <a:gd name="T44" fmla="*/ 260 w 260"/>
                <a:gd name="T45" fmla="*/ 153 h 164"/>
                <a:gd name="T46" fmla="*/ 260 w 260"/>
                <a:gd name="T47" fmla="*/ 153 h 164"/>
                <a:gd name="T48" fmla="*/ 260 w 260"/>
                <a:gd name="T49" fmla="*/ 153 h 164"/>
                <a:gd name="T50" fmla="*/ 260 w 260"/>
                <a:gd name="T51" fmla="*/ 153 h 164"/>
                <a:gd name="T52" fmla="*/ 260 w 260"/>
                <a:gd name="T53" fmla="*/ 153 h 164"/>
                <a:gd name="T54" fmla="*/ 260 w 260"/>
                <a:gd name="T55" fmla="*/ 152 h 164"/>
                <a:gd name="T56" fmla="*/ 260 w 260"/>
                <a:gd name="T57" fmla="*/ 152 h 164"/>
                <a:gd name="T58" fmla="*/ 260 w 260"/>
                <a:gd name="T59" fmla="*/ 152 h 164"/>
                <a:gd name="T60" fmla="*/ 260 w 260"/>
                <a:gd name="T61" fmla="*/ 151 h 164"/>
                <a:gd name="T62" fmla="*/ 260 w 260"/>
                <a:gd name="T63" fmla="*/ 151 h 164"/>
                <a:gd name="T64" fmla="*/ 260 w 260"/>
                <a:gd name="T65" fmla="*/ 151 h 164"/>
                <a:gd name="T66" fmla="*/ 260 w 260"/>
                <a:gd name="T67" fmla="*/ 150 h 164"/>
                <a:gd name="T68" fmla="*/ 260 w 260"/>
                <a:gd name="T69" fmla="*/ 150 h 164"/>
                <a:gd name="T70" fmla="*/ 260 w 260"/>
                <a:gd name="T71" fmla="*/ 150 h 164"/>
                <a:gd name="T72" fmla="*/ 0 w 260"/>
                <a:gd name="T73" fmla="*/ 2 h 164"/>
                <a:gd name="T74" fmla="*/ 1 w 260"/>
                <a:gd name="T75" fmla="*/ 1 h 164"/>
                <a:gd name="T76" fmla="*/ 1 w 260"/>
                <a:gd name="T77" fmla="*/ 1 h 164"/>
                <a:gd name="T78" fmla="*/ 1 w 260"/>
                <a:gd name="T79" fmla="*/ 1 h 164"/>
                <a:gd name="T80" fmla="*/ 1 w 260"/>
                <a:gd name="T81" fmla="*/ 1 h 164"/>
                <a:gd name="T82" fmla="*/ 1 w 260"/>
                <a:gd name="T83" fmla="*/ 1 h 164"/>
                <a:gd name="T84" fmla="*/ 2 w 260"/>
                <a:gd name="T85" fmla="*/ 1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0" h="164">
                  <a:moveTo>
                    <a:pt x="260" y="164"/>
                  </a:moveTo>
                  <a:cubicBezTo>
                    <a:pt x="260" y="164"/>
                    <a:pt x="260" y="164"/>
                    <a:pt x="260" y="164"/>
                  </a:cubicBezTo>
                  <a:cubicBezTo>
                    <a:pt x="260" y="164"/>
                    <a:pt x="260" y="164"/>
                    <a:pt x="260" y="164"/>
                  </a:cubicBezTo>
                  <a:moveTo>
                    <a:pt x="260" y="163"/>
                  </a:moveTo>
                  <a:cubicBezTo>
                    <a:pt x="260" y="163"/>
                    <a:pt x="260" y="163"/>
                    <a:pt x="260" y="163"/>
                  </a:cubicBezTo>
                  <a:cubicBezTo>
                    <a:pt x="260" y="163"/>
                    <a:pt x="260" y="163"/>
                    <a:pt x="260" y="163"/>
                  </a:cubicBezTo>
                  <a:moveTo>
                    <a:pt x="260" y="162"/>
                  </a:moveTo>
                  <a:cubicBezTo>
                    <a:pt x="260" y="162"/>
                    <a:pt x="260" y="162"/>
                    <a:pt x="260" y="162"/>
                  </a:cubicBezTo>
                  <a:cubicBezTo>
                    <a:pt x="260" y="162"/>
                    <a:pt x="260" y="162"/>
                    <a:pt x="260" y="162"/>
                  </a:cubicBezTo>
                  <a:moveTo>
                    <a:pt x="260" y="161"/>
                  </a:moveTo>
                  <a:cubicBezTo>
                    <a:pt x="260" y="161"/>
                    <a:pt x="260" y="161"/>
                    <a:pt x="260" y="161"/>
                  </a:cubicBezTo>
                  <a:cubicBezTo>
                    <a:pt x="260" y="161"/>
                    <a:pt x="260" y="161"/>
                    <a:pt x="260" y="161"/>
                  </a:cubicBezTo>
                  <a:moveTo>
                    <a:pt x="260" y="160"/>
                  </a:moveTo>
                  <a:cubicBezTo>
                    <a:pt x="260" y="160"/>
                    <a:pt x="260" y="160"/>
                    <a:pt x="260" y="160"/>
                  </a:cubicBezTo>
                  <a:cubicBezTo>
                    <a:pt x="260" y="160"/>
                    <a:pt x="260" y="160"/>
                    <a:pt x="260" y="160"/>
                  </a:cubicBezTo>
                  <a:moveTo>
                    <a:pt x="260" y="159"/>
                  </a:moveTo>
                  <a:cubicBezTo>
                    <a:pt x="260" y="159"/>
                    <a:pt x="260" y="160"/>
                    <a:pt x="260" y="160"/>
                  </a:cubicBezTo>
                  <a:cubicBezTo>
                    <a:pt x="260" y="160"/>
                    <a:pt x="260" y="159"/>
                    <a:pt x="260" y="159"/>
                  </a:cubicBezTo>
                  <a:moveTo>
                    <a:pt x="260" y="159"/>
                  </a:moveTo>
                  <a:cubicBezTo>
                    <a:pt x="260" y="159"/>
                    <a:pt x="260" y="159"/>
                    <a:pt x="260" y="159"/>
                  </a:cubicBezTo>
                  <a:cubicBezTo>
                    <a:pt x="260" y="159"/>
                    <a:pt x="260" y="159"/>
                    <a:pt x="260" y="159"/>
                  </a:cubicBezTo>
                  <a:moveTo>
                    <a:pt x="260" y="158"/>
                  </a:moveTo>
                  <a:cubicBezTo>
                    <a:pt x="260" y="158"/>
                    <a:pt x="260" y="158"/>
                    <a:pt x="260" y="158"/>
                  </a:cubicBezTo>
                  <a:cubicBezTo>
                    <a:pt x="260" y="158"/>
                    <a:pt x="260" y="158"/>
                    <a:pt x="260" y="158"/>
                  </a:cubicBezTo>
                  <a:moveTo>
                    <a:pt x="260" y="158"/>
                  </a:moveTo>
                  <a:cubicBezTo>
                    <a:pt x="260" y="158"/>
                    <a:pt x="260" y="158"/>
                    <a:pt x="260" y="158"/>
                  </a:cubicBezTo>
                  <a:cubicBezTo>
                    <a:pt x="260" y="158"/>
                    <a:pt x="260" y="158"/>
                    <a:pt x="260" y="158"/>
                  </a:cubicBezTo>
                  <a:moveTo>
                    <a:pt x="260" y="157"/>
                  </a:moveTo>
                  <a:cubicBezTo>
                    <a:pt x="260" y="157"/>
                    <a:pt x="260" y="157"/>
                    <a:pt x="260" y="157"/>
                  </a:cubicBezTo>
                  <a:cubicBezTo>
                    <a:pt x="260" y="157"/>
                    <a:pt x="260" y="157"/>
                    <a:pt x="260" y="157"/>
                  </a:cubicBezTo>
                  <a:moveTo>
                    <a:pt x="260" y="156"/>
                  </a:moveTo>
                  <a:cubicBezTo>
                    <a:pt x="260" y="157"/>
                    <a:pt x="260" y="157"/>
                    <a:pt x="260" y="157"/>
                  </a:cubicBezTo>
                  <a:cubicBezTo>
                    <a:pt x="260" y="157"/>
                    <a:pt x="260" y="157"/>
                    <a:pt x="260" y="156"/>
                  </a:cubicBezTo>
                  <a:moveTo>
                    <a:pt x="260" y="156"/>
                  </a:moveTo>
                  <a:cubicBezTo>
                    <a:pt x="260" y="156"/>
                    <a:pt x="260" y="156"/>
                    <a:pt x="260" y="156"/>
                  </a:cubicBezTo>
                  <a:cubicBezTo>
                    <a:pt x="260" y="156"/>
                    <a:pt x="260" y="156"/>
                    <a:pt x="260" y="156"/>
                  </a:cubicBezTo>
                  <a:moveTo>
                    <a:pt x="260" y="155"/>
                  </a:moveTo>
                  <a:cubicBezTo>
                    <a:pt x="260" y="155"/>
                    <a:pt x="260" y="155"/>
                    <a:pt x="260" y="155"/>
                  </a:cubicBezTo>
                  <a:cubicBezTo>
                    <a:pt x="260" y="155"/>
                    <a:pt x="260" y="155"/>
                    <a:pt x="260" y="155"/>
                  </a:cubicBezTo>
                  <a:moveTo>
                    <a:pt x="260" y="155"/>
                  </a:moveTo>
                  <a:cubicBezTo>
                    <a:pt x="260" y="155"/>
                    <a:pt x="260" y="155"/>
                    <a:pt x="260" y="155"/>
                  </a:cubicBezTo>
                  <a:cubicBezTo>
                    <a:pt x="260" y="155"/>
                    <a:pt x="260" y="155"/>
                    <a:pt x="260" y="155"/>
                  </a:cubicBezTo>
                  <a:moveTo>
                    <a:pt x="260" y="154"/>
                  </a:moveTo>
                  <a:cubicBezTo>
                    <a:pt x="260" y="154"/>
                    <a:pt x="260" y="154"/>
                    <a:pt x="260" y="154"/>
                  </a:cubicBezTo>
                  <a:cubicBezTo>
                    <a:pt x="260" y="154"/>
                    <a:pt x="260" y="154"/>
                    <a:pt x="260" y="154"/>
                  </a:cubicBezTo>
                  <a:moveTo>
                    <a:pt x="260" y="153"/>
                  </a:moveTo>
                  <a:cubicBezTo>
                    <a:pt x="260" y="154"/>
                    <a:pt x="260" y="154"/>
                    <a:pt x="260" y="154"/>
                  </a:cubicBezTo>
                  <a:cubicBezTo>
                    <a:pt x="260" y="154"/>
                    <a:pt x="260" y="154"/>
                    <a:pt x="260" y="153"/>
                  </a:cubicBezTo>
                  <a:moveTo>
                    <a:pt x="260" y="153"/>
                  </a:moveTo>
                  <a:cubicBezTo>
                    <a:pt x="260" y="153"/>
                    <a:pt x="260" y="153"/>
                    <a:pt x="260" y="153"/>
                  </a:cubicBezTo>
                  <a:cubicBezTo>
                    <a:pt x="260" y="153"/>
                    <a:pt x="260" y="153"/>
                    <a:pt x="260" y="153"/>
                  </a:cubicBezTo>
                  <a:moveTo>
                    <a:pt x="260" y="153"/>
                  </a:moveTo>
                  <a:cubicBezTo>
                    <a:pt x="260" y="153"/>
                    <a:pt x="260" y="153"/>
                    <a:pt x="260" y="153"/>
                  </a:cubicBezTo>
                  <a:cubicBezTo>
                    <a:pt x="260" y="153"/>
                    <a:pt x="260" y="153"/>
                    <a:pt x="260" y="153"/>
                  </a:cubicBezTo>
                  <a:moveTo>
                    <a:pt x="260" y="152"/>
                  </a:moveTo>
                  <a:cubicBezTo>
                    <a:pt x="260" y="152"/>
                    <a:pt x="260" y="152"/>
                    <a:pt x="260" y="152"/>
                  </a:cubicBezTo>
                  <a:cubicBezTo>
                    <a:pt x="260" y="152"/>
                    <a:pt x="260" y="152"/>
                    <a:pt x="260" y="152"/>
                  </a:cubicBezTo>
                  <a:moveTo>
                    <a:pt x="260" y="152"/>
                  </a:moveTo>
                  <a:cubicBezTo>
                    <a:pt x="260" y="152"/>
                    <a:pt x="260" y="152"/>
                    <a:pt x="260" y="152"/>
                  </a:cubicBezTo>
                  <a:cubicBezTo>
                    <a:pt x="260" y="152"/>
                    <a:pt x="260" y="152"/>
                    <a:pt x="260" y="152"/>
                  </a:cubicBezTo>
                  <a:moveTo>
                    <a:pt x="260" y="151"/>
                  </a:moveTo>
                  <a:cubicBezTo>
                    <a:pt x="260" y="151"/>
                    <a:pt x="260" y="151"/>
                    <a:pt x="260" y="151"/>
                  </a:cubicBezTo>
                  <a:cubicBezTo>
                    <a:pt x="260" y="151"/>
                    <a:pt x="260" y="151"/>
                    <a:pt x="260" y="151"/>
                  </a:cubicBezTo>
                  <a:moveTo>
                    <a:pt x="260" y="151"/>
                  </a:moveTo>
                  <a:cubicBezTo>
                    <a:pt x="260" y="151"/>
                    <a:pt x="260" y="151"/>
                    <a:pt x="260" y="151"/>
                  </a:cubicBezTo>
                  <a:cubicBezTo>
                    <a:pt x="260" y="151"/>
                    <a:pt x="260" y="151"/>
                    <a:pt x="260" y="151"/>
                  </a:cubicBezTo>
                  <a:moveTo>
                    <a:pt x="260" y="150"/>
                  </a:moveTo>
                  <a:cubicBezTo>
                    <a:pt x="260" y="150"/>
                    <a:pt x="260" y="150"/>
                    <a:pt x="260" y="150"/>
                  </a:cubicBezTo>
                  <a:cubicBezTo>
                    <a:pt x="260" y="150"/>
                    <a:pt x="260" y="150"/>
                    <a:pt x="260" y="150"/>
                  </a:cubicBezTo>
                  <a:moveTo>
                    <a:pt x="260" y="150"/>
                  </a:moveTo>
                  <a:cubicBezTo>
                    <a:pt x="260" y="150"/>
                    <a:pt x="260" y="150"/>
                    <a:pt x="260" y="150"/>
                  </a:cubicBezTo>
                  <a:cubicBezTo>
                    <a:pt x="260" y="150"/>
                    <a:pt x="260" y="150"/>
                    <a:pt x="260" y="150"/>
                  </a:cubicBezTo>
                  <a:moveTo>
                    <a:pt x="0" y="1"/>
                  </a:moveTo>
                  <a:cubicBezTo>
                    <a:pt x="0" y="1"/>
                    <a:pt x="0" y="2"/>
                    <a:pt x="0" y="2"/>
                  </a:cubicBezTo>
                  <a:cubicBezTo>
                    <a:pt x="0" y="1"/>
                    <a:pt x="0" y="1"/>
                    <a:pt x="0" y="1"/>
                  </a:cubicBezTo>
                  <a:moveTo>
                    <a:pt x="1" y="1"/>
                  </a:moveTo>
                  <a:cubicBezTo>
                    <a:pt x="1" y="1"/>
                    <a:pt x="1" y="1"/>
                    <a:pt x="1" y="1"/>
                  </a:cubicBezTo>
                  <a:cubicBezTo>
                    <a:pt x="1" y="1"/>
                    <a:pt x="1" y="1"/>
                    <a:pt x="1" y="1"/>
                  </a:cubicBezTo>
                  <a:moveTo>
                    <a:pt x="1" y="1"/>
                  </a:moveTo>
                  <a:cubicBezTo>
                    <a:pt x="1" y="1"/>
                    <a:pt x="1" y="1"/>
                    <a:pt x="1" y="1"/>
                  </a:cubicBezTo>
                  <a:cubicBezTo>
                    <a:pt x="1" y="1"/>
                    <a:pt x="1" y="1"/>
                    <a:pt x="1" y="1"/>
                  </a:cubicBezTo>
                  <a:moveTo>
                    <a:pt x="1" y="1"/>
                  </a:moveTo>
                  <a:cubicBezTo>
                    <a:pt x="1" y="1"/>
                    <a:pt x="1" y="1"/>
                    <a:pt x="1" y="1"/>
                  </a:cubicBezTo>
                  <a:cubicBezTo>
                    <a:pt x="1" y="1"/>
                    <a:pt x="1" y="1"/>
                    <a:pt x="1" y="1"/>
                  </a:cubicBezTo>
                  <a:moveTo>
                    <a:pt x="2" y="0"/>
                  </a:moveTo>
                  <a:cubicBezTo>
                    <a:pt x="2" y="1"/>
                    <a:pt x="2" y="1"/>
                    <a:pt x="2" y="1"/>
                  </a:cubicBezTo>
                  <a:cubicBezTo>
                    <a:pt x="2" y="1"/>
                    <a:pt x="2" y="1"/>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 name="ïšľíďé">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1461B263-6CDE-4B32-937F-BA35EA1A0AE9}"/>
                </a:ext>
              </a:extLst>
            </p:cNvPr>
            <p:cNvSpPr/>
            <p:nvPr/>
          </p:nvSpPr>
          <p:spPr bwMode="auto">
            <a:xfrm>
              <a:off x="4360863" y="1187450"/>
              <a:ext cx="1087438" cy="1085850"/>
            </a:xfrm>
            <a:custGeom>
              <a:avLst/>
              <a:gdLst>
                <a:gd name="T0" fmla="*/ 171 w 429"/>
                <a:gd name="T1" fmla="*/ 27 h 430"/>
                <a:gd name="T2" fmla="*/ 171 w 429"/>
                <a:gd name="T3" fmla="*/ 27 h 430"/>
                <a:gd name="T4" fmla="*/ 170 w 429"/>
                <a:gd name="T5" fmla="*/ 28 h 430"/>
                <a:gd name="T6" fmla="*/ 170 w 429"/>
                <a:gd name="T7" fmla="*/ 28 h 430"/>
                <a:gd name="T8" fmla="*/ 170 w 429"/>
                <a:gd name="T9" fmla="*/ 28 h 430"/>
                <a:gd name="T10" fmla="*/ 169 w 429"/>
                <a:gd name="T11" fmla="*/ 28 h 430"/>
                <a:gd name="T12" fmla="*/ 0 w 429"/>
                <a:gd name="T13" fmla="*/ 237 h 430"/>
                <a:gd name="T14" fmla="*/ 365 w 429"/>
                <a:gd name="T15" fmla="*/ 383 h 430"/>
                <a:gd name="T16" fmla="*/ 255 w 429"/>
                <a:gd name="T17" fmla="*/ 319 h 430"/>
                <a:gd name="T18" fmla="*/ 253 w 429"/>
                <a:gd name="T19" fmla="*/ 315 h 430"/>
                <a:gd name="T20" fmla="*/ 253 w 429"/>
                <a:gd name="T21" fmla="*/ 315 h 430"/>
                <a:gd name="T22" fmla="*/ 253 w 429"/>
                <a:gd name="T23" fmla="*/ 314 h 430"/>
                <a:gd name="T24" fmla="*/ 262 w 429"/>
                <a:gd name="T25" fmla="*/ 302 h 430"/>
                <a:gd name="T26" fmla="*/ 375 w 429"/>
                <a:gd name="T27" fmla="*/ 366 h 430"/>
                <a:gd name="T28" fmla="*/ 429 w 429"/>
                <a:gd name="T29" fmla="*/ 191 h 430"/>
                <a:gd name="T30" fmla="*/ 429 w 429"/>
                <a:gd name="T31" fmla="*/ 190 h 430"/>
                <a:gd name="T32" fmla="*/ 429 w 429"/>
                <a:gd name="T33" fmla="*/ 189 h 430"/>
                <a:gd name="T34" fmla="*/ 429 w 429"/>
                <a:gd name="T35" fmla="*/ 188 h 430"/>
                <a:gd name="T36" fmla="*/ 429 w 429"/>
                <a:gd name="T37" fmla="*/ 187 h 430"/>
                <a:gd name="T38" fmla="*/ 429 w 429"/>
                <a:gd name="T39" fmla="*/ 186 h 430"/>
                <a:gd name="T40" fmla="*/ 429 w 429"/>
                <a:gd name="T41" fmla="*/ 186 h 430"/>
                <a:gd name="T42" fmla="*/ 429 w 429"/>
                <a:gd name="T43" fmla="*/ 185 h 430"/>
                <a:gd name="T44" fmla="*/ 429 w 429"/>
                <a:gd name="T45" fmla="*/ 185 h 430"/>
                <a:gd name="T46" fmla="*/ 429 w 429"/>
                <a:gd name="T47" fmla="*/ 184 h 430"/>
                <a:gd name="T48" fmla="*/ 429 w 429"/>
                <a:gd name="T49" fmla="*/ 183 h 430"/>
                <a:gd name="T50" fmla="*/ 429 w 429"/>
                <a:gd name="T51" fmla="*/ 183 h 430"/>
                <a:gd name="T52" fmla="*/ 429 w 429"/>
                <a:gd name="T53" fmla="*/ 182 h 430"/>
                <a:gd name="T54" fmla="*/ 429 w 429"/>
                <a:gd name="T55" fmla="*/ 182 h 430"/>
                <a:gd name="T56" fmla="*/ 429 w 429"/>
                <a:gd name="T57" fmla="*/ 181 h 430"/>
                <a:gd name="T58" fmla="*/ 429 w 429"/>
                <a:gd name="T59" fmla="*/ 180 h 430"/>
                <a:gd name="T60" fmla="*/ 429 w 429"/>
                <a:gd name="T61" fmla="*/ 180 h 430"/>
                <a:gd name="T62" fmla="*/ 429 w 429"/>
                <a:gd name="T63" fmla="*/ 180 h 430"/>
                <a:gd name="T64" fmla="*/ 429 w 429"/>
                <a:gd name="T65" fmla="*/ 179 h 430"/>
                <a:gd name="T66" fmla="*/ 429 w 429"/>
                <a:gd name="T67" fmla="*/ 179 h 430"/>
                <a:gd name="T68" fmla="*/ 429 w 429"/>
                <a:gd name="T69" fmla="*/ 178 h 430"/>
                <a:gd name="T70" fmla="*/ 429 w 429"/>
                <a:gd name="T71" fmla="*/ 178 h 430"/>
                <a:gd name="T72" fmla="*/ 429 w 429"/>
                <a:gd name="T73" fmla="*/ 177 h 430"/>
                <a:gd name="T74" fmla="*/ 429 w 429"/>
                <a:gd name="T75" fmla="*/ 177 h 430"/>
                <a:gd name="T76" fmla="*/ 371 w 429"/>
                <a:gd name="T77" fmla="*/ 46 h 430"/>
                <a:gd name="T78" fmla="*/ 261 w 429"/>
                <a:gd name="T79" fmla="*/ 0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29" h="430">
                  <a:moveTo>
                    <a:pt x="261" y="0"/>
                  </a:moveTo>
                  <a:cubicBezTo>
                    <a:pt x="234" y="0"/>
                    <a:pt x="203" y="9"/>
                    <a:pt x="171" y="27"/>
                  </a:cubicBezTo>
                  <a:cubicBezTo>
                    <a:pt x="171" y="27"/>
                    <a:pt x="171" y="27"/>
                    <a:pt x="171" y="27"/>
                  </a:cubicBezTo>
                  <a:cubicBezTo>
                    <a:pt x="171" y="27"/>
                    <a:pt x="171" y="27"/>
                    <a:pt x="171" y="27"/>
                  </a:cubicBezTo>
                  <a:cubicBezTo>
                    <a:pt x="171" y="28"/>
                    <a:pt x="171" y="28"/>
                    <a:pt x="171" y="28"/>
                  </a:cubicBezTo>
                  <a:cubicBezTo>
                    <a:pt x="171" y="28"/>
                    <a:pt x="171" y="28"/>
                    <a:pt x="170" y="28"/>
                  </a:cubicBezTo>
                  <a:cubicBezTo>
                    <a:pt x="170" y="28"/>
                    <a:pt x="170" y="28"/>
                    <a:pt x="170" y="28"/>
                  </a:cubicBezTo>
                  <a:cubicBezTo>
                    <a:pt x="170" y="28"/>
                    <a:pt x="170" y="28"/>
                    <a:pt x="170" y="28"/>
                  </a:cubicBezTo>
                  <a:cubicBezTo>
                    <a:pt x="170" y="28"/>
                    <a:pt x="170" y="28"/>
                    <a:pt x="170" y="28"/>
                  </a:cubicBezTo>
                  <a:cubicBezTo>
                    <a:pt x="170" y="28"/>
                    <a:pt x="170" y="28"/>
                    <a:pt x="170" y="28"/>
                  </a:cubicBezTo>
                  <a:cubicBezTo>
                    <a:pt x="170" y="28"/>
                    <a:pt x="170" y="28"/>
                    <a:pt x="170" y="28"/>
                  </a:cubicBezTo>
                  <a:cubicBezTo>
                    <a:pt x="169" y="28"/>
                    <a:pt x="169" y="28"/>
                    <a:pt x="169" y="28"/>
                  </a:cubicBezTo>
                  <a:cubicBezTo>
                    <a:pt x="169" y="28"/>
                    <a:pt x="169" y="28"/>
                    <a:pt x="169" y="29"/>
                  </a:cubicBezTo>
                  <a:cubicBezTo>
                    <a:pt x="97" y="71"/>
                    <a:pt x="35" y="151"/>
                    <a:pt x="0" y="237"/>
                  </a:cubicBezTo>
                  <a:cubicBezTo>
                    <a:pt x="333" y="430"/>
                    <a:pt x="333" y="430"/>
                    <a:pt x="333" y="430"/>
                  </a:cubicBezTo>
                  <a:cubicBezTo>
                    <a:pt x="345" y="415"/>
                    <a:pt x="355" y="399"/>
                    <a:pt x="365" y="383"/>
                  </a:cubicBezTo>
                  <a:cubicBezTo>
                    <a:pt x="255" y="319"/>
                    <a:pt x="255" y="319"/>
                    <a:pt x="255" y="319"/>
                  </a:cubicBezTo>
                  <a:cubicBezTo>
                    <a:pt x="255" y="319"/>
                    <a:pt x="255" y="319"/>
                    <a:pt x="255" y="319"/>
                  </a:cubicBezTo>
                  <a:cubicBezTo>
                    <a:pt x="254" y="318"/>
                    <a:pt x="253" y="317"/>
                    <a:pt x="253" y="315"/>
                  </a:cubicBezTo>
                  <a:cubicBezTo>
                    <a:pt x="253" y="315"/>
                    <a:pt x="253" y="315"/>
                    <a:pt x="253" y="315"/>
                  </a:cubicBezTo>
                  <a:cubicBezTo>
                    <a:pt x="253" y="315"/>
                    <a:pt x="253" y="315"/>
                    <a:pt x="253" y="315"/>
                  </a:cubicBezTo>
                  <a:cubicBezTo>
                    <a:pt x="253" y="315"/>
                    <a:pt x="253" y="315"/>
                    <a:pt x="253" y="315"/>
                  </a:cubicBezTo>
                  <a:cubicBezTo>
                    <a:pt x="253" y="315"/>
                    <a:pt x="253" y="315"/>
                    <a:pt x="253" y="315"/>
                  </a:cubicBezTo>
                  <a:cubicBezTo>
                    <a:pt x="253" y="315"/>
                    <a:pt x="253" y="315"/>
                    <a:pt x="253" y="314"/>
                  </a:cubicBezTo>
                  <a:cubicBezTo>
                    <a:pt x="253" y="310"/>
                    <a:pt x="256" y="305"/>
                    <a:pt x="259" y="303"/>
                  </a:cubicBezTo>
                  <a:cubicBezTo>
                    <a:pt x="261" y="302"/>
                    <a:pt x="262" y="302"/>
                    <a:pt x="262" y="302"/>
                  </a:cubicBezTo>
                  <a:cubicBezTo>
                    <a:pt x="263" y="302"/>
                    <a:pt x="264" y="302"/>
                    <a:pt x="264" y="303"/>
                  </a:cubicBezTo>
                  <a:cubicBezTo>
                    <a:pt x="375" y="366"/>
                    <a:pt x="375" y="366"/>
                    <a:pt x="375" y="366"/>
                  </a:cubicBezTo>
                  <a:cubicBezTo>
                    <a:pt x="406" y="310"/>
                    <a:pt x="426" y="249"/>
                    <a:pt x="429" y="191"/>
                  </a:cubicBezTo>
                  <a:cubicBezTo>
                    <a:pt x="429" y="191"/>
                    <a:pt x="429" y="191"/>
                    <a:pt x="429" y="191"/>
                  </a:cubicBezTo>
                  <a:cubicBezTo>
                    <a:pt x="429" y="191"/>
                    <a:pt x="429" y="190"/>
                    <a:pt x="429" y="190"/>
                  </a:cubicBezTo>
                  <a:cubicBezTo>
                    <a:pt x="429" y="190"/>
                    <a:pt x="429" y="190"/>
                    <a:pt x="429" y="190"/>
                  </a:cubicBezTo>
                  <a:cubicBezTo>
                    <a:pt x="429" y="190"/>
                    <a:pt x="429" y="190"/>
                    <a:pt x="429" y="189"/>
                  </a:cubicBezTo>
                  <a:cubicBezTo>
                    <a:pt x="429" y="189"/>
                    <a:pt x="429" y="189"/>
                    <a:pt x="429" y="189"/>
                  </a:cubicBezTo>
                  <a:cubicBezTo>
                    <a:pt x="429" y="189"/>
                    <a:pt x="429" y="189"/>
                    <a:pt x="429" y="188"/>
                  </a:cubicBezTo>
                  <a:cubicBezTo>
                    <a:pt x="429" y="188"/>
                    <a:pt x="429" y="188"/>
                    <a:pt x="429" y="188"/>
                  </a:cubicBezTo>
                  <a:cubicBezTo>
                    <a:pt x="429" y="188"/>
                    <a:pt x="429" y="187"/>
                    <a:pt x="429" y="187"/>
                  </a:cubicBezTo>
                  <a:cubicBezTo>
                    <a:pt x="429" y="187"/>
                    <a:pt x="429" y="187"/>
                    <a:pt x="429" y="187"/>
                  </a:cubicBezTo>
                  <a:cubicBezTo>
                    <a:pt x="429" y="187"/>
                    <a:pt x="429" y="187"/>
                    <a:pt x="429" y="187"/>
                  </a:cubicBezTo>
                  <a:cubicBezTo>
                    <a:pt x="429" y="187"/>
                    <a:pt x="429" y="186"/>
                    <a:pt x="429" y="186"/>
                  </a:cubicBezTo>
                  <a:cubicBezTo>
                    <a:pt x="429" y="186"/>
                    <a:pt x="429" y="186"/>
                    <a:pt x="429" y="186"/>
                  </a:cubicBezTo>
                  <a:cubicBezTo>
                    <a:pt x="429" y="186"/>
                    <a:pt x="429" y="186"/>
                    <a:pt x="429" y="186"/>
                  </a:cubicBezTo>
                  <a:cubicBezTo>
                    <a:pt x="429" y="186"/>
                    <a:pt x="429" y="185"/>
                    <a:pt x="429" y="185"/>
                  </a:cubicBezTo>
                  <a:cubicBezTo>
                    <a:pt x="429" y="185"/>
                    <a:pt x="429" y="185"/>
                    <a:pt x="429" y="185"/>
                  </a:cubicBezTo>
                  <a:cubicBezTo>
                    <a:pt x="429" y="185"/>
                    <a:pt x="429" y="185"/>
                    <a:pt x="429" y="185"/>
                  </a:cubicBezTo>
                  <a:cubicBezTo>
                    <a:pt x="429" y="185"/>
                    <a:pt x="429" y="185"/>
                    <a:pt x="429" y="185"/>
                  </a:cubicBezTo>
                  <a:cubicBezTo>
                    <a:pt x="429" y="184"/>
                    <a:pt x="429" y="184"/>
                    <a:pt x="429" y="184"/>
                  </a:cubicBezTo>
                  <a:cubicBezTo>
                    <a:pt x="429" y="184"/>
                    <a:pt x="429" y="184"/>
                    <a:pt x="429" y="184"/>
                  </a:cubicBezTo>
                  <a:cubicBezTo>
                    <a:pt x="429" y="184"/>
                    <a:pt x="429" y="184"/>
                    <a:pt x="429" y="184"/>
                  </a:cubicBezTo>
                  <a:cubicBezTo>
                    <a:pt x="429" y="184"/>
                    <a:pt x="429" y="184"/>
                    <a:pt x="429" y="183"/>
                  </a:cubicBezTo>
                  <a:cubicBezTo>
                    <a:pt x="429" y="183"/>
                    <a:pt x="429" y="183"/>
                    <a:pt x="429" y="183"/>
                  </a:cubicBezTo>
                  <a:cubicBezTo>
                    <a:pt x="429" y="183"/>
                    <a:pt x="429" y="183"/>
                    <a:pt x="429" y="183"/>
                  </a:cubicBezTo>
                  <a:cubicBezTo>
                    <a:pt x="429" y="183"/>
                    <a:pt x="429" y="182"/>
                    <a:pt x="429" y="182"/>
                  </a:cubicBezTo>
                  <a:cubicBezTo>
                    <a:pt x="429" y="182"/>
                    <a:pt x="429" y="182"/>
                    <a:pt x="429" y="182"/>
                  </a:cubicBezTo>
                  <a:cubicBezTo>
                    <a:pt x="429" y="182"/>
                    <a:pt x="429" y="182"/>
                    <a:pt x="429" y="182"/>
                  </a:cubicBezTo>
                  <a:cubicBezTo>
                    <a:pt x="429" y="182"/>
                    <a:pt x="429" y="182"/>
                    <a:pt x="429" y="182"/>
                  </a:cubicBezTo>
                  <a:cubicBezTo>
                    <a:pt x="429" y="181"/>
                    <a:pt x="429" y="181"/>
                    <a:pt x="429" y="181"/>
                  </a:cubicBezTo>
                  <a:cubicBezTo>
                    <a:pt x="429" y="181"/>
                    <a:pt x="429" y="181"/>
                    <a:pt x="429" y="181"/>
                  </a:cubicBezTo>
                  <a:cubicBezTo>
                    <a:pt x="429" y="181"/>
                    <a:pt x="429" y="181"/>
                    <a:pt x="429" y="181"/>
                  </a:cubicBezTo>
                  <a:cubicBezTo>
                    <a:pt x="429" y="181"/>
                    <a:pt x="429" y="181"/>
                    <a:pt x="429" y="180"/>
                  </a:cubicBezTo>
                  <a:cubicBezTo>
                    <a:pt x="429" y="180"/>
                    <a:pt x="429" y="180"/>
                    <a:pt x="429" y="180"/>
                  </a:cubicBezTo>
                  <a:cubicBezTo>
                    <a:pt x="429" y="180"/>
                    <a:pt x="429" y="180"/>
                    <a:pt x="429" y="180"/>
                  </a:cubicBezTo>
                  <a:cubicBezTo>
                    <a:pt x="429" y="180"/>
                    <a:pt x="429" y="180"/>
                    <a:pt x="429" y="180"/>
                  </a:cubicBezTo>
                  <a:cubicBezTo>
                    <a:pt x="429" y="180"/>
                    <a:pt x="429" y="180"/>
                    <a:pt x="429" y="180"/>
                  </a:cubicBezTo>
                  <a:cubicBezTo>
                    <a:pt x="429" y="179"/>
                    <a:pt x="429" y="179"/>
                    <a:pt x="429" y="179"/>
                  </a:cubicBezTo>
                  <a:cubicBezTo>
                    <a:pt x="429" y="179"/>
                    <a:pt x="429" y="179"/>
                    <a:pt x="429" y="179"/>
                  </a:cubicBezTo>
                  <a:cubicBezTo>
                    <a:pt x="429" y="179"/>
                    <a:pt x="429" y="179"/>
                    <a:pt x="429" y="179"/>
                  </a:cubicBezTo>
                  <a:cubicBezTo>
                    <a:pt x="429" y="179"/>
                    <a:pt x="429" y="179"/>
                    <a:pt x="429" y="179"/>
                  </a:cubicBezTo>
                  <a:cubicBezTo>
                    <a:pt x="429" y="178"/>
                    <a:pt x="429" y="178"/>
                    <a:pt x="429" y="178"/>
                  </a:cubicBezTo>
                  <a:cubicBezTo>
                    <a:pt x="429" y="178"/>
                    <a:pt x="429" y="178"/>
                    <a:pt x="429" y="178"/>
                  </a:cubicBezTo>
                  <a:cubicBezTo>
                    <a:pt x="429" y="178"/>
                    <a:pt x="429" y="178"/>
                    <a:pt x="429" y="178"/>
                  </a:cubicBezTo>
                  <a:cubicBezTo>
                    <a:pt x="429" y="178"/>
                    <a:pt x="429" y="178"/>
                    <a:pt x="429" y="178"/>
                  </a:cubicBezTo>
                  <a:cubicBezTo>
                    <a:pt x="429" y="177"/>
                    <a:pt x="429" y="177"/>
                    <a:pt x="429" y="177"/>
                  </a:cubicBezTo>
                  <a:cubicBezTo>
                    <a:pt x="429" y="177"/>
                    <a:pt x="429" y="177"/>
                    <a:pt x="429" y="177"/>
                  </a:cubicBezTo>
                  <a:cubicBezTo>
                    <a:pt x="429" y="177"/>
                    <a:pt x="429" y="177"/>
                    <a:pt x="429" y="177"/>
                  </a:cubicBezTo>
                  <a:cubicBezTo>
                    <a:pt x="429" y="177"/>
                    <a:pt x="429" y="177"/>
                    <a:pt x="429" y="177"/>
                  </a:cubicBezTo>
                  <a:cubicBezTo>
                    <a:pt x="429" y="176"/>
                    <a:pt x="429" y="176"/>
                    <a:pt x="429" y="176"/>
                  </a:cubicBezTo>
                  <a:cubicBezTo>
                    <a:pt x="429" y="112"/>
                    <a:pt x="407" y="67"/>
                    <a:pt x="371" y="46"/>
                  </a:cubicBezTo>
                  <a:cubicBezTo>
                    <a:pt x="313" y="13"/>
                    <a:pt x="313" y="13"/>
                    <a:pt x="313" y="13"/>
                  </a:cubicBezTo>
                  <a:cubicBezTo>
                    <a:pt x="298" y="4"/>
                    <a:pt x="280" y="0"/>
                    <a:pt x="261" y="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 name="îśḻîdé">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D8AC4145-9711-4A0E-B92A-FD9AD503ACF4}"/>
                </a:ext>
              </a:extLst>
            </p:cNvPr>
            <p:cNvSpPr/>
            <p:nvPr/>
          </p:nvSpPr>
          <p:spPr bwMode="auto">
            <a:xfrm>
              <a:off x="4432300" y="1176338"/>
              <a:ext cx="1016000" cy="1497013"/>
            </a:xfrm>
            <a:custGeom>
              <a:avLst/>
              <a:gdLst>
                <a:gd name="T0" fmla="*/ 201 w 401"/>
                <a:gd name="T1" fmla="*/ 64 h 592"/>
                <a:gd name="T2" fmla="*/ 0 w 401"/>
                <a:gd name="T3" fmla="*/ 412 h 592"/>
                <a:gd name="T4" fmla="*/ 201 w 401"/>
                <a:gd name="T5" fmla="*/ 528 h 592"/>
                <a:gd name="T6" fmla="*/ 401 w 401"/>
                <a:gd name="T7" fmla="*/ 180 h 592"/>
                <a:gd name="T8" fmla="*/ 201 w 401"/>
                <a:gd name="T9" fmla="*/ 64 h 592"/>
              </a:gdLst>
              <a:ahLst/>
              <a:cxnLst>
                <a:cxn ang="0">
                  <a:pos x="T0" y="T1"/>
                </a:cxn>
                <a:cxn ang="0">
                  <a:pos x="T2" y="T3"/>
                </a:cxn>
                <a:cxn ang="0">
                  <a:pos x="T4" y="T5"/>
                </a:cxn>
                <a:cxn ang="0">
                  <a:pos x="T6" y="T7"/>
                </a:cxn>
                <a:cxn ang="0">
                  <a:pos x="T8" y="T9"/>
                </a:cxn>
              </a:cxnLst>
              <a:rect l="0" t="0" r="r" b="b"/>
              <a:pathLst>
                <a:path w="401" h="592">
                  <a:moveTo>
                    <a:pt x="201" y="64"/>
                  </a:moveTo>
                  <a:cubicBezTo>
                    <a:pt x="90" y="128"/>
                    <a:pt x="0" y="284"/>
                    <a:pt x="0" y="412"/>
                  </a:cubicBezTo>
                  <a:cubicBezTo>
                    <a:pt x="0" y="540"/>
                    <a:pt x="90" y="592"/>
                    <a:pt x="201" y="528"/>
                  </a:cubicBezTo>
                  <a:cubicBezTo>
                    <a:pt x="311" y="464"/>
                    <a:pt x="401" y="308"/>
                    <a:pt x="401" y="180"/>
                  </a:cubicBezTo>
                  <a:cubicBezTo>
                    <a:pt x="401" y="52"/>
                    <a:pt x="311" y="0"/>
                    <a:pt x="201" y="64"/>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chemeClr val="accent1">
                    <a:lumMod val="75000"/>
                    <a:lumOff val="25000"/>
                  </a:schemeClr>
                </a:solidFill>
              </a:endParaRPr>
            </a:p>
          </p:txBody>
        </p:sp>
        <p:sp>
          <p:nvSpPr>
            <p:cNvPr id="17" name="iṩľîḋè">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E8EF03BF-BF96-4833-A088-992A6747129A}"/>
                </a:ext>
              </a:extLst>
            </p:cNvPr>
            <p:cNvSpPr/>
            <p:nvPr/>
          </p:nvSpPr>
          <p:spPr bwMode="auto">
            <a:xfrm>
              <a:off x="4505325" y="1282700"/>
              <a:ext cx="871538" cy="1284288"/>
            </a:xfrm>
            <a:custGeom>
              <a:avLst/>
              <a:gdLst>
                <a:gd name="T0" fmla="*/ 172 w 344"/>
                <a:gd name="T1" fmla="*/ 55 h 508"/>
                <a:gd name="T2" fmla="*/ 0 w 344"/>
                <a:gd name="T3" fmla="*/ 353 h 508"/>
                <a:gd name="T4" fmla="*/ 172 w 344"/>
                <a:gd name="T5" fmla="*/ 453 h 508"/>
                <a:gd name="T6" fmla="*/ 344 w 344"/>
                <a:gd name="T7" fmla="*/ 155 h 508"/>
                <a:gd name="T8" fmla="*/ 172 w 344"/>
                <a:gd name="T9" fmla="*/ 55 h 508"/>
              </a:gdLst>
              <a:ahLst/>
              <a:cxnLst>
                <a:cxn ang="0">
                  <a:pos x="T0" y="T1"/>
                </a:cxn>
                <a:cxn ang="0">
                  <a:pos x="T2" y="T3"/>
                </a:cxn>
                <a:cxn ang="0">
                  <a:pos x="T4" y="T5"/>
                </a:cxn>
                <a:cxn ang="0">
                  <a:pos x="T6" y="T7"/>
                </a:cxn>
                <a:cxn ang="0">
                  <a:pos x="T8" y="T9"/>
                </a:cxn>
              </a:cxnLst>
              <a:rect l="0" t="0" r="r" b="b"/>
              <a:pathLst>
                <a:path w="344" h="508">
                  <a:moveTo>
                    <a:pt x="172" y="55"/>
                  </a:moveTo>
                  <a:cubicBezTo>
                    <a:pt x="77" y="110"/>
                    <a:pt x="0" y="244"/>
                    <a:pt x="0" y="353"/>
                  </a:cubicBezTo>
                  <a:cubicBezTo>
                    <a:pt x="0" y="463"/>
                    <a:pt x="77" y="508"/>
                    <a:pt x="172" y="453"/>
                  </a:cubicBezTo>
                  <a:cubicBezTo>
                    <a:pt x="267" y="398"/>
                    <a:pt x="344" y="264"/>
                    <a:pt x="344" y="155"/>
                  </a:cubicBezTo>
                  <a:cubicBezTo>
                    <a:pt x="344" y="45"/>
                    <a:pt x="267" y="0"/>
                    <a:pt x="172" y="55"/>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 name="iṡḷîdè">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172A1EDE-7720-4B3A-A822-381F1DDFE5B4}"/>
                </a:ext>
              </a:extLst>
            </p:cNvPr>
            <p:cNvSpPr/>
            <p:nvPr/>
          </p:nvSpPr>
          <p:spPr bwMode="auto">
            <a:xfrm>
              <a:off x="4576763" y="1389063"/>
              <a:ext cx="727075" cy="1071563"/>
            </a:xfrm>
            <a:custGeom>
              <a:avLst/>
              <a:gdLst>
                <a:gd name="T0" fmla="*/ 144 w 287"/>
                <a:gd name="T1" fmla="*/ 46 h 424"/>
                <a:gd name="T2" fmla="*/ 0 w 287"/>
                <a:gd name="T3" fmla="*/ 295 h 424"/>
                <a:gd name="T4" fmla="*/ 144 w 287"/>
                <a:gd name="T5" fmla="*/ 378 h 424"/>
                <a:gd name="T6" fmla="*/ 287 w 287"/>
                <a:gd name="T7" fmla="*/ 129 h 424"/>
                <a:gd name="T8" fmla="*/ 144 w 287"/>
                <a:gd name="T9" fmla="*/ 46 h 424"/>
              </a:gdLst>
              <a:ahLst/>
              <a:cxnLst>
                <a:cxn ang="0">
                  <a:pos x="T0" y="T1"/>
                </a:cxn>
                <a:cxn ang="0">
                  <a:pos x="T2" y="T3"/>
                </a:cxn>
                <a:cxn ang="0">
                  <a:pos x="T4" y="T5"/>
                </a:cxn>
                <a:cxn ang="0">
                  <a:pos x="T6" y="T7"/>
                </a:cxn>
                <a:cxn ang="0">
                  <a:pos x="T8" y="T9"/>
                </a:cxn>
              </a:cxnLst>
              <a:rect l="0" t="0" r="r" b="b"/>
              <a:pathLst>
                <a:path w="287" h="424">
                  <a:moveTo>
                    <a:pt x="144" y="46"/>
                  </a:moveTo>
                  <a:cubicBezTo>
                    <a:pt x="64" y="92"/>
                    <a:pt x="0" y="203"/>
                    <a:pt x="0" y="295"/>
                  </a:cubicBezTo>
                  <a:cubicBezTo>
                    <a:pt x="0" y="386"/>
                    <a:pt x="64" y="424"/>
                    <a:pt x="144" y="378"/>
                  </a:cubicBezTo>
                  <a:cubicBezTo>
                    <a:pt x="223" y="332"/>
                    <a:pt x="287" y="221"/>
                    <a:pt x="287" y="129"/>
                  </a:cubicBezTo>
                  <a:cubicBezTo>
                    <a:pt x="287" y="37"/>
                    <a:pt x="223" y="0"/>
                    <a:pt x="144" y="46"/>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 name="îŝḻíḑ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64F7791C-2F29-48D7-A52A-3032ED47DD2F}"/>
                </a:ext>
              </a:extLst>
            </p:cNvPr>
            <p:cNvSpPr/>
            <p:nvPr/>
          </p:nvSpPr>
          <p:spPr bwMode="auto">
            <a:xfrm>
              <a:off x="4649788" y="1495425"/>
              <a:ext cx="582613" cy="858838"/>
            </a:xfrm>
            <a:custGeom>
              <a:avLst/>
              <a:gdLst>
                <a:gd name="T0" fmla="*/ 115 w 230"/>
                <a:gd name="T1" fmla="*/ 37 h 340"/>
                <a:gd name="T2" fmla="*/ 0 w 230"/>
                <a:gd name="T3" fmla="*/ 236 h 340"/>
                <a:gd name="T4" fmla="*/ 115 w 230"/>
                <a:gd name="T5" fmla="*/ 303 h 340"/>
                <a:gd name="T6" fmla="*/ 230 w 230"/>
                <a:gd name="T7" fmla="*/ 104 h 340"/>
                <a:gd name="T8" fmla="*/ 115 w 230"/>
                <a:gd name="T9" fmla="*/ 37 h 340"/>
              </a:gdLst>
              <a:ahLst/>
              <a:cxnLst>
                <a:cxn ang="0">
                  <a:pos x="T0" y="T1"/>
                </a:cxn>
                <a:cxn ang="0">
                  <a:pos x="T2" y="T3"/>
                </a:cxn>
                <a:cxn ang="0">
                  <a:pos x="T4" y="T5"/>
                </a:cxn>
                <a:cxn ang="0">
                  <a:pos x="T6" y="T7"/>
                </a:cxn>
                <a:cxn ang="0">
                  <a:pos x="T8" y="T9"/>
                </a:cxn>
              </a:cxnLst>
              <a:rect l="0" t="0" r="r" b="b"/>
              <a:pathLst>
                <a:path w="230" h="340">
                  <a:moveTo>
                    <a:pt x="115" y="37"/>
                  </a:moveTo>
                  <a:cubicBezTo>
                    <a:pt x="51" y="74"/>
                    <a:pt x="0" y="163"/>
                    <a:pt x="0" y="236"/>
                  </a:cubicBezTo>
                  <a:cubicBezTo>
                    <a:pt x="0" y="310"/>
                    <a:pt x="51" y="340"/>
                    <a:pt x="115" y="303"/>
                  </a:cubicBezTo>
                  <a:cubicBezTo>
                    <a:pt x="178" y="266"/>
                    <a:pt x="230" y="177"/>
                    <a:pt x="230" y="104"/>
                  </a:cubicBezTo>
                  <a:cubicBezTo>
                    <a:pt x="230" y="30"/>
                    <a:pt x="178" y="0"/>
                    <a:pt x="115" y="37"/>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 name="ïśliḋ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06BEE8CA-11A4-4BFA-B3B9-CE1A7CDCC5E5}"/>
                </a:ext>
              </a:extLst>
            </p:cNvPr>
            <p:cNvSpPr/>
            <p:nvPr/>
          </p:nvSpPr>
          <p:spPr bwMode="auto">
            <a:xfrm>
              <a:off x="4721225" y="1601788"/>
              <a:ext cx="438150" cy="646113"/>
            </a:xfrm>
            <a:custGeom>
              <a:avLst/>
              <a:gdLst>
                <a:gd name="T0" fmla="*/ 87 w 173"/>
                <a:gd name="T1" fmla="*/ 28 h 256"/>
                <a:gd name="T2" fmla="*/ 0 w 173"/>
                <a:gd name="T3" fmla="*/ 178 h 256"/>
                <a:gd name="T4" fmla="*/ 87 w 173"/>
                <a:gd name="T5" fmla="*/ 228 h 256"/>
                <a:gd name="T6" fmla="*/ 173 w 173"/>
                <a:gd name="T7" fmla="*/ 78 h 256"/>
                <a:gd name="T8" fmla="*/ 87 w 173"/>
                <a:gd name="T9" fmla="*/ 28 h 256"/>
              </a:gdLst>
              <a:ahLst/>
              <a:cxnLst>
                <a:cxn ang="0">
                  <a:pos x="T0" y="T1"/>
                </a:cxn>
                <a:cxn ang="0">
                  <a:pos x="T2" y="T3"/>
                </a:cxn>
                <a:cxn ang="0">
                  <a:pos x="T4" y="T5"/>
                </a:cxn>
                <a:cxn ang="0">
                  <a:pos x="T6" y="T7"/>
                </a:cxn>
                <a:cxn ang="0">
                  <a:pos x="T8" y="T9"/>
                </a:cxn>
              </a:cxnLst>
              <a:rect l="0" t="0" r="r" b="b"/>
              <a:pathLst>
                <a:path w="173" h="256">
                  <a:moveTo>
                    <a:pt x="87" y="28"/>
                  </a:moveTo>
                  <a:cubicBezTo>
                    <a:pt x="39" y="56"/>
                    <a:pt x="0" y="123"/>
                    <a:pt x="0" y="178"/>
                  </a:cubicBezTo>
                  <a:cubicBezTo>
                    <a:pt x="0" y="233"/>
                    <a:pt x="39" y="256"/>
                    <a:pt x="87" y="228"/>
                  </a:cubicBezTo>
                  <a:cubicBezTo>
                    <a:pt x="134" y="200"/>
                    <a:pt x="173" y="133"/>
                    <a:pt x="173" y="78"/>
                  </a:cubicBezTo>
                  <a:cubicBezTo>
                    <a:pt x="173" y="23"/>
                    <a:pt x="134" y="0"/>
                    <a:pt x="87" y="28"/>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 name="iṧ1îḋè">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B13E993D-0057-4A17-95A2-BD529B5093C3}"/>
                </a:ext>
              </a:extLst>
            </p:cNvPr>
            <p:cNvSpPr/>
            <p:nvPr/>
          </p:nvSpPr>
          <p:spPr bwMode="auto">
            <a:xfrm>
              <a:off x="4794250" y="1708150"/>
              <a:ext cx="293688" cy="434975"/>
            </a:xfrm>
            <a:custGeom>
              <a:avLst/>
              <a:gdLst>
                <a:gd name="T0" fmla="*/ 58 w 116"/>
                <a:gd name="T1" fmla="*/ 19 h 172"/>
                <a:gd name="T2" fmla="*/ 0 w 116"/>
                <a:gd name="T3" fmla="*/ 119 h 172"/>
                <a:gd name="T4" fmla="*/ 58 w 116"/>
                <a:gd name="T5" fmla="*/ 153 h 172"/>
                <a:gd name="T6" fmla="*/ 116 w 116"/>
                <a:gd name="T7" fmla="*/ 52 h 172"/>
                <a:gd name="T8" fmla="*/ 58 w 116"/>
                <a:gd name="T9" fmla="*/ 19 h 172"/>
              </a:gdLst>
              <a:ahLst/>
              <a:cxnLst>
                <a:cxn ang="0">
                  <a:pos x="T0" y="T1"/>
                </a:cxn>
                <a:cxn ang="0">
                  <a:pos x="T2" y="T3"/>
                </a:cxn>
                <a:cxn ang="0">
                  <a:pos x="T4" y="T5"/>
                </a:cxn>
                <a:cxn ang="0">
                  <a:pos x="T6" y="T7"/>
                </a:cxn>
                <a:cxn ang="0">
                  <a:pos x="T8" y="T9"/>
                </a:cxn>
              </a:cxnLst>
              <a:rect l="0" t="0" r="r" b="b"/>
              <a:pathLst>
                <a:path w="116" h="172">
                  <a:moveTo>
                    <a:pt x="58" y="19"/>
                  </a:moveTo>
                  <a:cubicBezTo>
                    <a:pt x="26" y="37"/>
                    <a:pt x="0" y="82"/>
                    <a:pt x="0" y="119"/>
                  </a:cubicBezTo>
                  <a:cubicBezTo>
                    <a:pt x="0" y="157"/>
                    <a:pt x="26" y="172"/>
                    <a:pt x="58" y="153"/>
                  </a:cubicBezTo>
                  <a:cubicBezTo>
                    <a:pt x="90" y="134"/>
                    <a:pt x="116" y="89"/>
                    <a:pt x="116" y="52"/>
                  </a:cubicBezTo>
                  <a:cubicBezTo>
                    <a:pt x="116" y="15"/>
                    <a:pt x="90" y="0"/>
                    <a:pt x="58" y="19"/>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2" name="îšļidè">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55544F22-C620-4334-BAFD-E8825399D0C1}"/>
                </a:ext>
              </a:extLst>
            </p:cNvPr>
            <p:cNvSpPr/>
            <p:nvPr/>
          </p:nvSpPr>
          <p:spPr bwMode="auto">
            <a:xfrm>
              <a:off x="4865688" y="1814513"/>
              <a:ext cx="149225" cy="219075"/>
            </a:xfrm>
            <a:custGeom>
              <a:avLst/>
              <a:gdLst>
                <a:gd name="T0" fmla="*/ 30 w 59"/>
                <a:gd name="T1" fmla="*/ 10 h 87"/>
                <a:gd name="T2" fmla="*/ 0 w 59"/>
                <a:gd name="T3" fmla="*/ 61 h 87"/>
                <a:gd name="T4" fmla="*/ 30 w 59"/>
                <a:gd name="T5" fmla="*/ 78 h 87"/>
                <a:gd name="T6" fmla="*/ 59 w 59"/>
                <a:gd name="T7" fmla="*/ 27 h 87"/>
                <a:gd name="T8" fmla="*/ 30 w 59"/>
                <a:gd name="T9" fmla="*/ 10 h 87"/>
              </a:gdLst>
              <a:ahLst/>
              <a:cxnLst>
                <a:cxn ang="0">
                  <a:pos x="T0" y="T1"/>
                </a:cxn>
                <a:cxn ang="0">
                  <a:pos x="T2" y="T3"/>
                </a:cxn>
                <a:cxn ang="0">
                  <a:pos x="T4" y="T5"/>
                </a:cxn>
                <a:cxn ang="0">
                  <a:pos x="T6" y="T7"/>
                </a:cxn>
                <a:cxn ang="0">
                  <a:pos x="T8" y="T9"/>
                </a:cxn>
              </a:cxnLst>
              <a:rect l="0" t="0" r="r" b="b"/>
              <a:pathLst>
                <a:path w="59" h="87">
                  <a:moveTo>
                    <a:pt x="30" y="10"/>
                  </a:moveTo>
                  <a:cubicBezTo>
                    <a:pt x="13" y="19"/>
                    <a:pt x="0" y="42"/>
                    <a:pt x="0" y="61"/>
                  </a:cubicBezTo>
                  <a:cubicBezTo>
                    <a:pt x="0" y="80"/>
                    <a:pt x="13" y="87"/>
                    <a:pt x="30" y="78"/>
                  </a:cubicBezTo>
                  <a:cubicBezTo>
                    <a:pt x="46" y="69"/>
                    <a:pt x="59" y="46"/>
                    <a:pt x="59" y="27"/>
                  </a:cubicBezTo>
                  <a:cubicBezTo>
                    <a:pt x="59" y="8"/>
                    <a:pt x="46" y="0"/>
                    <a:pt x="30" y="10"/>
                  </a:cubicBezTo>
                  <a:close/>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 name="îSľïḍè">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E1DB21DA-C96E-4FBC-8966-6AD49768F811}"/>
                </a:ext>
              </a:extLst>
            </p:cNvPr>
            <p:cNvSpPr/>
            <p:nvPr/>
          </p:nvSpPr>
          <p:spPr bwMode="auto">
            <a:xfrm>
              <a:off x="5807075" y="2425700"/>
              <a:ext cx="268288" cy="107950"/>
            </a:xfrm>
            <a:custGeom>
              <a:avLst/>
              <a:gdLst>
                <a:gd name="T0" fmla="*/ 169 w 169"/>
                <a:gd name="T1" fmla="*/ 46 h 68"/>
                <a:gd name="T2" fmla="*/ 66 w 169"/>
                <a:gd name="T3" fmla="*/ 1 h 68"/>
                <a:gd name="T4" fmla="*/ 0 w 169"/>
                <a:gd name="T5" fmla="*/ 0 h 68"/>
                <a:gd name="T6" fmla="*/ 0 w 169"/>
                <a:gd name="T7" fmla="*/ 11 h 68"/>
                <a:gd name="T8" fmla="*/ 99 w 169"/>
                <a:gd name="T9" fmla="*/ 68 h 68"/>
                <a:gd name="T10" fmla="*/ 169 w 169"/>
                <a:gd name="T11" fmla="*/ 57 h 68"/>
                <a:gd name="T12" fmla="*/ 169 w 169"/>
                <a:gd name="T13" fmla="*/ 46 h 68"/>
              </a:gdLst>
              <a:ahLst/>
              <a:cxnLst>
                <a:cxn ang="0">
                  <a:pos x="T0" y="T1"/>
                </a:cxn>
                <a:cxn ang="0">
                  <a:pos x="T2" y="T3"/>
                </a:cxn>
                <a:cxn ang="0">
                  <a:pos x="T4" y="T5"/>
                </a:cxn>
                <a:cxn ang="0">
                  <a:pos x="T6" y="T7"/>
                </a:cxn>
                <a:cxn ang="0">
                  <a:pos x="T8" y="T9"/>
                </a:cxn>
                <a:cxn ang="0">
                  <a:pos x="T10" y="T11"/>
                </a:cxn>
                <a:cxn ang="0">
                  <a:pos x="T12" y="T13"/>
                </a:cxn>
              </a:cxnLst>
              <a:rect l="0" t="0" r="r" b="b"/>
              <a:pathLst>
                <a:path w="169" h="68">
                  <a:moveTo>
                    <a:pt x="169" y="46"/>
                  </a:moveTo>
                  <a:lnTo>
                    <a:pt x="66" y="1"/>
                  </a:lnTo>
                  <a:lnTo>
                    <a:pt x="0" y="0"/>
                  </a:lnTo>
                  <a:lnTo>
                    <a:pt x="0" y="11"/>
                  </a:lnTo>
                  <a:lnTo>
                    <a:pt x="99" y="68"/>
                  </a:lnTo>
                  <a:lnTo>
                    <a:pt x="169" y="57"/>
                  </a:lnTo>
                  <a:lnTo>
                    <a:pt x="169" y="46"/>
                  </a:lnTo>
                  <a:close/>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 name="îśḻiď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CA220500-69EA-456F-A1C2-7FB2007F03D6}"/>
                </a:ext>
              </a:extLst>
            </p:cNvPr>
            <p:cNvSpPr/>
            <p:nvPr/>
          </p:nvSpPr>
          <p:spPr bwMode="auto">
            <a:xfrm>
              <a:off x="5807075" y="2425700"/>
              <a:ext cx="268288" cy="107950"/>
            </a:xfrm>
            <a:custGeom>
              <a:avLst/>
              <a:gdLst>
                <a:gd name="T0" fmla="*/ 169 w 169"/>
                <a:gd name="T1" fmla="*/ 46 h 68"/>
                <a:gd name="T2" fmla="*/ 66 w 169"/>
                <a:gd name="T3" fmla="*/ 1 h 68"/>
                <a:gd name="T4" fmla="*/ 0 w 169"/>
                <a:gd name="T5" fmla="*/ 0 h 68"/>
                <a:gd name="T6" fmla="*/ 0 w 169"/>
                <a:gd name="T7" fmla="*/ 11 h 68"/>
                <a:gd name="T8" fmla="*/ 99 w 169"/>
                <a:gd name="T9" fmla="*/ 68 h 68"/>
                <a:gd name="T10" fmla="*/ 169 w 169"/>
                <a:gd name="T11" fmla="*/ 57 h 68"/>
                <a:gd name="T12" fmla="*/ 169 w 169"/>
                <a:gd name="T13" fmla="*/ 46 h 68"/>
              </a:gdLst>
              <a:ahLst/>
              <a:cxnLst>
                <a:cxn ang="0">
                  <a:pos x="T0" y="T1"/>
                </a:cxn>
                <a:cxn ang="0">
                  <a:pos x="T2" y="T3"/>
                </a:cxn>
                <a:cxn ang="0">
                  <a:pos x="T4" y="T5"/>
                </a:cxn>
                <a:cxn ang="0">
                  <a:pos x="T6" y="T7"/>
                </a:cxn>
                <a:cxn ang="0">
                  <a:pos x="T8" y="T9"/>
                </a:cxn>
                <a:cxn ang="0">
                  <a:pos x="T10" y="T11"/>
                </a:cxn>
                <a:cxn ang="0">
                  <a:pos x="T12" y="T13"/>
                </a:cxn>
              </a:cxnLst>
              <a:rect l="0" t="0" r="r" b="b"/>
              <a:pathLst>
                <a:path w="169" h="68">
                  <a:moveTo>
                    <a:pt x="169" y="46"/>
                  </a:moveTo>
                  <a:lnTo>
                    <a:pt x="66" y="1"/>
                  </a:lnTo>
                  <a:lnTo>
                    <a:pt x="0" y="0"/>
                  </a:lnTo>
                  <a:lnTo>
                    <a:pt x="0" y="11"/>
                  </a:lnTo>
                  <a:lnTo>
                    <a:pt x="99" y="68"/>
                  </a:lnTo>
                  <a:lnTo>
                    <a:pt x="169" y="57"/>
                  </a:lnTo>
                  <a:lnTo>
                    <a:pt x="169" y="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 name="îṡḷïď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751CFDAB-B1A9-41FB-9C1A-9DBE0BDE0946}"/>
                </a:ext>
              </a:extLst>
            </p:cNvPr>
            <p:cNvSpPr/>
            <p:nvPr/>
          </p:nvSpPr>
          <p:spPr bwMode="auto">
            <a:xfrm>
              <a:off x="5807075" y="2425700"/>
              <a:ext cx="268288" cy="88900"/>
            </a:xfrm>
            <a:custGeom>
              <a:avLst/>
              <a:gdLst>
                <a:gd name="T0" fmla="*/ 0 w 169"/>
                <a:gd name="T1" fmla="*/ 0 h 56"/>
                <a:gd name="T2" fmla="*/ 66 w 169"/>
                <a:gd name="T3" fmla="*/ 1 h 56"/>
                <a:gd name="T4" fmla="*/ 169 w 169"/>
                <a:gd name="T5" fmla="*/ 46 h 56"/>
                <a:gd name="T6" fmla="*/ 99 w 169"/>
                <a:gd name="T7" fmla="*/ 56 h 56"/>
                <a:gd name="T8" fmla="*/ 0 w 169"/>
                <a:gd name="T9" fmla="*/ 0 h 56"/>
              </a:gdLst>
              <a:ahLst/>
              <a:cxnLst>
                <a:cxn ang="0">
                  <a:pos x="T0" y="T1"/>
                </a:cxn>
                <a:cxn ang="0">
                  <a:pos x="T2" y="T3"/>
                </a:cxn>
                <a:cxn ang="0">
                  <a:pos x="T4" y="T5"/>
                </a:cxn>
                <a:cxn ang="0">
                  <a:pos x="T6" y="T7"/>
                </a:cxn>
                <a:cxn ang="0">
                  <a:pos x="T8" y="T9"/>
                </a:cxn>
              </a:cxnLst>
              <a:rect l="0" t="0" r="r" b="b"/>
              <a:pathLst>
                <a:path w="169" h="56">
                  <a:moveTo>
                    <a:pt x="0" y="0"/>
                  </a:moveTo>
                  <a:lnTo>
                    <a:pt x="66" y="1"/>
                  </a:lnTo>
                  <a:lnTo>
                    <a:pt x="169" y="46"/>
                  </a:lnTo>
                  <a:lnTo>
                    <a:pt x="99" y="56"/>
                  </a:lnTo>
                  <a:lnTo>
                    <a:pt x="0" y="0"/>
                  </a:lnTo>
                  <a:close/>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 name="işlíḑè">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8A6CB4EF-6F16-43EE-BEE0-229DC03BEB22}"/>
                </a:ext>
              </a:extLst>
            </p:cNvPr>
            <p:cNvSpPr/>
            <p:nvPr/>
          </p:nvSpPr>
          <p:spPr bwMode="auto">
            <a:xfrm>
              <a:off x="5807075" y="2425700"/>
              <a:ext cx="268288" cy="88900"/>
            </a:xfrm>
            <a:custGeom>
              <a:avLst/>
              <a:gdLst>
                <a:gd name="T0" fmla="*/ 0 w 169"/>
                <a:gd name="T1" fmla="*/ 0 h 56"/>
                <a:gd name="T2" fmla="*/ 66 w 169"/>
                <a:gd name="T3" fmla="*/ 1 h 56"/>
                <a:gd name="T4" fmla="*/ 169 w 169"/>
                <a:gd name="T5" fmla="*/ 46 h 56"/>
                <a:gd name="T6" fmla="*/ 99 w 169"/>
                <a:gd name="T7" fmla="*/ 56 h 56"/>
                <a:gd name="T8" fmla="*/ 0 w 169"/>
                <a:gd name="T9" fmla="*/ 0 h 56"/>
              </a:gdLst>
              <a:ahLst/>
              <a:cxnLst>
                <a:cxn ang="0">
                  <a:pos x="T0" y="T1"/>
                </a:cxn>
                <a:cxn ang="0">
                  <a:pos x="T2" y="T3"/>
                </a:cxn>
                <a:cxn ang="0">
                  <a:pos x="T4" y="T5"/>
                </a:cxn>
                <a:cxn ang="0">
                  <a:pos x="T6" y="T7"/>
                </a:cxn>
                <a:cxn ang="0">
                  <a:pos x="T8" y="T9"/>
                </a:cxn>
              </a:cxnLst>
              <a:rect l="0" t="0" r="r" b="b"/>
              <a:pathLst>
                <a:path w="169" h="56">
                  <a:moveTo>
                    <a:pt x="0" y="0"/>
                  </a:moveTo>
                  <a:lnTo>
                    <a:pt x="66" y="1"/>
                  </a:lnTo>
                  <a:lnTo>
                    <a:pt x="169" y="46"/>
                  </a:lnTo>
                  <a:lnTo>
                    <a:pt x="99" y="5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7" name="íṩ1íď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9A2143C4-8CE7-4879-AF7D-5BECB444E260}"/>
                </a:ext>
              </a:extLst>
            </p:cNvPr>
            <p:cNvSpPr/>
            <p:nvPr/>
          </p:nvSpPr>
          <p:spPr bwMode="auto">
            <a:xfrm>
              <a:off x="5997575" y="2498725"/>
              <a:ext cx="77788" cy="25400"/>
            </a:xfrm>
            <a:custGeom>
              <a:avLst/>
              <a:gdLst>
                <a:gd name="T0" fmla="*/ 49 w 49"/>
                <a:gd name="T1" fmla="*/ 0 h 16"/>
                <a:gd name="T2" fmla="*/ 0 w 49"/>
                <a:gd name="T3" fmla="*/ 6 h 16"/>
                <a:gd name="T4" fmla="*/ 16 w 49"/>
                <a:gd name="T5" fmla="*/ 16 h 16"/>
                <a:gd name="T6" fmla="*/ 49 w 49"/>
                <a:gd name="T7" fmla="*/ 11 h 16"/>
                <a:gd name="T8" fmla="*/ 49 w 49"/>
                <a:gd name="T9" fmla="*/ 0 h 16"/>
              </a:gdLst>
              <a:ahLst/>
              <a:cxnLst>
                <a:cxn ang="0">
                  <a:pos x="T0" y="T1"/>
                </a:cxn>
                <a:cxn ang="0">
                  <a:pos x="T2" y="T3"/>
                </a:cxn>
                <a:cxn ang="0">
                  <a:pos x="T4" y="T5"/>
                </a:cxn>
                <a:cxn ang="0">
                  <a:pos x="T6" y="T7"/>
                </a:cxn>
                <a:cxn ang="0">
                  <a:pos x="T8" y="T9"/>
                </a:cxn>
              </a:cxnLst>
              <a:rect l="0" t="0" r="r" b="b"/>
              <a:pathLst>
                <a:path w="49" h="16">
                  <a:moveTo>
                    <a:pt x="49" y="0"/>
                  </a:moveTo>
                  <a:lnTo>
                    <a:pt x="0" y="6"/>
                  </a:lnTo>
                  <a:lnTo>
                    <a:pt x="16" y="16"/>
                  </a:lnTo>
                  <a:lnTo>
                    <a:pt x="49" y="11"/>
                  </a:lnTo>
                  <a:lnTo>
                    <a:pt x="49" y="0"/>
                  </a:lnTo>
                  <a:close/>
                </a:path>
              </a:pathLst>
            </a:custGeom>
            <a:solidFill>
              <a:srgbClr val="1FB2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8" name="ïśḷîḓé">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C83AF6E7-8154-48B5-836E-4C7DB8736EC9}"/>
                </a:ext>
              </a:extLst>
            </p:cNvPr>
            <p:cNvSpPr/>
            <p:nvPr/>
          </p:nvSpPr>
          <p:spPr bwMode="auto">
            <a:xfrm>
              <a:off x="5997575" y="2498725"/>
              <a:ext cx="77788" cy="25400"/>
            </a:xfrm>
            <a:custGeom>
              <a:avLst/>
              <a:gdLst>
                <a:gd name="T0" fmla="*/ 49 w 49"/>
                <a:gd name="T1" fmla="*/ 0 h 16"/>
                <a:gd name="T2" fmla="*/ 0 w 49"/>
                <a:gd name="T3" fmla="*/ 6 h 16"/>
                <a:gd name="T4" fmla="*/ 16 w 49"/>
                <a:gd name="T5" fmla="*/ 16 h 16"/>
                <a:gd name="T6" fmla="*/ 49 w 49"/>
                <a:gd name="T7" fmla="*/ 11 h 16"/>
                <a:gd name="T8" fmla="*/ 49 w 49"/>
                <a:gd name="T9" fmla="*/ 0 h 16"/>
              </a:gdLst>
              <a:ahLst/>
              <a:cxnLst>
                <a:cxn ang="0">
                  <a:pos x="T0" y="T1"/>
                </a:cxn>
                <a:cxn ang="0">
                  <a:pos x="T2" y="T3"/>
                </a:cxn>
                <a:cxn ang="0">
                  <a:pos x="T4" y="T5"/>
                </a:cxn>
                <a:cxn ang="0">
                  <a:pos x="T6" y="T7"/>
                </a:cxn>
                <a:cxn ang="0">
                  <a:pos x="T8" y="T9"/>
                </a:cxn>
              </a:cxnLst>
              <a:rect l="0" t="0" r="r" b="b"/>
              <a:pathLst>
                <a:path w="49" h="16">
                  <a:moveTo>
                    <a:pt x="49" y="0"/>
                  </a:moveTo>
                  <a:lnTo>
                    <a:pt x="0" y="6"/>
                  </a:lnTo>
                  <a:lnTo>
                    <a:pt x="16" y="16"/>
                  </a:lnTo>
                  <a:lnTo>
                    <a:pt x="49" y="11"/>
                  </a:lnTo>
                  <a:lnTo>
                    <a:pt x="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9" name="íşḻïḑ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D72C61B4-F161-45F2-A606-2D2BD3635B59}"/>
                </a:ext>
              </a:extLst>
            </p:cNvPr>
            <p:cNvSpPr/>
            <p:nvPr/>
          </p:nvSpPr>
          <p:spPr bwMode="auto">
            <a:xfrm>
              <a:off x="4918075" y="1892300"/>
              <a:ext cx="182563" cy="153988"/>
            </a:xfrm>
            <a:custGeom>
              <a:avLst/>
              <a:gdLst>
                <a:gd name="T0" fmla="*/ 115 w 115"/>
                <a:gd name="T1" fmla="*/ 22 h 97"/>
                <a:gd name="T2" fmla="*/ 0 w 115"/>
                <a:gd name="T3" fmla="*/ 0 h 97"/>
                <a:gd name="T4" fmla="*/ 0 w 115"/>
                <a:gd name="T5" fmla="*/ 22 h 97"/>
                <a:gd name="T6" fmla="*/ 26 w 115"/>
                <a:gd name="T7" fmla="*/ 97 h 97"/>
                <a:gd name="T8" fmla="*/ 64 w 115"/>
                <a:gd name="T9" fmla="*/ 60 h 97"/>
                <a:gd name="T10" fmla="*/ 115 w 115"/>
                <a:gd name="T11" fmla="*/ 44 h 97"/>
                <a:gd name="T12" fmla="*/ 115 w 115"/>
                <a:gd name="T13" fmla="*/ 22 h 97"/>
              </a:gdLst>
              <a:ahLst/>
              <a:cxnLst>
                <a:cxn ang="0">
                  <a:pos x="T0" y="T1"/>
                </a:cxn>
                <a:cxn ang="0">
                  <a:pos x="T2" y="T3"/>
                </a:cxn>
                <a:cxn ang="0">
                  <a:pos x="T4" y="T5"/>
                </a:cxn>
                <a:cxn ang="0">
                  <a:pos x="T6" y="T7"/>
                </a:cxn>
                <a:cxn ang="0">
                  <a:pos x="T8" y="T9"/>
                </a:cxn>
                <a:cxn ang="0">
                  <a:pos x="T10" y="T11"/>
                </a:cxn>
                <a:cxn ang="0">
                  <a:pos x="T12" y="T13"/>
                </a:cxn>
              </a:cxnLst>
              <a:rect l="0" t="0" r="r" b="b"/>
              <a:pathLst>
                <a:path w="115" h="97">
                  <a:moveTo>
                    <a:pt x="115" y="22"/>
                  </a:moveTo>
                  <a:lnTo>
                    <a:pt x="0" y="0"/>
                  </a:lnTo>
                  <a:lnTo>
                    <a:pt x="0" y="22"/>
                  </a:lnTo>
                  <a:lnTo>
                    <a:pt x="26" y="97"/>
                  </a:lnTo>
                  <a:lnTo>
                    <a:pt x="64" y="60"/>
                  </a:lnTo>
                  <a:lnTo>
                    <a:pt x="115" y="44"/>
                  </a:lnTo>
                  <a:lnTo>
                    <a:pt x="115" y="22"/>
                  </a:lnTo>
                  <a:close/>
                </a:path>
              </a:pathLst>
            </a:custGeom>
            <a:solidFill>
              <a:srgbClr val="3747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0" name="iSḻïď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E7A684DC-1EA5-47C8-8A4F-DE3E8F8C8517}"/>
                </a:ext>
              </a:extLst>
            </p:cNvPr>
            <p:cNvSpPr/>
            <p:nvPr/>
          </p:nvSpPr>
          <p:spPr bwMode="auto">
            <a:xfrm>
              <a:off x="4918075" y="1892300"/>
              <a:ext cx="182563" cy="119063"/>
            </a:xfrm>
            <a:custGeom>
              <a:avLst/>
              <a:gdLst>
                <a:gd name="T0" fmla="*/ 0 w 115"/>
                <a:gd name="T1" fmla="*/ 0 h 75"/>
                <a:gd name="T2" fmla="*/ 26 w 115"/>
                <a:gd name="T3" fmla="*/ 75 h 75"/>
                <a:gd name="T4" fmla="*/ 64 w 115"/>
                <a:gd name="T5" fmla="*/ 38 h 75"/>
                <a:gd name="T6" fmla="*/ 115 w 115"/>
                <a:gd name="T7" fmla="*/ 22 h 75"/>
                <a:gd name="T8" fmla="*/ 0 w 115"/>
                <a:gd name="T9" fmla="*/ 0 h 75"/>
              </a:gdLst>
              <a:ahLst/>
              <a:cxnLst>
                <a:cxn ang="0">
                  <a:pos x="T0" y="T1"/>
                </a:cxn>
                <a:cxn ang="0">
                  <a:pos x="T2" y="T3"/>
                </a:cxn>
                <a:cxn ang="0">
                  <a:pos x="T4" y="T5"/>
                </a:cxn>
                <a:cxn ang="0">
                  <a:pos x="T6" y="T7"/>
                </a:cxn>
                <a:cxn ang="0">
                  <a:pos x="T8" y="T9"/>
                </a:cxn>
              </a:cxnLst>
              <a:rect l="0" t="0" r="r" b="b"/>
              <a:pathLst>
                <a:path w="115" h="75">
                  <a:moveTo>
                    <a:pt x="0" y="0"/>
                  </a:moveTo>
                  <a:lnTo>
                    <a:pt x="26" y="75"/>
                  </a:lnTo>
                  <a:lnTo>
                    <a:pt x="64" y="38"/>
                  </a:lnTo>
                  <a:lnTo>
                    <a:pt x="115" y="22"/>
                  </a:lnTo>
                  <a:lnTo>
                    <a:pt x="0" y="0"/>
                  </a:ln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1" name="îṧḻïd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A0FFB9EB-F67D-48B4-A723-3709E986FC48}"/>
                </a:ext>
              </a:extLst>
            </p:cNvPr>
            <p:cNvSpPr/>
            <p:nvPr/>
          </p:nvSpPr>
          <p:spPr bwMode="auto">
            <a:xfrm>
              <a:off x="4959350" y="1952625"/>
              <a:ext cx="60325" cy="93663"/>
            </a:xfrm>
            <a:custGeom>
              <a:avLst/>
              <a:gdLst>
                <a:gd name="T0" fmla="*/ 0 w 38"/>
                <a:gd name="T1" fmla="*/ 37 h 59"/>
                <a:gd name="T2" fmla="*/ 0 w 38"/>
                <a:gd name="T3" fmla="*/ 59 h 59"/>
                <a:gd name="T4" fmla="*/ 38 w 38"/>
                <a:gd name="T5" fmla="*/ 22 h 59"/>
                <a:gd name="T6" fmla="*/ 38 w 38"/>
                <a:gd name="T7" fmla="*/ 0 h 59"/>
                <a:gd name="T8" fmla="*/ 0 w 38"/>
                <a:gd name="T9" fmla="*/ 37 h 59"/>
              </a:gdLst>
              <a:ahLst/>
              <a:cxnLst>
                <a:cxn ang="0">
                  <a:pos x="T0" y="T1"/>
                </a:cxn>
                <a:cxn ang="0">
                  <a:pos x="T2" y="T3"/>
                </a:cxn>
                <a:cxn ang="0">
                  <a:pos x="T4" y="T5"/>
                </a:cxn>
                <a:cxn ang="0">
                  <a:pos x="T6" y="T7"/>
                </a:cxn>
                <a:cxn ang="0">
                  <a:pos x="T8" y="T9"/>
                </a:cxn>
              </a:cxnLst>
              <a:rect l="0" t="0" r="r" b="b"/>
              <a:pathLst>
                <a:path w="38" h="59">
                  <a:moveTo>
                    <a:pt x="0" y="37"/>
                  </a:moveTo>
                  <a:lnTo>
                    <a:pt x="0" y="59"/>
                  </a:lnTo>
                  <a:lnTo>
                    <a:pt x="38" y="22"/>
                  </a:lnTo>
                  <a:lnTo>
                    <a:pt x="38" y="0"/>
                  </a:lnTo>
                  <a:lnTo>
                    <a:pt x="0" y="37"/>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2" name="iṡļiḑ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0F8DE72F-7E53-472E-BE74-C2072059EA66}"/>
                </a:ext>
              </a:extLst>
            </p:cNvPr>
            <p:cNvSpPr/>
            <p:nvPr/>
          </p:nvSpPr>
          <p:spPr bwMode="auto">
            <a:xfrm>
              <a:off x="5019675" y="1927225"/>
              <a:ext cx="80963" cy="60325"/>
            </a:xfrm>
            <a:custGeom>
              <a:avLst/>
              <a:gdLst>
                <a:gd name="T0" fmla="*/ 0 w 51"/>
                <a:gd name="T1" fmla="*/ 16 h 38"/>
                <a:gd name="T2" fmla="*/ 51 w 51"/>
                <a:gd name="T3" fmla="*/ 0 h 38"/>
                <a:gd name="T4" fmla="*/ 51 w 51"/>
                <a:gd name="T5" fmla="*/ 22 h 38"/>
                <a:gd name="T6" fmla="*/ 0 w 51"/>
                <a:gd name="T7" fmla="*/ 38 h 38"/>
                <a:gd name="T8" fmla="*/ 0 w 51"/>
                <a:gd name="T9" fmla="*/ 16 h 38"/>
              </a:gdLst>
              <a:ahLst/>
              <a:cxnLst>
                <a:cxn ang="0">
                  <a:pos x="T0" y="T1"/>
                </a:cxn>
                <a:cxn ang="0">
                  <a:pos x="T2" y="T3"/>
                </a:cxn>
                <a:cxn ang="0">
                  <a:pos x="T4" y="T5"/>
                </a:cxn>
                <a:cxn ang="0">
                  <a:pos x="T6" y="T7"/>
                </a:cxn>
                <a:cxn ang="0">
                  <a:pos x="T8" y="T9"/>
                </a:cxn>
              </a:cxnLst>
              <a:rect l="0" t="0" r="r" b="b"/>
              <a:pathLst>
                <a:path w="51" h="38">
                  <a:moveTo>
                    <a:pt x="0" y="16"/>
                  </a:moveTo>
                  <a:lnTo>
                    <a:pt x="51" y="0"/>
                  </a:lnTo>
                  <a:lnTo>
                    <a:pt x="51" y="22"/>
                  </a:lnTo>
                  <a:lnTo>
                    <a:pt x="0" y="38"/>
                  </a:lnTo>
                  <a:lnTo>
                    <a:pt x="0" y="16"/>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3" name="ísľîḋé">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8C4BAA82-D62A-4D82-8111-E126B2593028}"/>
                </a:ext>
              </a:extLst>
            </p:cNvPr>
            <p:cNvSpPr/>
            <p:nvPr/>
          </p:nvSpPr>
          <p:spPr bwMode="auto">
            <a:xfrm>
              <a:off x="5002213" y="1951038"/>
              <a:ext cx="1065213" cy="641350"/>
            </a:xfrm>
            <a:custGeom>
              <a:avLst/>
              <a:gdLst>
                <a:gd name="T0" fmla="*/ 11 w 421"/>
                <a:gd name="T1" fmla="*/ 1 h 254"/>
                <a:gd name="T2" fmla="*/ 6 w 421"/>
                <a:gd name="T3" fmla="*/ 1 h 254"/>
                <a:gd name="T4" fmla="*/ 0 w 421"/>
                <a:gd name="T5" fmla="*/ 13 h 254"/>
                <a:gd name="T6" fmla="*/ 2 w 421"/>
                <a:gd name="T7" fmla="*/ 17 h 254"/>
                <a:gd name="T8" fmla="*/ 2 w 421"/>
                <a:gd name="T9" fmla="*/ 17 h 254"/>
                <a:gd name="T10" fmla="*/ 411 w 421"/>
                <a:gd name="T11" fmla="*/ 254 h 254"/>
                <a:gd name="T12" fmla="*/ 421 w 421"/>
                <a:gd name="T13" fmla="*/ 237 h 254"/>
                <a:gd name="T14" fmla="*/ 11 w 421"/>
                <a:gd name="T15" fmla="*/ 1 h 2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1" h="254">
                  <a:moveTo>
                    <a:pt x="11" y="1"/>
                  </a:moveTo>
                  <a:cubicBezTo>
                    <a:pt x="10" y="0"/>
                    <a:pt x="8" y="0"/>
                    <a:pt x="6" y="1"/>
                  </a:cubicBezTo>
                  <a:cubicBezTo>
                    <a:pt x="3" y="3"/>
                    <a:pt x="0" y="8"/>
                    <a:pt x="0" y="13"/>
                  </a:cubicBezTo>
                  <a:cubicBezTo>
                    <a:pt x="0" y="15"/>
                    <a:pt x="1" y="16"/>
                    <a:pt x="2" y="17"/>
                  </a:cubicBezTo>
                  <a:cubicBezTo>
                    <a:pt x="2" y="17"/>
                    <a:pt x="2" y="17"/>
                    <a:pt x="2" y="17"/>
                  </a:cubicBezTo>
                  <a:cubicBezTo>
                    <a:pt x="411" y="254"/>
                    <a:pt x="411" y="254"/>
                    <a:pt x="411" y="254"/>
                  </a:cubicBezTo>
                  <a:cubicBezTo>
                    <a:pt x="421" y="237"/>
                    <a:pt x="421" y="237"/>
                    <a:pt x="421" y="237"/>
                  </a:cubicBezTo>
                  <a:cubicBezTo>
                    <a:pt x="11" y="1"/>
                    <a:pt x="11" y="1"/>
                    <a:pt x="11" y="1"/>
                  </a:cubicBezTo>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4" name="îSḷiḑ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E975BBD5-2140-492B-8420-E1FDE1C2497D}"/>
                </a:ext>
              </a:extLst>
            </p:cNvPr>
            <p:cNvSpPr/>
            <p:nvPr/>
          </p:nvSpPr>
          <p:spPr bwMode="auto">
            <a:xfrm>
              <a:off x="5002213" y="1968500"/>
              <a:ext cx="1050925" cy="623888"/>
            </a:xfrm>
            <a:custGeom>
              <a:avLst/>
              <a:gdLst>
                <a:gd name="T0" fmla="*/ 1 w 415"/>
                <a:gd name="T1" fmla="*/ 0 h 247"/>
                <a:gd name="T2" fmla="*/ 0 w 415"/>
                <a:gd name="T3" fmla="*/ 6 h 247"/>
                <a:gd name="T4" fmla="*/ 2 w 415"/>
                <a:gd name="T5" fmla="*/ 10 h 247"/>
                <a:gd name="T6" fmla="*/ 2 w 415"/>
                <a:gd name="T7" fmla="*/ 10 h 247"/>
                <a:gd name="T8" fmla="*/ 411 w 415"/>
                <a:gd name="T9" fmla="*/ 247 h 247"/>
                <a:gd name="T10" fmla="*/ 415 w 415"/>
                <a:gd name="T11" fmla="*/ 239 h 247"/>
                <a:gd name="T12" fmla="*/ 1 w 415"/>
                <a:gd name="T13" fmla="*/ 0 h 247"/>
              </a:gdLst>
              <a:ahLst/>
              <a:cxnLst>
                <a:cxn ang="0">
                  <a:pos x="T0" y="T1"/>
                </a:cxn>
                <a:cxn ang="0">
                  <a:pos x="T2" y="T3"/>
                </a:cxn>
                <a:cxn ang="0">
                  <a:pos x="T4" y="T5"/>
                </a:cxn>
                <a:cxn ang="0">
                  <a:pos x="T6" y="T7"/>
                </a:cxn>
                <a:cxn ang="0">
                  <a:pos x="T8" y="T9"/>
                </a:cxn>
                <a:cxn ang="0">
                  <a:pos x="T10" y="T11"/>
                </a:cxn>
                <a:cxn ang="0">
                  <a:pos x="T12" y="T13"/>
                </a:cxn>
              </a:cxnLst>
              <a:rect l="0" t="0" r="r" b="b"/>
              <a:pathLst>
                <a:path w="415" h="247">
                  <a:moveTo>
                    <a:pt x="1" y="0"/>
                  </a:moveTo>
                  <a:cubicBezTo>
                    <a:pt x="0" y="2"/>
                    <a:pt x="0" y="4"/>
                    <a:pt x="0" y="6"/>
                  </a:cubicBezTo>
                  <a:cubicBezTo>
                    <a:pt x="0" y="8"/>
                    <a:pt x="1" y="9"/>
                    <a:pt x="2" y="10"/>
                  </a:cubicBezTo>
                  <a:cubicBezTo>
                    <a:pt x="2" y="10"/>
                    <a:pt x="2" y="10"/>
                    <a:pt x="2" y="10"/>
                  </a:cubicBezTo>
                  <a:cubicBezTo>
                    <a:pt x="411" y="247"/>
                    <a:pt x="411" y="247"/>
                    <a:pt x="411" y="247"/>
                  </a:cubicBezTo>
                  <a:cubicBezTo>
                    <a:pt x="415" y="239"/>
                    <a:pt x="415" y="239"/>
                    <a:pt x="415" y="239"/>
                  </a:cubicBezTo>
                  <a:cubicBezTo>
                    <a:pt x="1" y="0"/>
                    <a:pt x="1" y="0"/>
                    <a:pt x="1" y="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5" name="ïślídè">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73CD4AF4-1529-405B-874B-E8E00608C7EF}"/>
                </a:ext>
              </a:extLst>
            </p:cNvPr>
            <p:cNvSpPr/>
            <p:nvPr/>
          </p:nvSpPr>
          <p:spPr bwMode="auto">
            <a:xfrm>
              <a:off x="6037263" y="2544763"/>
              <a:ext cx="36513" cy="50800"/>
            </a:xfrm>
            <a:custGeom>
              <a:avLst/>
              <a:gdLst>
                <a:gd name="T0" fmla="*/ 7 w 14"/>
                <a:gd name="T1" fmla="*/ 3 h 20"/>
                <a:gd name="T2" fmla="*/ 0 w 14"/>
                <a:gd name="T3" fmla="*/ 14 h 20"/>
                <a:gd name="T4" fmla="*/ 7 w 14"/>
                <a:gd name="T5" fmla="*/ 18 h 20"/>
                <a:gd name="T6" fmla="*/ 14 w 14"/>
                <a:gd name="T7" fmla="*/ 7 h 20"/>
                <a:gd name="T8" fmla="*/ 7 w 14"/>
                <a:gd name="T9" fmla="*/ 3 h 20"/>
              </a:gdLst>
              <a:ahLst/>
              <a:cxnLst>
                <a:cxn ang="0">
                  <a:pos x="T0" y="T1"/>
                </a:cxn>
                <a:cxn ang="0">
                  <a:pos x="T2" y="T3"/>
                </a:cxn>
                <a:cxn ang="0">
                  <a:pos x="T4" y="T5"/>
                </a:cxn>
                <a:cxn ang="0">
                  <a:pos x="T6" y="T7"/>
                </a:cxn>
                <a:cxn ang="0">
                  <a:pos x="T8" y="T9"/>
                </a:cxn>
              </a:cxnLst>
              <a:rect l="0" t="0" r="r" b="b"/>
              <a:pathLst>
                <a:path w="14" h="20">
                  <a:moveTo>
                    <a:pt x="7" y="3"/>
                  </a:moveTo>
                  <a:cubicBezTo>
                    <a:pt x="3" y="5"/>
                    <a:pt x="0" y="10"/>
                    <a:pt x="0" y="14"/>
                  </a:cubicBezTo>
                  <a:cubicBezTo>
                    <a:pt x="0" y="19"/>
                    <a:pt x="3" y="20"/>
                    <a:pt x="7" y="18"/>
                  </a:cubicBezTo>
                  <a:cubicBezTo>
                    <a:pt x="11" y="16"/>
                    <a:pt x="14" y="11"/>
                    <a:pt x="14" y="7"/>
                  </a:cubicBezTo>
                  <a:cubicBezTo>
                    <a:pt x="14" y="2"/>
                    <a:pt x="11" y="0"/>
                    <a:pt x="7" y="3"/>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6" name="îṩļiď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7E310E1C-ACA5-4FC9-9340-B9BEA04D8625}"/>
                </a:ext>
              </a:extLst>
            </p:cNvPr>
            <p:cNvSpPr/>
            <p:nvPr/>
          </p:nvSpPr>
          <p:spPr bwMode="auto">
            <a:xfrm>
              <a:off x="5797550" y="2430463"/>
              <a:ext cx="157163" cy="174625"/>
            </a:xfrm>
            <a:custGeom>
              <a:avLst/>
              <a:gdLst>
                <a:gd name="T0" fmla="*/ 99 w 99"/>
                <a:gd name="T1" fmla="*/ 69 h 110"/>
                <a:gd name="T2" fmla="*/ 99 w 99"/>
                <a:gd name="T3" fmla="*/ 69 h 110"/>
                <a:gd name="T4" fmla="*/ 99 w 99"/>
                <a:gd name="T5" fmla="*/ 57 h 110"/>
                <a:gd name="T6" fmla="*/ 0 w 99"/>
                <a:gd name="T7" fmla="*/ 0 h 110"/>
                <a:gd name="T8" fmla="*/ 0 w 99"/>
                <a:gd name="T9" fmla="*/ 11 h 110"/>
                <a:gd name="T10" fmla="*/ 5 w 99"/>
                <a:gd name="T11" fmla="*/ 49 h 110"/>
                <a:gd name="T12" fmla="*/ 80 w 99"/>
                <a:gd name="T13" fmla="*/ 110 h 110"/>
                <a:gd name="T14" fmla="*/ 99 w 99"/>
                <a:gd name="T15" fmla="*/ 69 h 110"/>
                <a:gd name="T16" fmla="*/ 99 w 99"/>
                <a:gd name="T17" fmla="*/ 6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110">
                  <a:moveTo>
                    <a:pt x="99" y="69"/>
                  </a:moveTo>
                  <a:lnTo>
                    <a:pt x="99" y="69"/>
                  </a:lnTo>
                  <a:lnTo>
                    <a:pt x="99" y="57"/>
                  </a:lnTo>
                  <a:lnTo>
                    <a:pt x="0" y="0"/>
                  </a:lnTo>
                  <a:lnTo>
                    <a:pt x="0" y="11"/>
                  </a:lnTo>
                  <a:lnTo>
                    <a:pt x="5" y="49"/>
                  </a:lnTo>
                  <a:lnTo>
                    <a:pt x="80" y="110"/>
                  </a:lnTo>
                  <a:lnTo>
                    <a:pt x="99" y="69"/>
                  </a:lnTo>
                  <a:lnTo>
                    <a:pt x="99" y="69"/>
                  </a:lnTo>
                  <a:close/>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7" name="iSlîḑè">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3E9F51AE-E0A5-4590-8D7D-5275C65816C2}"/>
                </a:ext>
              </a:extLst>
            </p:cNvPr>
            <p:cNvSpPr/>
            <p:nvPr/>
          </p:nvSpPr>
          <p:spPr bwMode="auto">
            <a:xfrm>
              <a:off x="5797550" y="2430463"/>
              <a:ext cx="157163" cy="174625"/>
            </a:xfrm>
            <a:custGeom>
              <a:avLst/>
              <a:gdLst>
                <a:gd name="T0" fmla="*/ 99 w 99"/>
                <a:gd name="T1" fmla="*/ 69 h 110"/>
                <a:gd name="T2" fmla="*/ 99 w 99"/>
                <a:gd name="T3" fmla="*/ 69 h 110"/>
                <a:gd name="T4" fmla="*/ 99 w 99"/>
                <a:gd name="T5" fmla="*/ 57 h 110"/>
                <a:gd name="T6" fmla="*/ 0 w 99"/>
                <a:gd name="T7" fmla="*/ 0 h 110"/>
                <a:gd name="T8" fmla="*/ 0 w 99"/>
                <a:gd name="T9" fmla="*/ 11 h 110"/>
                <a:gd name="T10" fmla="*/ 5 w 99"/>
                <a:gd name="T11" fmla="*/ 49 h 110"/>
                <a:gd name="T12" fmla="*/ 80 w 99"/>
                <a:gd name="T13" fmla="*/ 110 h 110"/>
                <a:gd name="T14" fmla="*/ 99 w 99"/>
                <a:gd name="T15" fmla="*/ 69 h 110"/>
                <a:gd name="T16" fmla="*/ 99 w 99"/>
                <a:gd name="T17" fmla="*/ 6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110">
                  <a:moveTo>
                    <a:pt x="99" y="69"/>
                  </a:moveTo>
                  <a:lnTo>
                    <a:pt x="99" y="69"/>
                  </a:lnTo>
                  <a:lnTo>
                    <a:pt x="99" y="57"/>
                  </a:lnTo>
                  <a:lnTo>
                    <a:pt x="0" y="0"/>
                  </a:lnTo>
                  <a:lnTo>
                    <a:pt x="0" y="11"/>
                  </a:lnTo>
                  <a:lnTo>
                    <a:pt x="5" y="49"/>
                  </a:lnTo>
                  <a:lnTo>
                    <a:pt x="80" y="110"/>
                  </a:lnTo>
                  <a:lnTo>
                    <a:pt x="99" y="69"/>
                  </a:lnTo>
                  <a:lnTo>
                    <a:pt x="99" y="69"/>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chemeClr val="accent1">
                    <a:lumMod val="75000"/>
                    <a:lumOff val="25000"/>
                  </a:schemeClr>
                </a:solidFill>
              </a:endParaRPr>
            </a:p>
          </p:txBody>
        </p:sp>
        <p:sp>
          <p:nvSpPr>
            <p:cNvPr id="38" name="iṡľiḑé">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E4DE5C83-61B6-43A6-97CA-38D37BE3E146}"/>
                </a:ext>
              </a:extLst>
            </p:cNvPr>
            <p:cNvSpPr/>
            <p:nvPr/>
          </p:nvSpPr>
          <p:spPr bwMode="auto">
            <a:xfrm>
              <a:off x="5797550" y="2430463"/>
              <a:ext cx="7938" cy="77788"/>
            </a:xfrm>
            <a:custGeom>
              <a:avLst/>
              <a:gdLst>
                <a:gd name="T0" fmla="*/ 0 w 5"/>
                <a:gd name="T1" fmla="*/ 0 h 49"/>
                <a:gd name="T2" fmla="*/ 0 w 5"/>
                <a:gd name="T3" fmla="*/ 11 h 49"/>
                <a:gd name="T4" fmla="*/ 5 w 5"/>
                <a:gd name="T5" fmla="*/ 49 h 49"/>
                <a:gd name="T6" fmla="*/ 5 w 5"/>
                <a:gd name="T7" fmla="*/ 37 h 49"/>
                <a:gd name="T8" fmla="*/ 0 w 5"/>
                <a:gd name="T9" fmla="*/ 0 h 49"/>
              </a:gdLst>
              <a:ahLst/>
              <a:cxnLst>
                <a:cxn ang="0">
                  <a:pos x="T0" y="T1"/>
                </a:cxn>
                <a:cxn ang="0">
                  <a:pos x="T2" y="T3"/>
                </a:cxn>
                <a:cxn ang="0">
                  <a:pos x="T4" y="T5"/>
                </a:cxn>
                <a:cxn ang="0">
                  <a:pos x="T6" y="T7"/>
                </a:cxn>
                <a:cxn ang="0">
                  <a:pos x="T8" y="T9"/>
                </a:cxn>
              </a:cxnLst>
              <a:rect l="0" t="0" r="r" b="b"/>
              <a:pathLst>
                <a:path w="5" h="49">
                  <a:moveTo>
                    <a:pt x="0" y="0"/>
                  </a:moveTo>
                  <a:lnTo>
                    <a:pt x="0" y="11"/>
                  </a:lnTo>
                  <a:lnTo>
                    <a:pt x="5" y="49"/>
                  </a:lnTo>
                  <a:lnTo>
                    <a:pt x="5" y="37"/>
                  </a:lnTo>
                  <a:lnTo>
                    <a:pt x="0" y="0"/>
                  </a:lnTo>
                  <a:close/>
                </a:path>
              </a:pathLst>
            </a:custGeom>
            <a:solidFill>
              <a:srgbClr val="1FB2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9" name="îṥḷíḋ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A2B1F232-33B5-4D55-8C6F-257BDFC4491C}"/>
                </a:ext>
              </a:extLst>
            </p:cNvPr>
            <p:cNvSpPr/>
            <p:nvPr/>
          </p:nvSpPr>
          <p:spPr bwMode="auto">
            <a:xfrm>
              <a:off x="5797550" y="2430463"/>
              <a:ext cx="7938" cy="77788"/>
            </a:xfrm>
            <a:custGeom>
              <a:avLst/>
              <a:gdLst>
                <a:gd name="T0" fmla="*/ 0 w 5"/>
                <a:gd name="T1" fmla="*/ 0 h 49"/>
                <a:gd name="T2" fmla="*/ 0 w 5"/>
                <a:gd name="T3" fmla="*/ 11 h 49"/>
                <a:gd name="T4" fmla="*/ 5 w 5"/>
                <a:gd name="T5" fmla="*/ 49 h 49"/>
                <a:gd name="T6" fmla="*/ 5 w 5"/>
                <a:gd name="T7" fmla="*/ 37 h 49"/>
                <a:gd name="T8" fmla="*/ 0 w 5"/>
                <a:gd name="T9" fmla="*/ 0 h 49"/>
              </a:gdLst>
              <a:ahLst/>
              <a:cxnLst>
                <a:cxn ang="0">
                  <a:pos x="T0" y="T1"/>
                </a:cxn>
                <a:cxn ang="0">
                  <a:pos x="T2" y="T3"/>
                </a:cxn>
                <a:cxn ang="0">
                  <a:pos x="T4" y="T5"/>
                </a:cxn>
                <a:cxn ang="0">
                  <a:pos x="T6" y="T7"/>
                </a:cxn>
                <a:cxn ang="0">
                  <a:pos x="T8" y="T9"/>
                </a:cxn>
              </a:cxnLst>
              <a:rect l="0" t="0" r="r" b="b"/>
              <a:pathLst>
                <a:path w="5" h="49">
                  <a:moveTo>
                    <a:pt x="0" y="0"/>
                  </a:moveTo>
                  <a:lnTo>
                    <a:pt x="0" y="11"/>
                  </a:lnTo>
                  <a:lnTo>
                    <a:pt x="5" y="49"/>
                  </a:lnTo>
                  <a:lnTo>
                    <a:pt x="5" y="3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 name="iṡliďé">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269591E8-0A5C-4958-A842-5AC13027AD5B}"/>
                </a:ext>
              </a:extLst>
            </p:cNvPr>
            <p:cNvSpPr/>
            <p:nvPr/>
          </p:nvSpPr>
          <p:spPr bwMode="auto">
            <a:xfrm>
              <a:off x="5954713" y="2540000"/>
              <a:ext cx="1588" cy="1588"/>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 name="ïŝliḍ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0D270333-69C1-4B5C-BF62-D6E987FC77C6}"/>
                </a:ext>
              </a:extLst>
            </p:cNvPr>
            <p:cNvSpPr/>
            <p:nvPr/>
          </p:nvSpPr>
          <p:spPr bwMode="auto">
            <a:xfrm>
              <a:off x="5954713" y="2540000"/>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 name="í$líḑè">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78D992C3-3801-40EA-978F-E5187246E0CD}"/>
                </a:ext>
              </a:extLst>
            </p:cNvPr>
            <p:cNvSpPr/>
            <p:nvPr/>
          </p:nvSpPr>
          <p:spPr bwMode="auto">
            <a:xfrm>
              <a:off x="5924550" y="2520950"/>
              <a:ext cx="30163" cy="84138"/>
            </a:xfrm>
            <a:custGeom>
              <a:avLst/>
              <a:gdLst>
                <a:gd name="T0" fmla="*/ 19 w 19"/>
                <a:gd name="T1" fmla="*/ 0 h 53"/>
                <a:gd name="T2" fmla="*/ 0 w 19"/>
                <a:gd name="T3" fmla="*/ 40 h 53"/>
                <a:gd name="T4" fmla="*/ 0 w 19"/>
                <a:gd name="T5" fmla="*/ 53 h 53"/>
                <a:gd name="T6" fmla="*/ 19 w 19"/>
                <a:gd name="T7" fmla="*/ 12 h 53"/>
                <a:gd name="T8" fmla="*/ 19 w 19"/>
                <a:gd name="T9" fmla="*/ 12 h 53"/>
                <a:gd name="T10" fmla="*/ 19 w 19"/>
                <a:gd name="T11" fmla="*/ 12 h 53"/>
                <a:gd name="T12" fmla="*/ 19 w 19"/>
                <a:gd name="T13" fmla="*/ 12 h 53"/>
                <a:gd name="T14" fmla="*/ 19 w 19"/>
                <a:gd name="T15" fmla="*/ 0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53">
                  <a:moveTo>
                    <a:pt x="19" y="0"/>
                  </a:moveTo>
                  <a:lnTo>
                    <a:pt x="0" y="40"/>
                  </a:lnTo>
                  <a:lnTo>
                    <a:pt x="0" y="53"/>
                  </a:lnTo>
                  <a:lnTo>
                    <a:pt x="19" y="12"/>
                  </a:lnTo>
                  <a:lnTo>
                    <a:pt x="19" y="12"/>
                  </a:lnTo>
                  <a:lnTo>
                    <a:pt x="19" y="12"/>
                  </a:lnTo>
                  <a:lnTo>
                    <a:pt x="19" y="12"/>
                  </a:lnTo>
                  <a:lnTo>
                    <a:pt x="19" y="0"/>
                  </a:lnTo>
                  <a:close/>
                </a:path>
              </a:pathLst>
            </a:custGeom>
            <a:solidFill>
              <a:srgbClr val="1FB2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3" name="işľíd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6A8B77E0-727B-4C76-BB0C-913E66150A4D}"/>
                </a:ext>
              </a:extLst>
            </p:cNvPr>
            <p:cNvSpPr/>
            <p:nvPr/>
          </p:nvSpPr>
          <p:spPr bwMode="auto">
            <a:xfrm>
              <a:off x="5924550" y="2520950"/>
              <a:ext cx="30163" cy="84138"/>
            </a:xfrm>
            <a:custGeom>
              <a:avLst/>
              <a:gdLst>
                <a:gd name="T0" fmla="*/ 19 w 19"/>
                <a:gd name="T1" fmla="*/ 0 h 53"/>
                <a:gd name="T2" fmla="*/ 0 w 19"/>
                <a:gd name="T3" fmla="*/ 40 h 53"/>
                <a:gd name="T4" fmla="*/ 0 w 19"/>
                <a:gd name="T5" fmla="*/ 53 h 53"/>
                <a:gd name="T6" fmla="*/ 19 w 19"/>
                <a:gd name="T7" fmla="*/ 12 h 53"/>
                <a:gd name="T8" fmla="*/ 19 w 19"/>
                <a:gd name="T9" fmla="*/ 12 h 53"/>
                <a:gd name="T10" fmla="*/ 19 w 19"/>
                <a:gd name="T11" fmla="*/ 12 h 53"/>
                <a:gd name="T12" fmla="*/ 19 w 19"/>
                <a:gd name="T13" fmla="*/ 12 h 53"/>
                <a:gd name="T14" fmla="*/ 19 w 19"/>
                <a:gd name="T15" fmla="*/ 0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53">
                  <a:moveTo>
                    <a:pt x="19" y="0"/>
                  </a:moveTo>
                  <a:lnTo>
                    <a:pt x="0" y="40"/>
                  </a:lnTo>
                  <a:lnTo>
                    <a:pt x="0" y="53"/>
                  </a:lnTo>
                  <a:lnTo>
                    <a:pt x="19" y="12"/>
                  </a:lnTo>
                  <a:lnTo>
                    <a:pt x="19" y="12"/>
                  </a:lnTo>
                  <a:lnTo>
                    <a:pt x="19" y="12"/>
                  </a:lnTo>
                  <a:lnTo>
                    <a:pt x="19" y="12"/>
                  </a:lnTo>
                  <a:lnTo>
                    <a:pt x="1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4" name="íṧḷîḓé">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E4B1AA2A-14A7-4AE2-A2A2-7F41B93E3BE2}"/>
                </a:ext>
              </a:extLst>
            </p:cNvPr>
            <p:cNvSpPr/>
            <p:nvPr/>
          </p:nvSpPr>
          <p:spPr bwMode="auto">
            <a:xfrm>
              <a:off x="5805488" y="2489200"/>
              <a:ext cx="119063" cy="115888"/>
            </a:xfrm>
            <a:custGeom>
              <a:avLst/>
              <a:gdLst>
                <a:gd name="T0" fmla="*/ 0 w 75"/>
                <a:gd name="T1" fmla="*/ 0 h 73"/>
                <a:gd name="T2" fmla="*/ 0 w 75"/>
                <a:gd name="T3" fmla="*/ 0 h 73"/>
                <a:gd name="T4" fmla="*/ 0 w 75"/>
                <a:gd name="T5" fmla="*/ 12 h 73"/>
                <a:gd name="T6" fmla="*/ 75 w 75"/>
                <a:gd name="T7" fmla="*/ 73 h 73"/>
                <a:gd name="T8" fmla="*/ 75 w 75"/>
                <a:gd name="T9" fmla="*/ 60 h 73"/>
                <a:gd name="T10" fmla="*/ 0 w 75"/>
                <a:gd name="T11" fmla="*/ 0 h 73"/>
              </a:gdLst>
              <a:ahLst/>
              <a:cxnLst>
                <a:cxn ang="0">
                  <a:pos x="T0" y="T1"/>
                </a:cxn>
                <a:cxn ang="0">
                  <a:pos x="T2" y="T3"/>
                </a:cxn>
                <a:cxn ang="0">
                  <a:pos x="T4" y="T5"/>
                </a:cxn>
                <a:cxn ang="0">
                  <a:pos x="T6" y="T7"/>
                </a:cxn>
                <a:cxn ang="0">
                  <a:pos x="T8" y="T9"/>
                </a:cxn>
                <a:cxn ang="0">
                  <a:pos x="T10" y="T11"/>
                </a:cxn>
              </a:cxnLst>
              <a:rect l="0" t="0" r="r" b="b"/>
              <a:pathLst>
                <a:path w="75" h="73">
                  <a:moveTo>
                    <a:pt x="0" y="0"/>
                  </a:moveTo>
                  <a:lnTo>
                    <a:pt x="0" y="0"/>
                  </a:lnTo>
                  <a:lnTo>
                    <a:pt x="0" y="12"/>
                  </a:lnTo>
                  <a:lnTo>
                    <a:pt x="75" y="73"/>
                  </a:lnTo>
                  <a:lnTo>
                    <a:pt x="75" y="60"/>
                  </a:lnTo>
                  <a:lnTo>
                    <a:pt x="0" y="0"/>
                  </a:lnTo>
                  <a:close/>
                </a:path>
              </a:pathLst>
            </a:custGeom>
            <a:solidFill>
              <a:srgbClr val="23C7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5" name="ï$lîdé">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8CCFAADA-015A-4DB7-9DA8-0467A47D5BD0}"/>
                </a:ext>
              </a:extLst>
            </p:cNvPr>
            <p:cNvSpPr/>
            <p:nvPr/>
          </p:nvSpPr>
          <p:spPr bwMode="auto">
            <a:xfrm>
              <a:off x="5805488" y="2489200"/>
              <a:ext cx="119063" cy="115888"/>
            </a:xfrm>
            <a:custGeom>
              <a:avLst/>
              <a:gdLst>
                <a:gd name="T0" fmla="*/ 0 w 75"/>
                <a:gd name="T1" fmla="*/ 0 h 73"/>
                <a:gd name="T2" fmla="*/ 0 w 75"/>
                <a:gd name="T3" fmla="*/ 0 h 73"/>
                <a:gd name="T4" fmla="*/ 0 w 75"/>
                <a:gd name="T5" fmla="*/ 12 h 73"/>
                <a:gd name="T6" fmla="*/ 75 w 75"/>
                <a:gd name="T7" fmla="*/ 73 h 73"/>
                <a:gd name="T8" fmla="*/ 75 w 75"/>
                <a:gd name="T9" fmla="*/ 60 h 73"/>
                <a:gd name="T10" fmla="*/ 0 w 75"/>
                <a:gd name="T11" fmla="*/ 0 h 73"/>
              </a:gdLst>
              <a:ahLst/>
              <a:cxnLst>
                <a:cxn ang="0">
                  <a:pos x="T0" y="T1"/>
                </a:cxn>
                <a:cxn ang="0">
                  <a:pos x="T2" y="T3"/>
                </a:cxn>
                <a:cxn ang="0">
                  <a:pos x="T4" y="T5"/>
                </a:cxn>
                <a:cxn ang="0">
                  <a:pos x="T6" y="T7"/>
                </a:cxn>
                <a:cxn ang="0">
                  <a:pos x="T8" y="T9"/>
                </a:cxn>
                <a:cxn ang="0">
                  <a:pos x="T10" y="T11"/>
                </a:cxn>
              </a:cxnLst>
              <a:rect l="0" t="0" r="r" b="b"/>
              <a:pathLst>
                <a:path w="75" h="73">
                  <a:moveTo>
                    <a:pt x="0" y="0"/>
                  </a:moveTo>
                  <a:lnTo>
                    <a:pt x="0" y="0"/>
                  </a:lnTo>
                  <a:lnTo>
                    <a:pt x="0" y="12"/>
                  </a:lnTo>
                  <a:lnTo>
                    <a:pt x="75" y="73"/>
                  </a:lnTo>
                  <a:lnTo>
                    <a:pt x="75" y="6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6" name="ïS1îḓ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57621EF5-B451-4A0D-B1D9-7315C7BAA54A}"/>
                </a:ext>
              </a:extLst>
            </p:cNvPr>
            <p:cNvSpPr/>
            <p:nvPr/>
          </p:nvSpPr>
          <p:spPr bwMode="auto">
            <a:xfrm>
              <a:off x="4254500" y="2973388"/>
              <a:ext cx="468313" cy="655638"/>
            </a:xfrm>
            <a:custGeom>
              <a:avLst/>
              <a:gdLst>
                <a:gd name="T0" fmla="*/ 17 w 185"/>
                <a:gd name="T1" fmla="*/ 67 h 259"/>
                <a:gd name="T2" fmla="*/ 122 w 185"/>
                <a:gd name="T3" fmla="*/ 6 h 259"/>
                <a:gd name="T4" fmla="*/ 155 w 185"/>
                <a:gd name="T5" fmla="*/ 6 h 259"/>
                <a:gd name="T6" fmla="*/ 169 w 185"/>
                <a:gd name="T7" fmla="*/ 13 h 259"/>
                <a:gd name="T8" fmla="*/ 185 w 185"/>
                <a:gd name="T9" fmla="*/ 42 h 259"/>
                <a:gd name="T10" fmla="*/ 185 w 185"/>
                <a:gd name="T11" fmla="*/ 164 h 259"/>
                <a:gd name="T12" fmla="*/ 169 w 185"/>
                <a:gd name="T13" fmla="*/ 192 h 259"/>
                <a:gd name="T14" fmla="*/ 63 w 185"/>
                <a:gd name="T15" fmla="*/ 254 h 259"/>
                <a:gd name="T16" fmla="*/ 30 w 185"/>
                <a:gd name="T17" fmla="*/ 254 h 259"/>
                <a:gd name="T18" fmla="*/ 17 w 185"/>
                <a:gd name="T19" fmla="*/ 246 h 259"/>
                <a:gd name="T20" fmla="*/ 0 w 185"/>
                <a:gd name="T21" fmla="*/ 217 h 259"/>
                <a:gd name="T22" fmla="*/ 0 w 185"/>
                <a:gd name="T23" fmla="*/ 95 h 259"/>
                <a:gd name="T24" fmla="*/ 17 w 185"/>
                <a:gd name="T25" fmla="*/ 6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5" h="259">
                  <a:moveTo>
                    <a:pt x="17" y="67"/>
                  </a:moveTo>
                  <a:cubicBezTo>
                    <a:pt x="122" y="6"/>
                    <a:pt x="122" y="6"/>
                    <a:pt x="122" y="6"/>
                  </a:cubicBezTo>
                  <a:cubicBezTo>
                    <a:pt x="132" y="0"/>
                    <a:pt x="146" y="0"/>
                    <a:pt x="155" y="6"/>
                  </a:cubicBezTo>
                  <a:cubicBezTo>
                    <a:pt x="169" y="13"/>
                    <a:pt x="169" y="13"/>
                    <a:pt x="169" y="13"/>
                  </a:cubicBezTo>
                  <a:cubicBezTo>
                    <a:pt x="178" y="19"/>
                    <a:pt x="185" y="31"/>
                    <a:pt x="185" y="42"/>
                  </a:cubicBezTo>
                  <a:cubicBezTo>
                    <a:pt x="185" y="164"/>
                    <a:pt x="185" y="164"/>
                    <a:pt x="185" y="164"/>
                  </a:cubicBezTo>
                  <a:cubicBezTo>
                    <a:pt x="185" y="174"/>
                    <a:pt x="178" y="187"/>
                    <a:pt x="169" y="192"/>
                  </a:cubicBezTo>
                  <a:cubicBezTo>
                    <a:pt x="63" y="254"/>
                    <a:pt x="63" y="254"/>
                    <a:pt x="63" y="254"/>
                  </a:cubicBezTo>
                  <a:cubicBezTo>
                    <a:pt x="54" y="259"/>
                    <a:pt x="39" y="259"/>
                    <a:pt x="30" y="254"/>
                  </a:cubicBezTo>
                  <a:cubicBezTo>
                    <a:pt x="17" y="246"/>
                    <a:pt x="17" y="246"/>
                    <a:pt x="17" y="246"/>
                  </a:cubicBezTo>
                  <a:cubicBezTo>
                    <a:pt x="8" y="241"/>
                    <a:pt x="0" y="228"/>
                    <a:pt x="0" y="217"/>
                  </a:cubicBezTo>
                  <a:cubicBezTo>
                    <a:pt x="0" y="95"/>
                    <a:pt x="0" y="95"/>
                    <a:pt x="0" y="95"/>
                  </a:cubicBezTo>
                  <a:cubicBezTo>
                    <a:pt x="0" y="85"/>
                    <a:pt x="8" y="72"/>
                    <a:pt x="17" y="67"/>
                  </a:cubicBezTo>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7" name="iSḻíḓè">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138DD108-EE17-47DE-B830-74ADADDD986C}"/>
                </a:ext>
              </a:extLst>
            </p:cNvPr>
            <p:cNvSpPr/>
            <p:nvPr/>
          </p:nvSpPr>
          <p:spPr bwMode="auto">
            <a:xfrm>
              <a:off x="4370388" y="3041650"/>
              <a:ext cx="352425" cy="587375"/>
            </a:xfrm>
            <a:custGeom>
              <a:avLst/>
              <a:gdLst>
                <a:gd name="T0" fmla="*/ 139 w 139"/>
                <a:gd name="T1" fmla="*/ 15 h 232"/>
                <a:gd name="T2" fmla="*/ 123 w 139"/>
                <a:gd name="T3" fmla="*/ 5 h 232"/>
                <a:gd name="T4" fmla="*/ 17 w 139"/>
                <a:gd name="T5" fmla="*/ 66 h 232"/>
                <a:gd name="T6" fmla="*/ 0 w 139"/>
                <a:gd name="T7" fmla="*/ 95 h 232"/>
                <a:gd name="T8" fmla="*/ 0 w 139"/>
                <a:gd name="T9" fmla="*/ 217 h 232"/>
                <a:gd name="T10" fmla="*/ 17 w 139"/>
                <a:gd name="T11" fmla="*/ 227 h 232"/>
                <a:gd name="T12" fmla="*/ 123 w 139"/>
                <a:gd name="T13" fmla="*/ 165 h 232"/>
                <a:gd name="T14" fmla="*/ 139 w 139"/>
                <a:gd name="T15" fmla="*/ 137 h 232"/>
                <a:gd name="T16" fmla="*/ 139 w 139"/>
                <a:gd name="T17" fmla="*/ 15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232">
                  <a:moveTo>
                    <a:pt x="139" y="15"/>
                  </a:moveTo>
                  <a:cubicBezTo>
                    <a:pt x="139" y="4"/>
                    <a:pt x="132" y="0"/>
                    <a:pt x="123" y="5"/>
                  </a:cubicBezTo>
                  <a:cubicBezTo>
                    <a:pt x="17" y="66"/>
                    <a:pt x="17" y="66"/>
                    <a:pt x="17" y="66"/>
                  </a:cubicBezTo>
                  <a:cubicBezTo>
                    <a:pt x="8" y="72"/>
                    <a:pt x="0" y="84"/>
                    <a:pt x="0" y="95"/>
                  </a:cubicBezTo>
                  <a:cubicBezTo>
                    <a:pt x="0" y="217"/>
                    <a:pt x="0" y="217"/>
                    <a:pt x="0" y="217"/>
                  </a:cubicBezTo>
                  <a:cubicBezTo>
                    <a:pt x="0" y="228"/>
                    <a:pt x="8" y="232"/>
                    <a:pt x="17" y="227"/>
                  </a:cubicBezTo>
                  <a:cubicBezTo>
                    <a:pt x="123" y="165"/>
                    <a:pt x="123" y="165"/>
                    <a:pt x="123" y="165"/>
                  </a:cubicBezTo>
                  <a:cubicBezTo>
                    <a:pt x="132" y="160"/>
                    <a:pt x="139" y="147"/>
                    <a:pt x="139" y="137"/>
                  </a:cubicBezTo>
                  <a:cubicBezTo>
                    <a:pt x="139" y="15"/>
                    <a:pt x="139" y="15"/>
                    <a:pt x="139" y="15"/>
                  </a:cubicBezTo>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8" name="í$1íḋè">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F641C723-C278-4D42-A51D-7BD706E2CB7F}"/>
                </a:ext>
              </a:extLst>
            </p:cNvPr>
            <p:cNvSpPr/>
            <p:nvPr/>
          </p:nvSpPr>
          <p:spPr bwMode="auto">
            <a:xfrm>
              <a:off x="4254500" y="3522663"/>
              <a:ext cx="17463" cy="50800"/>
            </a:xfrm>
            <a:custGeom>
              <a:avLst/>
              <a:gdLst>
                <a:gd name="T0" fmla="*/ 0 w 7"/>
                <a:gd name="T1" fmla="*/ 0 h 20"/>
                <a:gd name="T2" fmla="*/ 0 w 7"/>
                <a:gd name="T3" fmla="*/ 0 h 20"/>
                <a:gd name="T4" fmla="*/ 7 w 7"/>
                <a:gd name="T5" fmla="*/ 20 h 20"/>
                <a:gd name="T6" fmla="*/ 7 w 7"/>
                <a:gd name="T7" fmla="*/ 20 h 20"/>
                <a:gd name="T8" fmla="*/ 0 w 7"/>
                <a:gd name="T9" fmla="*/ 0 h 20"/>
              </a:gdLst>
              <a:ahLst/>
              <a:cxnLst>
                <a:cxn ang="0">
                  <a:pos x="T0" y="T1"/>
                </a:cxn>
                <a:cxn ang="0">
                  <a:pos x="T2" y="T3"/>
                </a:cxn>
                <a:cxn ang="0">
                  <a:pos x="T4" y="T5"/>
                </a:cxn>
                <a:cxn ang="0">
                  <a:pos x="T6" y="T7"/>
                </a:cxn>
                <a:cxn ang="0">
                  <a:pos x="T8" y="T9"/>
                </a:cxn>
              </a:cxnLst>
              <a:rect l="0" t="0" r="r" b="b"/>
              <a:pathLst>
                <a:path w="7" h="20">
                  <a:moveTo>
                    <a:pt x="0" y="0"/>
                  </a:moveTo>
                  <a:cubicBezTo>
                    <a:pt x="0" y="0"/>
                    <a:pt x="0" y="0"/>
                    <a:pt x="0" y="0"/>
                  </a:cubicBezTo>
                  <a:cubicBezTo>
                    <a:pt x="0" y="7"/>
                    <a:pt x="3" y="14"/>
                    <a:pt x="7" y="20"/>
                  </a:cubicBezTo>
                  <a:cubicBezTo>
                    <a:pt x="7" y="20"/>
                    <a:pt x="7" y="20"/>
                    <a:pt x="7" y="20"/>
                  </a:cubicBezTo>
                  <a:cubicBezTo>
                    <a:pt x="3" y="14"/>
                    <a:pt x="0" y="7"/>
                    <a:pt x="0"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9" name="îṧliḓ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6DB83D18-8C12-42EE-A6FB-BB93B9230256}"/>
                </a:ext>
              </a:extLst>
            </p:cNvPr>
            <p:cNvSpPr/>
            <p:nvPr/>
          </p:nvSpPr>
          <p:spPr bwMode="auto">
            <a:xfrm>
              <a:off x="4271963" y="3573463"/>
              <a:ext cx="98425" cy="50800"/>
            </a:xfrm>
            <a:custGeom>
              <a:avLst/>
              <a:gdLst>
                <a:gd name="T0" fmla="*/ 0 w 39"/>
                <a:gd name="T1" fmla="*/ 0 h 20"/>
                <a:gd name="T2" fmla="*/ 0 w 39"/>
                <a:gd name="T3" fmla="*/ 0 h 20"/>
                <a:gd name="T4" fmla="*/ 10 w 39"/>
                <a:gd name="T5" fmla="*/ 9 h 20"/>
                <a:gd name="T6" fmla="*/ 23 w 39"/>
                <a:gd name="T7" fmla="*/ 17 h 20"/>
                <a:gd name="T8" fmla="*/ 39 w 39"/>
                <a:gd name="T9" fmla="*/ 20 h 20"/>
                <a:gd name="T10" fmla="*/ 23 w 39"/>
                <a:gd name="T11" fmla="*/ 17 h 20"/>
                <a:gd name="T12" fmla="*/ 10 w 39"/>
                <a:gd name="T13" fmla="*/ 9 h 20"/>
                <a:gd name="T14" fmla="*/ 0 w 39"/>
                <a:gd name="T15" fmla="*/ 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20">
                  <a:moveTo>
                    <a:pt x="0" y="0"/>
                  </a:moveTo>
                  <a:cubicBezTo>
                    <a:pt x="0" y="0"/>
                    <a:pt x="0" y="0"/>
                    <a:pt x="0" y="0"/>
                  </a:cubicBezTo>
                  <a:cubicBezTo>
                    <a:pt x="3" y="4"/>
                    <a:pt x="6" y="7"/>
                    <a:pt x="10" y="9"/>
                  </a:cubicBezTo>
                  <a:cubicBezTo>
                    <a:pt x="23" y="17"/>
                    <a:pt x="23" y="17"/>
                    <a:pt x="23" y="17"/>
                  </a:cubicBezTo>
                  <a:cubicBezTo>
                    <a:pt x="27" y="19"/>
                    <a:pt x="33" y="20"/>
                    <a:pt x="39" y="20"/>
                  </a:cubicBezTo>
                  <a:cubicBezTo>
                    <a:pt x="33" y="20"/>
                    <a:pt x="27" y="19"/>
                    <a:pt x="23" y="17"/>
                  </a:cubicBezTo>
                  <a:cubicBezTo>
                    <a:pt x="10" y="9"/>
                    <a:pt x="10" y="9"/>
                    <a:pt x="10" y="9"/>
                  </a:cubicBezTo>
                  <a:cubicBezTo>
                    <a:pt x="6" y="7"/>
                    <a:pt x="3" y="4"/>
                    <a:pt x="0" y="0"/>
                  </a:cubicBezTo>
                </a:path>
              </a:pathLst>
            </a:custGeom>
            <a:solidFill>
              <a:srgbClr val="DCDC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0" name="ïsḻïḋè">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22980E3A-981C-4E5D-974B-A31A6BE4EBFA}"/>
                </a:ext>
              </a:extLst>
            </p:cNvPr>
            <p:cNvSpPr/>
            <p:nvPr/>
          </p:nvSpPr>
          <p:spPr bwMode="auto">
            <a:xfrm>
              <a:off x="4254500" y="3173413"/>
              <a:ext cx="152400" cy="450850"/>
            </a:xfrm>
            <a:custGeom>
              <a:avLst/>
              <a:gdLst>
                <a:gd name="T0" fmla="*/ 5 w 60"/>
                <a:gd name="T1" fmla="*/ 0 h 178"/>
                <a:gd name="T2" fmla="*/ 0 w 60"/>
                <a:gd name="T3" fmla="*/ 16 h 178"/>
                <a:gd name="T4" fmla="*/ 0 w 60"/>
                <a:gd name="T5" fmla="*/ 138 h 178"/>
                <a:gd name="T6" fmla="*/ 7 w 60"/>
                <a:gd name="T7" fmla="*/ 158 h 178"/>
                <a:gd name="T8" fmla="*/ 17 w 60"/>
                <a:gd name="T9" fmla="*/ 167 h 178"/>
                <a:gd name="T10" fmla="*/ 30 w 60"/>
                <a:gd name="T11" fmla="*/ 175 h 178"/>
                <a:gd name="T12" fmla="*/ 46 w 60"/>
                <a:gd name="T13" fmla="*/ 178 h 178"/>
                <a:gd name="T14" fmla="*/ 46 w 60"/>
                <a:gd name="T15" fmla="*/ 178 h 178"/>
                <a:gd name="T16" fmla="*/ 60 w 60"/>
                <a:gd name="T17" fmla="*/ 176 h 178"/>
                <a:gd name="T18" fmla="*/ 55 w 60"/>
                <a:gd name="T19" fmla="*/ 177 h 178"/>
                <a:gd name="T20" fmla="*/ 46 w 60"/>
                <a:gd name="T21" fmla="*/ 165 h 178"/>
                <a:gd name="T22" fmla="*/ 46 w 60"/>
                <a:gd name="T23" fmla="*/ 43 h 178"/>
                <a:gd name="T24" fmla="*/ 46 w 60"/>
                <a:gd name="T25" fmla="*/ 43 h 178"/>
                <a:gd name="T26" fmla="*/ 46 w 60"/>
                <a:gd name="T27" fmla="*/ 43 h 178"/>
                <a:gd name="T28" fmla="*/ 51 w 60"/>
                <a:gd name="T29" fmla="*/ 27 h 178"/>
                <a:gd name="T30" fmla="*/ 5 w 60"/>
                <a:gd name="T31"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 h="178">
                  <a:moveTo>
                    <a:pt x="5" y="0"/>
                  </a:moveTo>
                  <a:cubicBezTo>
                    <a:pt x="2" y="5"/>
                    <a:pt x="0" y="11"/>
                    <a:pt x="0" y="16"/>
                  </a:cubicBezTo>
                  <a:cubicBezTo>
                    <a:pt x="0" y="138"/>
                    <a:pt x="0" y="138"/>
                    <a:pt x="0" y="138"/>
                  </a:cubicBezTo>
                  <a:cubicBezTo>
                    <a:pt x="0" y="145"/>
                    <a:pt x="3" y="152"/>
                    <a:pt x="7" y="158"/>
                  </a:cubicBezTo>
                  <a:cubicBezTo>
                    <a:pt x="10" y="162"/>
                    <a:pt x="13" y="165"/>
                    <a:pt x="17" y="167"/>
                  </a:cubicBezTo>
                  <a:cubicBezTo>
                    <a:pt x="30" y="175"/>
                    <a:pt x="30" y="175"/>
                    <a:pt x="30" y="175"/>
                  </a:cubicBezTo>
                  <a:cubicBezTo>
                    <a:pt x="34" y="177"/>
                    <a:pt x="40" y="178"/>
                    <a:pt x="46" y="178"/>
                  </a:cubicBezTo>
                  <a:cubicBezTo>
                    <a:pt x="46" y="178"/>
                    <a:pt x="46" y="178"/>
                    <a:pt x="46" y="178"/>
                  </a:cubicBezTo>
                  <a:cubicBezTo>
                    <a:pt x="51" y="178"/>
                    <a:pt x="56" y="178"/>
                    <a:pt x="60" y="176"/>
                  </a:cubicBezTo>
                  <a:cubicBezTo>
                    <a:pt x="58" y="176"/>
                    <a:pt x="57" y="177"/>
                    <a:pt x="55" y="177"/>
                  </a:cubicBezTo>
                  <a:cubicBezTo>
                    <a:pt x="50" y="177"/>
                    <a:pt x="46" y="172"/>
                    <a:pt x="46" y="165"/>
                  </a:cubicBezTo>
                  <a:cubicBezTo>
                    <a:pt x="46" y="43"/>
                    <a:pt x="46" y="43"/>
                    <a:pt x="46" y="43"/>
                  </a:cubicBezTo>
                  <a:cubicBezTo>
                    <a:pt x="46" y="43"/>
                    <a:pt x="46" y="43"/>
                    <a:pt x="46" y="43"/>
                  </a:cubicBezTo>
                  <a:cubicBezTo>
                    <a:pt x="46" y="43"/>
                    <a:pt x="46" y="43"/>
                    <a:pt x="46" y="43"/>
                  </a:cubicBezTo>
                  <a:cubicBezTo>
                    <a:pt x="46" y="38"/>
                    <a:pt x="48" y="32"/>
                    <a:pt x="51" y="27"/>
                  </a:cubicBezTo>
                  <a:cubicBezTo>
                    <a:pt x="5" y="0"/>
                    <a:pt x="5" y="0"/>
                    <a:pt x="5" y="0"/>
                  </a:cubicBezTo>
                </a:path>
              </a:pathLst>
            </a:custGeom>
            <a:solidFill>
              <a:srgbClr val="23C7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1" name="ïŝlîḍè">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B4E89927-14EA-4D0F-9874-BD1BCA66A495}"/>
                </a:ext>
              </a:extLst>
            </p:cNvPr>
            <p:cNvSpPr/>
            <p:nvPr/>
          </p:nvSpPr>
          <p:spPr bwMode="auto">
            <a:xfrm>
              <a:off x="4370388" y="3241675"/>
              <a:ext cx="12700" cy="41275"/>
            </a:xfrm>
            <a:custGeom>
              <a:avLst/>
              <a:gdLst>
                <a:gd name="T0" fmla="*/ 5 w 5"/>
                <a:gd name="T1" fmla="*/ 0 h 16"/>
                <a:gd name="T2" fmla="*/ 0 w 5"/>
                <a:gd name="T3" fmla="*/ 16 h 16"/>
                <a:gd name="T4" fmla="*/ 0 w 5"/>
                <a:gd name="T5" fmla="*/ 16 h 16"/>
                <a:gd name="T6" fmla="*/ 5 w 5"/>
                <a:gd name="T7" fmla="*/ 0 h 16"/>
                <a:gd name="T8" fmla="*/ 5 w 5"/>
                <a:gd name="T9" fmla="*/ 0 h 16"/>
              </a:gdLst>
              <a:ahLst/>
              <a:cxnLst>
                <a:cxn ang="0">
                  <a:pos x="T0" y="T1"/>
                </a:cxn>
                <a:cxn ang="0">
                  <a:pos x="T2" y="T3"/>
                </a:cxn>
                <a:cxn ang="0">
                  <a:pos x="T4" y="T5"/>
                </a:cxn>
                <a:cxn ang="0">
                  <a:pos x="T6" y="T7"/>
                </a:cxn>
                <a:cxn ang="0">
                  <a:pos x="T8" y="T9"/>
                </a:cxn>
              </a:cxnLst>
              <a:rect l="0" t="0" r="r" b="b"/>
              <a:pathLst>
                <a:path w="5" h="16">
                  <a:moveTo>
                    <a:pt x="5" y="0"/>
                  </a:moveTo>
                  <a:cubicBezTo>
                    <a:pt x="2" y="5"/>
                    <a:pt x="0" y="11"/>
                    <a:pt x="0" y="16"/>
                  </a:cubicBezTo>
                  <a:cubicBezTo>
                    <a:pt x="0" y="16"/>
                    <a:pt x="0" y="16"/>
                    <a:pt x="0" y="16"/>
                  </a:cubicBezTo>
                  <a:cubicBezTo>
                    <a:pt x="0" y="11"/>
                    <a:pt x="2" y="5"/>
                    <a:pt x="5" y="0"/>
                  </a:cubicBezTo>
                  <a:cubicBezTo>
                    <a:pt x="5" y="0"/>
                    <a:pt x="5" y="0"/>
                    <a:pt x="5" y="0"/>
                  </a:cubicBezTo>
                </a:path>
              </a:pathLst>
            </a:custGeom>
            <a:solidFill>
              <a:srgbClr val="23C7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2" name="iṥlíḍ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98A2FC33-018F-49D9-81F0-0D94CA1A2D54}"/>
                </a:ext>
              </a:extLst>
            </p:cNvPr>
            <p:cNvSpPr/>
            <p:nvPr/>
          </p:nvSpPr>
          <p:spPr bwMode="auto">
            <a:xfrm>
              <a:off x="4614863" y="2979738"/>
              <a:ext cx="39688" cy="12700"/>
            </a:xfrm>
            <a:custGeom>
              <a:avLst/>
              <a:gdLst>
                <a:gd name="T0" fmla="*/ 0 w 16"/>
                <a:gd name="T1" fmla="*/ 0 h 5"/>
                <a:gd name="T2" fmla="*/ 13 w 16"/>
                <a:gd name="T3" fmla="*/ 4 h 5"/>
                <a:gd name="T4" fmla="*/ 16 w 16"/>
                <a:gd name="T5" fmla="*/ 5 h 5"/>
                <a:gd name="T6" fmla="*/ 13 w 16"/>
                <a:gd name="T7" fmla="*/ 4 h 5"/>
                <a:gd name="T8" fmla="*/ 0 w 16"/>
                <a:gd name="T9" fmla="*/ 0 h 5"/>
              </a:gdLst>
              <a:ahLst/>
              <a:cxnLst>
                <a:cxn ang="0">
                  <a:pos x="T0" y="T1"/>
                </a:cxn>
                <a:cxn ang="0">
                  <a:pos x="T2" y="T3"/>
                </a:cxn>
                <a:cxn ang="0">
                  <a:pos x="T4" y="T5"/>
                </a:cxn>
                <a:cxn ang="0">
                  <a:pos x="T6" y="T7"/>
                </a:cxn>
                <a:cxn ang="0">
                  <a:pos x="T8" y="T9"/>
                </a:cxn>
              </a:cxnLst>
              <a:rect l="0" t="0" r="r" b="b"/>
              <a:pathLst>
                <a:path w="16" h="5">
                  <a:moveTo>
                    <a:pt x="0" y="0"/>
                  </a:moveTo>
                  <a:cubicBezTo>
                    <a:pt x="5" y="0"/>
                    <a:pt x="10" y="1"/>
                    <a:pt x="13" y="4"/>
                  </a:cubicBezTo>
                  <a:cubicBezTo>
                    <a:pt x="16" y="5"/>
                    <a:pt x="16" y="5"/>
                    <a:pt x="16" y="5"/>
                  </a:cubicBezTo>
                  <a:cubicBezTo>
                    <a:pt x="13" y="4"/>
                    <a:pt x="13" y="4"/>
                    <a:pt x="13" y="4"/>
                  </a:cubicBezTo>
                  <a:cubicBezTo>
                    <a:pt x="10" y="1"/>
                    <a:pt x="5"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3" name="iş1íḋé">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45F071EF-2FDE-48B8-82EE-84B045E2B6BB}"/>
                </a:ext>
              </a:extLst>
            </p:cNvPr>
            <p:cNvSpPr/>
            <p:nvPr/>
          </p:nvSpPr>
          <p:spPr bwMode="auto">
            <a:xfrm>
              <a:off x="4267200" y="2979738"/>
              <a:ext cx="455613" cy="261938"/>
            </a:xfrm>
            <a:custGeom>
              <a:avLst/>
              <a:gdLst>
                <a:gd name="T0" fmla="*/ 134 w 180"/>
                <a:gd name="T1" fmla="*/ 0 h 104"/>
                <a:gd name="T2" fmla="*/ 117 w 180"/>
                <a:gd name="T3" fmla="*/ 4 h 104"/>
                <a:gd name="T4" fmla="*/ 12 w 180"/>
                <a:gd name="T5" fmla="*/ 65 h 104"/>
                <a:gd name="T6" fmla="*/ 0 w 180"/>
                <a:gd name="T7" fmla="*/ 77 h 104"/>
                <a:gd name="T8" fmla="*/ 46 w 180"/>
                <a:gd name="T9" fmla="*/ 104 h 104"/>
                <a:gd name="T10" fmla="*/ 57 w 180"/>
                <a:gd name="T11" fmla="*/ 92 h 104"/>
                <a:gd name="T12" fmla="*/ 57 w 180"/>
                <a:gd name="T13" fmla="*/ 92 h 104"/>
                <a:gd name="T14" fmla="*/ 57 w 180"/>
                <a:gd name="T15" fmla="*/ 92 h 104"/>
                <a:gd name="T16" fmla="*/ 58 w 180"/>
                <a:gd name="T17" fmla="*/ 91 h 104"/>
                <a:gd name="T18" fmla="*/ 164 w 180"/>
                <a:gd name="T19" fmla="*/ 30 h 104"/>
                <a:gd name="T20" fmla="*/ 171 w 180"/>
                <a:gd name="T21" fmla="*/ 28 h 104"/>
                <a:gd name="T22" fmla="*/ 180 w 180"/>
                <a:gd name="T23" fmla="*/ 37 h 104"/>
                <a:gd name="T24" fmla="*/ 164 w 180"/>
                <a:gd name="T25" fmla="*/ 11 h 104"/>
                <a:gd name="T26" fmla="*/ 153 w 180"/>
                <a:gd name="T27" fmla="*/ 5 h 104"/>
                <a:gd name="T28" fmla="*/ 150 w 180"/>
                <a:gd name="T29" fmla="*/ 4 h 104"/>
                <a:gd name="T30" fmla="*/ 137 w 180"/>
                <a:gd name="T31" fmla="*/ 0 h 104"/>
                <a:gd name="T32" fmla="*/ 134 w 180"/>
                <a:gd name="T33"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0" h="104">
                  <a:moveTo>
                    <a:pt x="134" y="0"/>
                  </a:moveTo>
                  <a:cubicBezTo>
                    <a:pt x="128" y="0"/>
                    <a:pt x="122" y="1"/>
                    <a:pt x="117" y="4"/>
                  </a:cubicBezTo>
                  <a:cubicBezTo>
                    <a:pt x="12" y="65"/>
                    <a:pt x="12" y="65"/>
                    <a:pt x="12" y="65"/>
                  </a:cubicBezTo>
                  <a:cubicBezTo>
                    <a:pt x="7" y="67"/>
                    <a:pt x="3" y="72"/>
                    <a:pt x="0" y="77"/>
                  </a:cubicBezTo>
                  <a:cubicBezTo>
                    <a:pt x="46" y="104"/>
                    <a:pt x="46" y="104"/>
                    <a:pt x="46" y="104"/>
                  </a:cubicBezTo>
                  <a:cubicBezTo>
                    <a:pt x="49" y="99"/>
                    <a:pt x="53" y="94"/>
                    <a:pt x="57" y="92"/>
                  </a:cubicBezTo>
                  <a:cubicBezTo>
                    <a:pt x="57" y="92"/>
                    <a:pt x="57" y="92"/>
                    <a:pt x="57" y="92"/>
                  </a:cubicBezTo>
                  <a:cubicBezTo>
                    <a:pt x="57" y="92"/>
                    <a:pt x="57" y="92"/>
                    <a:pt x="57" y="92"/>
                  </a:cubicBezTo>
                  <a:cubicBezTo>
                    <a:pt x="58" y="92"/>
                    <a:pt x="58" y="91"/>
                    <a:pt x="58" y="91"/>
                  </a:cubicBezTo>
                  <a:cubicBezTo>
                    <a:pt x="164" y="30"/>
                    <a:pt x="164" y="30"/>
                    <a:pt x="164" y="30"/>
                  </a:cubicBezTo>
                  <a:cubicBezTo>
                    <a:pt x="166" y="29"/>
                    <a:pt x="169" y="28"/>
                    <a:pt x="171" y="28"/>
                  </a:cubicBezTo>
                  <a:cubicBezTo>
                    <a:pt x="176" y="28"/>
                    <a:pt x="179" y="31"/>
                    <a:pt x="180" y="37"/>
                  </a:cubicBezTo>
                  <a:cubicBezTo>
                    <a:pt x="179" y="27"/>
                    <a:pt x="172" y="16"/>
                    <a:pt x="164" y="11"/>
                  </a:cubicBezTo>
                  <a:cubicBezTo>
                    <a:pt x="153" y="5"/>
                    <a:pt x="153" y="5"/>
                    <a:pt x="153" y="5"/>
                  </a:cubicBezTo>
                  <a:cubicBezTo>
                    <a:pt x="150" y="4"/>
                    <a:pt x="150" y="4"/>
                    <a:pt x="150" y="4"/>
                  </a:cubicBezTo>
                  <a:cubicBezTo>
                    <a:pt x="147" y="1"/>
                    <a:pt x="142" y="0"/>
                    <a:pt x="137" y="0"/>
                  </a:cubicBezTo>
                  <a:cubicBezTo>
                    <a:pt x="136" y="0"/>
                    <a:pt x="135" y="0"/>
                    <a:pt x="134" y="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chemeClr val="accent1">
                    <a:lumMod val="75000"/>
                    <a:lumOff val="25000"/>
                  </a:schemeClr>
                </a:solidFill>
              </a:endParaRPr>
            </a:p>
          </p:txBody>
        </p:sp>
        <p:sp>
          <p:nvSpPr>
            <p:cNvPr id="54" name="íṡḻïdè">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66C85692-1B24-4630-B217-F25952087212}"/>
                </a:ext>
              </a:extLst>
            </p:cNvPr>
            <p:cNvSpPr/>
            <p:nvPr/>
          </p:nvSpPr>
          <p:spPr bwMode="auto">
            <a:xfrm>
              <a:off x="4411663" y="3049588"/>
              <a:ext cx="311150" cy="161925"/>
            </a:xfrm>
            <a:custGeom>
              <a:avLst/>
              <a:gdLst>
                <a:gd name="T0" fmla="*/ 0 w 123"/>
                <a:gd name="T1" fmla="*/ 64 h 64"/>
                <a:gd name="T2" fmla="*/ 0 w 123"/>
                <a:gd name="T3" fmla="*/ 64 h 64"/>
                <a:gd name="T4" fmla="*/ 0 w 123"/>
                <a:gd name="T5" fmla="*/ 64 h 64"/>
                <a:gd name="T6" fmla="*/ 114 w 123"/>
                <a:gd name="T7" fmla="*/ 0 h 64"/>
                <a:gd name="T8" fmla="*/ 107 w 123"/>
                <a:gd name="T9" fmla="*/ 2 h 64"/>
                <a:gd name="T10" fmla="*/ 1 w 123"/>
                <a:gd name="T11" fmla="*/ 63 h 64"/>
                <a:gd name="T12" fmla="*/ 0 w 123"/>
                <a:gd name="T13" fmla="*/ 64 h 64"/>
                <a:gd name="T14" fmla="*/ 1 w 123"/>
                <a:gd name="T15" fmla="*/ 63 h 64"/>
                <a:gd name="T16" fmla="*/ 107 w 123"/>
                <a:gd name="T17" fmla="*/ 2 h 64"/>
                <a:gd name="T18" fmla="*/ 114 w 123"/>
                <a:gd name="T19" fmla="*/ 0 h 64"/>
                <a:gd name="T20" fmla="*/ 123 w 123"/>
                <a:gd name="T21" fmla="*/ 9 h 64"/>
                <a:gd name="T22" fmla="*/ 123 w 123"/>
                <a:gd name="T23" fmla="*/ 9 h 64"/>
                <a:gd name="T24" fmla="*/ 114 w 123"/>
                <a:gd name="T25"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 h="64">
                  <a:moveTo>
                    <a:pt x="0" y="64"/>
                  </a:moveTo>
                  <a:cubicBezTo>
                    <a:pt x="0" y="64"/>
                    <a:pt x="0" y="64"/>
                    <a:pt x="0" y="64"/>
                  </a:cubicBezTo>
                  <a:cubicBezTo>
                    <a:pt x="0" y="64"/>
                    <a:pt x="0" y="64"/>
                    <a:pt x="0" y="64"/>
                  </a:cubicBezTo>
                  <a:moveTo>
                    <a:pt x="114" y="0"/>
                  </a:moveTo>
                  <a:cubicBezTo>
                    <a:pt x="112" y="0"/>
                    <a:pt x="109" y="1"/>
                    <a:pt x="107" y="2"/>
                  </a:cubicBezTo>
                  <a:cubicBezTo>
                    <a:pt x="1" y="63"/>
                    <a:pt x="1" y="63"/>
                    <a:pt x="1" y="63"/>
                  </a:cubicBezTo>
                  <a:cubicBezTo>
                    <a:pt x="1" y="63"/>
                    <a:pt x="1" y="64"/>
                    <a:pt x="0" y="64"/>
                  </a:cubicBezTo>
                  <a:cubicBezTo>
                    <a:pt x="1" y="64"/>
                    <a:pt x="1" y="63"/>
                    <a:pt x="1" y="63"/>
                  </a:cubicBezTo>
                  <a:cubicBezTo>
                    <a:pt x="107" y="2"/>
                    <a:pt x="107" y="2"/>
                    <a:pt x="107" y="2"/>
                  </a:cubicBezTo>
                  <a:cubicBezTo>
                    <a:pt x="109" y="1"/>
                    <a:pt x="112" y="0"/>
                    <a:pt x="114" y="0"/>
                  </a:cubicBezTo>
                  <a:cubicBezTo>
                    <a:pt x="119" y="0"/>
                    <a:pt x="122" y="3"/>
                    <a:pt x="123" y="9"/>
                  </a:cubicBezTo>
                  <a:cubicBezTo>
                    <a:pt x="123" y="9"/>
                    <a:pt x="123" y="9"/>
                    <a:pt x="123" y="9"/>
                  </a:cubicBezTo>
                  <a:cubicBezTo>
                    <a:pt x="122" y="3"/>
                    <a:pt x="119" y="0"/>
                    <a:pt x="114" y="0"/>
                  </a:cubicBezTo>
                </a:path>
              </a:pathLst>
            </a:custGeom>
            <a:solidFill>
              <a:srgbClr val="7DE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5" name="íṧľïḓé">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642CF606-F739-4C0F-A172-03A99FA5EA25}"/>
                </a:ext>
              </a:extLst>
            </p:cNvPr>
            <p:cNvSpPr/>
            <p:nvPr/>
          </p:nvSpPr>
          <p:spPr bwMode="auto">
            <a:xfrm>
              <a:off x="4440238" y="3173413"/>
              <a:ext cx="214313" cy="327025"/>
            </a:xfrm>
            <a:custGeom>
              <a:avLst/>
              <a:gdLst>
                <a:gd name="T0" fmla="*/ 66 w 85"/>
                <a:gd name="T1" fmla="*/ 75 h 129"/>
                <a:gd name="T2" fmla="*/ 76 w 85"/>
                <a:gd name="T3" fmla="*/ 25 h 129"/>
                <a:gd name="T4" fmla="*/ 85 w 85"/>
                <a:gd name="T5" fmla="*/ 8 h 129"/>
                <a:gd name="T6" fmla="*/ 75 w 85"/>
                <a:gd name="T7" fmla="*/ 17 h 129"/>
                <a:gd name="T8" fmla="*/ 83 w 85"/>
                <a:gd name="T9" fmla="*/ 0 h 129"/>
                <a:gd name="T10" fmla="*/ 72 w 85"/>
                <a:gd name="T11" fmla="*/ 12 h 129"/>
                <a:gd name="T12" fmla="*/ 59 w 85"/>
                <a:gd name="T13" fmla="*/ 12 h 129"/>
                <a:gd name="T14" fmla="*/ 42 w 85"/>
                <a:gd name="T15" fmla="*/ 50 h 129"/>
                <a:gd name="T16" fmla="*/ 6 w 85"/>
                <a:gd name="T17" fmla="*/ 47 h 129"/>
                <a:gd name="T18" fmla="*/ 12 w 85"/>
                <a:gd name="T19" fmla="*/ 74 h 129"/>
                <a:gd name="T20" fmla="*/ 4 w 85"/>
                <a:gd name="T21" fmla="*/ 76 h 129"/>
                <a:gd name="T22" fmla="*/ 18 w 85"/>
                <a:gd name="T23" fmla="*/ 91 h 129"/>
                <a:gd name="T24" fmla="*/ 10 w 85"/>
                <a:gd name="T25" fmla="*/ 96 h 129"/>
                <a:gd name="T26" fmla="*/ 26 w 85"/>
                <a:gd name="T27" fmla="*/ 103 h 129"/>
                <a:gd name="T28" fmla="*/ 0 w 85"/>
                <a:gd name="T29" fmla="*/ 127 h 129"/>
                <a:gd name="T30" fmla="*/ 27 w 85"/>
                <a:gd name="T31" fmla="*/ 122 h 129"/>
                <a:gd name="T32" fmla="*/ 66 w 85"/>
                <a:gd name="T33" fmla="*/ 75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29">
                  <a:moveTo>
                    <a:pt x="66" y="75"/>
                  </a:moveTo>
                  <a:cubicBezTo>
                    <a:pt x="73" y="58"/>
                    <a:pt x="77" y="40"/>
                    <a:pt x="76" y="25"/>
                  </a:cubicBezTo>
                  <a:cubicBezTo>
                    <a:pt x="80" y="19"/>
                    <a:pt x="83" y="14"/>
                    <a:pt x="85" y="8"/>
                  </a:cubicBezTo>
                  <a:cubicBezTo>
                    <a:pt x="82" y="11"/>
                    <a:pt x="79" y="14"/>
                    <a:pt x="75" y="17"/>
                  </a:cubicBezTo>
                  <a:cubicBezTo>
                    <a:pt x="79" y="12"/>
                    <a:pt x="81" y="6"/>
                    <a:pt x="83" y="0"/>
                  </a:cubicBezTo>
                  <a:cubicBezTo>
                    <a:pt x="79" y="4"/>
                    <a:pt x="76" y="8"/>
                    <a:pt x="72" y="12"/>
                  </a:cubicBezTo>
                  <a:cubicBezTo>
                    <a:pt x="69" y="9"/>
                    <a:pt x="64" y="9"/>
                    <a:pt x="59" y="12"/>
                  </a:cubicBezTo>
                  <a:cubicBezTo>
                    <a:pt x="48" y="18"/>
                    <a:pt x="40" y="37"/>
                    <a:pt x="42" y="50"/>
                  </a:cubicBezTo>
                  <a:cubicBezTo>
                    <a:pt x="28" y="57"/>
                    <a:pt x="15" y="56"/>
                    <a:pt x="6" y="47"/>
                  </a:cubicBezTo>
                  <a:cubicBezTo>
                    <a:pt x="2" y="60"/>
                    <a:pt x="4" y="72"/>
                    <a:pt x="12" y="74"/>
                  </a:cubicBezTo>
                  <a:cubicBezTo>
                    <a:pt x="9" y="76"/>
                    <a:pt x="6" y="76"/>
                    <a:pt x="4" y="76"/>
                  </a:cubicBezTo>
                  <a:cubicBezTo>
                    <a:pt x="4" y="87"/>
                    <a:pt x="9" y="94"/>
                    <a:pt x="18" y="91"/>
                  </a:cubicBezTo>
                  <a:cubicBezTo>
                    <a:pt x="15" y="93"/>
                    <a:pt x="13" y="95"/>
                    <a:pt x="10" y="96"/>
                  </a:cubicBezTo>
                  <a:cubicBezTo>
                    <a:pt x="12" y="104"/>
                    <a:pt x="18" y="107"/>
                    <a:pt x="26" y="103"/>
                  </a:cubicBezTo>
                  <a:cubicBezTo>
                    <a:pt x="19" y="115"/>
                    <a:pt x="10" y="123"/>
                    <a:pt x="0" y="127"/>
                  </a:cubicBezTo>
                  <a:cubicBezTo>
                    <a:pt x="8" y="129"/>
                    <a:pt x="17" y="128"/>
                    <a:pt x="27" y="122"/>
                  </a:cubicBezTo>
                  <a:cubicBezTo>
                    <a:pt x="44" y="112"/>
                    <a:pt x="57" y="94"/>
                    <a:pt x="66" y="7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chemeClr val="accent1">
                    <a:lumMod val="75000"/>
                    <a:lumOff val="25000"/>
                  </a:schemeClr>
                </a:solidFill>
              </a:endParaRPr>
            </a:p>
          </p:txBody>
        </p:sp>
        <p:sp>
          <p:nvSpPr>
            <p:cNvPr id="56" name="ïśḷîḑ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EA44EF01-2B95-4534-B84D-BA8F0BE5D45A}"/>
                </a:ext>
              </a:extLst>
            </p:cNvPr>
            <p:cNvSpPr/>
            <p:nvPr/>
          </p:nvSpPr>
          <p:spPr bwMode="auto">
            <a:xfrm>
              <a:off x="5641975" y="2973388"/>
              <a:ext cx="469900" cy="655638"/>
            </a:xfrm>
            <a:custGeom>
              <a:avLst/>
              <a:gdLst>
                <a:gd name="T0" fmla="*/ 17 w 185"/>
                <a:gd name="T1" fmla="*/ 67 h 259"/>
                <a:gd name="T2" fmla="*/ 123 w 185"/>
                <a:gd name="T3" fmla="*/ 6 h 259"/>
                <a:gd name="T4" fmla="*/ 155 w 185"/>
                <a:gd name="T5" fmla="*/ 6 h 259"/>
                <a:gd name="T6" fmla="*/ 169 w 185"/>
                <a:gd name="T7" fmla="*/ 13 h 259"/>
                <a:gd name="T8" fmla="*/ 185 w 185"/>
                <a:gd name="T9" fmla="*/ 42 h 259"/>
                <a:gd name="T10" fmla="*/ 185 w 185"/>
                <a:gd name="T11" fmla="*/ 164 h 259"/>
                <a:gd name="T12" fmla="*/ 169 w 185"/>
                <a:gd name="T13" fmla="*/ 192 h 259"/>
                <a:gd name="T14" fmla="*/ 63 w 185"/>
                <a:gd name="T15" fmla="*/ 254 h 259"/>
                <a:gd name="T16" fmla="*/ 30 w 185"/>
                <a:gd name="T17" fmla="*/ 254 h 259"/>
                <a:gd name="T18" fmla="*/ 17 w 185"/>
                <a:gd name="T19" fmla="*/ 246 h 259"/>
                <a:gd name="T20" fmla="*/ 0 w 185"/>
                <a:gd name="T21" fmla="*/ 217 h 259"/>
                <a:gd name="T22" fmla="*/ 0 w 185"/>
                <a:gd name="T23" fmla="*/ 95 h 259"/>
                <a:gd name="T24" fmla="*/ 17 w 185"/>
                <a:gd name="T25" fmla="*/ 6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5" h="259">
                  <a:moveTo>
                    <a:pt x="17" y="67"/>
                  </a:moveTo>
                  <a:cubicBezTo>
                    <a:pt x="123" y="6"/>
                    <a:pt x="123" y="6"/>
                    <a:pt x="123" y="6"/>
                  </a:cubicBezTo>
                  <a:cubicBezTo>
                    <a:pt x="132" y="0"/>
                    <a:pt x="146" y="0"/>
                    <a:pt x="155" y="6"/>
                  </a:cubicBezTo>
                  <a:cubicBezTo>
                    <a:pt x="169" y="13"/>
                    <a:pt x="169" y="13"/>
                    <a:pt x="169" y="13"/>
                  </a:cubicBezTo>
                  <a:cubicBezTo>
                    <a:pt x="178" y="19"/>
                    <a:pt x="185" y="31"/>
                    <a:pt x="185" y="42"/>
                  </a:cubicBezTo>
                  <a:cubicBezTo>
                    <a:pt x="185" y="164"/>
                    <a:pt x="185" y="164"/>
                    <a:pt x="185" y="164"/>
                  </a:cubicBezTo>
                  <a:cubicBezTo>
                    <a:pt x="185" y="174"/>
                    <a:pt x="178" y="187"/>
                    <a:pt x="169" y="192"/>
                  </a:cubicBezTo>
                  <a:cubicBezTo>
                    <a:pt x="63" y="254"/>
                    <a:pt x="63" y="254"/>
                    <a:pt x="63" y="254"/>
                  </a:cubicBezTo>
                  <a:cubicBezTo>
                    <a:pt x="54" y="259"/>
                    <a:pt x="39" y="259"/>
                    <a:pt x="30" y="254"/>
                  </a:cubicBezTo>
                  <a:cubicBezTo>
                    <a:pt x="17" y="246"/>
                    <a:pt x="17" y="246"/>
                    <a:pt x="17" y="246"/>
                  </a:cubicBezTo>
                  <a:cubicBezTo>
                    <a:pt x="8" y="241"/>
                    <a:pt x="0" y="228"/>
                    <a:pt x="0" y="217"/>
                  </a:cubicBezTo>
                  <a:cubicBezTo>
                    <a:pt x="0" y="95"/>
                    <a:pt x="0" y="95"/>
                    <a:pt x="0" y="95"/>
                  </a:cubicBezTo>
                  <a:cubicBezTo>
                    <a:pt x="0" y="85"/>
                    <a:pt x="8" y="72"/>
                    <a:pt x="17" y="67"/>
                  </a:cubicBezTo>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7" name="iŝḷîḋé">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1E546575-38F6-45F9-9B2F-9E362FDF50E2}"/>
                </a:ext>
              </a:extLst>
            </p:cNvPr>
            <p:cNvSpPr/>
            <p:nvPr/>
          </p:nvSpPr>
          <p:spPr bwMode="auto">
            <a:xfrm>
              <a:off x="5761038" y="3041650"/>
              <a:ext cx="350838" cy="587375"/>
            </a:xfrm>
            <a:custGeom>
              <a:avLst/>
              <a:gdLst>
                <a:gd name="T0" fmla="*/ 138 w 138"/>
                <a:gd name="T1" fmla="*/ 15 h 232"/>
                <a:gd name="T2" fmla="*/ 122 w 138"/>
                <a:gd name="T3" fmla="*/ 5 h 232"/>
                <a:gd name="T4" fmla="*/ 16 w 138"/>
                <a:gd name="T5" fmla="*/ 66 h 232"/>
                <a:gd name="T6" fmla="*/ 0 w 138"/>
                <a:gd name="T7" fmla="*/ 95 h 232"/>
                <a:gd name="T8" fmla="*/ 0 w 138"/>
                <a:gd name="T9" fmla="*/ 217 h 232"/>
                <a:gd name="T10" fmla="*/ 16 w 138"/>
                <a:gd name="T11" fmla="*/ 227 h 232"/>
                <a:gd name="T12" fmla="*/ 122 w 138"/>
                <a:gd name="T13" fmla="*/ 165 h 232"/>
                <a:gd name="T14" fmla="*/ 138 w 138"/>
                <a:gd name="T15" fmla="*/ 137 h 232"/>
                <a:gd name="T16" fmla="*/ 138 w 138"/>
                <a:gd name="T17" fmla="*/ 15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8" h="232">
                  <a:moveTo>
                    <a:pt x="138" y="15"/>
                  </a:moveTo>
                  <a:cubicBezTo>
                    <a:pt x="138" y="4"/>
                    <a:pt x="131" y="0"/>
                    <a:pt x="122" y="5"/>
                  </a:cubicBezTo>
                  <a:cubicBezTo>
                    <a:pt x="16" y="66"/>
                    <a:pt x="16" y="66"/>
                    <a:pt x="16" y="66"/>
                  </a:cubicBezTo>
                  <a:cubicBezTo>
                    <a:pt x="7" y="72"/>
                    <a:pt x="0" y="84"/>
                    <a:pt x="0" y="95"/>
                  </a:cubicBezTo>
                  <a:cubicBezTo>
                    <a:pt x="0" y="217"/>
                    <a:pt x="0" y="217"/>
                    <a:pt x="0" y="217"/>
                  </a:cubicBezTo>
                  <a:cubicBezTo>
                    <a:pt x="0" y="228"/>
                    <a:pt x="7" y="232"/>
                    <a:pt x="16" y="227"/>
                  </a:cubicBezTo>
                  <a:cubicBezTo>
                    <a:pt x="122" y="165"/>
                    <a:pt x="122" y="165"/>
                    <a:pt x="122" y="165"/>
                  </a:cubicBezTo>
                  <a:cubicBezTo>
                    <a:pt x="131" y="160"/>
                    <a:pt x="138" y="147"/>
                    <a:pt x="138" y="137"/>
                  </a:cubicBezTo>
                  <a:cubicBezTo>
                    <a:pt x="138" y="15"/>
                    <a:pt x="138" y="15"/>
                    <a:pt x="138" y="15"/>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chemeClr val="accent1">
                    <a:lumMod val="75000"/>
                    <a:lumOff val="25000"/>
                  </a:schemeClr>
                </a:solidFill>
              </a:endParaRPr>
            </a:p>
          </p:txBody>
        </p:sp>
        <p:sp>
          <p:nvSpPr>
            <p:cNvPr id="58" name="iSľiďé">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BF6ED96A-55A5-477E-953C-B66EA1FCCE0A}"/>
                </a:ext>
              </a:extLst>
            </p:cNvPr>
            <p:cNvSpPr/>
            <p:nvPr/>
          </p:nvSpPr>
          <p:spPr bwMode="auto">
            <a:xfrm>
              <a:off x="6002338" y="2979738"/>
              <a:ext cx="42863" cy="14288"/>
            </a:xfrm>
            <a:custGeom>
              <a:avLst/>
              <a:gdLst>
                <a:gd name="T0" fmla="*/ 0 w 17"/>
                <a:gd name="T1" fmla="*/ 0 h 6"/>
                <a:gd name="T2" fmla="*/ 13 w 17"/>
                <a:gd name="T3" fmla="*/ 4 h 6"/>
                <a:gd name="T4" fmla="*/ 17 w 17"/>
                <a:gd name="T5" fmla="*/ 6 h 6"/>
                <a:gd name="T6" fmla="*/ 13 w 17"/>
                <a:gd name="T7" fmla="*/ 4 h 6"/>
                <a:gd name="T8" fmla="*/ 0 w 17"/>
                <a:gd name="T9" fmla="*/ 0 h 6"/>
              </a:gdLst>
              <a:ahLst/>
              <a:cxnLst>
                <a:cxn ang="0">
                  <a:pos x="T0" y="T1"/>
                </a:cxn>
                <a:cxn ang="0">
                  <a:pos x="T2" y="T3"/>
                </a:cxn>
                <a:cxn ang="0">
                  <a:pos x="T4" y="T5"/>
                </a:cxn>
                <a:cxn ang="0">
                  <a:pos x="T6" y="T7"/>
                </a:cxn>
                <a:cxn ang="0">
                  <a:pos x="T8" y="T9"/>
                </a:cxn>
              </a:cxnLst>
              <a:rect l="0" t="0" r="r" b="b"/>
              <a:pathLst>
                <a:path w="17" h="6">
                  <a:moveTo>
                    <a:pt x="0" y="0"/>
                  </a:moveTo>
                  <a:cubicBezTo>
                    <a:pt x="5" y="0"/>
                    <a:pt x="10" y="1"/>
                    <a:pt x="13" y="4"/>
                  </a:cubicBezTo>
                  <a:cubicBezTo>
                    <a:pt x="17" y="6"/>
                    <a:pt x="17" y="6"/>
                    <a:pt x="17" y="6"/>
                  </a:cubicBezTo>
                  <a:cubicBezTo>
                    <a:pt x="13" y="4"/>
                    <a:pt x="13" y="4"/>
                    <a:pt x="13" y="4"/>
                  </a:cubicBezTo>
                  <a:cubicBezTo>
                    <a:pt x="10" y="1"/>
                    <a:pt x="5"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9" name="iṩḷíḋ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31ED6B31-CC53-405E-9774-2CAA30E8A095}"/>
                </a:ext>
              </a:extLst>
            </p:cNvPr>
            <p:cNvSpPr/>
            <p:nvPr/>
          </p:nvSpPr>
          <p:spPr bwMode="auto">
            <a:xfrm>
              <a:off x="5654675" y="2979738"/>
              <a:ext cx="457200" cy="261938"/>
            </a:xfrm>
            <a:custGeom>
              <a:avLst/>
              <a:gdLst>
                <a:gd name="T0" fmla="*/ 134 w 180"/>
                <a:gd name="T1" fmla="*/ 0 h 104"/>
                <a:gd name="T2" fmla="*/ 118 w 180"/>
                <a:gd name="T3" fmla="*/ 4 h 104"/>
                <a:gd name="T4" fmla="*/ 12 w 180"/>
                <a:gd name="T5" fmla="*/ 65 h 104"/>
                <a:gd name="T6" fmla="*/ 0 w 180"/>
                <a:gd name="T7" fmla="*/ 77 h 104"/>
                <a:gd name="T8" fmla="*/ 11 w 180"/>
                <a:gd name="T9" fmla="*/ 83 h 104"/>
                <a:gd name="T10" fmla="*/ 46 w 180"/>
                <a:gd name="T11" fmla="*/ 104 h 104"/>
                <a:gd name="T12" fmla="*/ 58 w 180"/>
                <a:gd name="T13" fmla="*/ 91 h 104"/>
                <a:gd name="T14" fmla="*/ 147 w 180"/>
                <a:gd name="T15" fmla="*/ 40 h 104"/>
                <a:gd name="T16" fmla="*/ 164 w 180"/>
                <a:gd name="T17" fmla="*/ 30 h 104"/>
                <a:gd name="T18" fmla="*/ 171 w 180"/>
                <a:gd name="T19" fmla="*/ 28 h 104"/>
                <a:gd name="T20" fmla="*/ 180 w 180"/>
                <a:gd name="T21" fmla="*/ 37 h 104"/>
                <a:gd name="T22" fmla="*/ 164 w 180"/>
                <a:gd name="T23" fmla="*/ 11 h 104"/>
                <a:gd name="T24" fmla="*/ 154 w 180"/>
                <a:gd name="T25" fmla="*/ 6 h 104"/>
                <a:gd name="T26" fmla="*/ 150 w 180"/>
                <a:gd name="T27" fmla="*/ 4 h 104"/>
                <a:gd name="T28" fmla="*/ 137 w 180"/>
                <a:gd name="T29" fmla="*/ 0 h 104"/>
                <a:gd name="T30" fmla="*/ 134 w 180"/>
                <a:gd name="T31"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0" h="104">
                  <a:moveTo>
                    <a:pt x="134" y="0"/>
                  </a:moveTo>
                  <a:cubicBezTo>
                    <a:pt x="128" y="0"/>
                    <a:pt x="122" y="1"/>
                    <a:pt x="118" y="4"/>
                  </a:cubicBezTo>
                  <a:cubicBezTo>
                    <a:pt x="12" y="65"/>
                    <a:pt x="12" y="65"/>
                    <a:pt x="12" y="65"/>
                  </a:cubicBezTo>
                  <a:cubicBezTo>
                    <a:pt x="7" y="67"/>
                    <a:pt x="3" y="72"/>
                    <a:pt x="0" y="77"/>
                  </a:cubicBezTo>
                  <a:cubicBezTo>
                    <a:pt x="11" y="83"/>
                    <a:pt x="11" y="83"/>
                    <a:pt x="11" y="83"/>
                  </a:cubicBezTo>
                  <a:cubicBezTo>
                    <a:pt x="46" y="104"/>
                    <a:pt x="46" y="104"/>
                    <a:pt x="46" y="104"/>
                  </a:cubicBezTo>
                  <a:cubicBezTo>
                    <a:pt x="49" y="99"/>
                    <a:pt x="53" y="94"/>
                    <a:pt x="58" y="91"/>
                  </a:cubicBezTo>
                  <a:cubicBezTo>
                    <a:pt x="147" y="40"/>
                    <a:pt x="147" y="40"/>
                    <a:pt x="147" y="40"/>
                  </a:cubicBezTo>
                  <a:cubicBezTo>
                    <a:pt x="164" y="30"/>
                    <a:pt x="164" y="30"/>
                    <a:pt x="164" y="30"/>
                  </a:cubicBezTo>
                  <a:cubicBezTo>
                    <a:pt x="166" y="29"/>
                    <a:pt x="169" y="28"/>
                    <a:pt x="171" y="28"/>
                  </a:cubicBezTo>
                  <a:cubicBezTo>
                    <a:pt x="176" y="28"/>
                    <a:pt x="179" y="31"/>
                    <a:pt x="180" y="37"/>
                  </a:cubicBezTo>
                  <a:cubicBezTo>
                    <a:pt x="179" y="27"/>
                    <a:pt x="172" y="16"/>
                    <a:pt x="164" y="11"/>
                  </a:cubicBezTo>
                  <a:cubicBezTo>
                    <a:pt x="154" y="6"/>
                    <a:pt x="154" y="6"/>
                    <a:pt x="154" y="6"/>
                  </a:cubicBezTo>
                  <a:cubicBezTo>
                    <a:pt x="150" y="4"/>
                    <a:pt x="150" y="4"/>
                    <a:pt x="150" y="4"/>
                  </a:cubicBezTo>
                  <a:cubicBezTo>
                    <a:pt x="147" y="1"/>
                    <a:pt x="142" y="0"/>
                    <a:pt x="137" y="0"/>
                  </a:cubicBezTo>
                  <a:cubicBezTo>
                    <a:pt x="136" y="0"/>
                    <a:pt x="135" y="0"/>
                    <a:pt x="134" y="0"/>
                  </a:cubicBezTo>
                </a:path>
              </a:pathLst>
            </a:custGeom>
            <a:solidFill>
              <a:srgbClr val="7DE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0" name="íşļïḍé">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EBDE2977-62F7-4EE6-BD03-A73EA81136CB}"/>
                </a:ext>
              </a:extLst>
            </p:cNvPr>
            <p:cNvSpPr/>
            <p:nvPr/>
          </p:nvSpPr>
          <p:spPr bwMode="auto">
            <a:xfrm>
              <a:off x="6027738" y="3049588"/>
              <a:ext cx="84138" cy="30163"/>
            </a:xfrm>
            <a:custGeom>
              <a:avLst/>
              <a:gdLst>
                <a:gd name="T0" fmla="*/ 24 w 33"/>
                <a:gd name="T1" fmla="*/ 0 h 12"/>
                <a:gd name="T2" fmla="*/ 17 w 33"/>
                <a:gd name="T3" fmla="*/ 2 h 12"/>
                <a:gd name="T4" fmla="*/ 0 w 33"/>
                <a:gd name="T5" fmla="*/ 12 h 12"/>
                <a:gd name="T6" fmla="*/ 17 w 33"/>
                <a:gd name="T7" fmla="*/ 2 h 12"/>
                <a:gd name="T8" fmla="*/ 24 w 33"/>
                <a:gd name="T9" fmla="*/ 0 h 12"/>
                <a:gd name="T10" fmla="*/ 33 w 33"/>
                <a:gd name="T11" fmla="*/ 9 h 12"/>
                <a:gd name="T12" fmla="*/ 33 w 33"/>
                <a:gd name="T13" fmla="*/ 9 h 12"/>
                <a:gd name="T14" fmla="*/ 24 w 33"/>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12">
                  <a:moveTo>
                    <a:pt x="24" y="0"/>
                  </a:moveTo>
                  <a:cubicBezTo>
                    <a:pt x="22" y="0"/>
                    <a:pt x="19" y="1"/>
                    <a:pt x="17" y="2"/>
                  </a:cubicBezTo>
                  <a:cubicBezTo>
                    <a:pt x="0" y="12"/>
                    <a:pt x="0" y="12"/>
                    <a:pt x="0" y="12"/>
                  </a:cubicBezTo>
                  <a:cubicBezTo>
                    <a:pt x="17" y="2"/>
                    <a:pt x="17" y="2"/>
                    <a:pt x="17" y="2"/>
                  </a:cubicBezTo>
                  <a:cubicBezTo>
                    <a:pt x="19" y="1"/>
                    <a:pt x="22" y="0"/>
                    <a:pt x="24" y="0"/>
                  </a:cubicBezTo>
                  <a:cubicBezTo>
                    <a:pt x="29" y="0"/>
                    <a:pt x="32" y="3"/>
                    <a:pt x="33" y="9"/>
                  </a:cubicBezTo>
                  <a:cubicBezTo>
                    <a:pt x="33" y="9"/>
                    <a:pt x="33" y="9"/>
                    <a:pt x="33" y="9"/>
                  </a:cubicBezTo>
                  <a:cubicBezTo>
                    <a:pt x="32" y="3"/>
                    <a:pt x="29" y="0"/>
                    <a:pt x="24" y="0"/>
                  </a:cubicBezTo>
                </a:path>
              </a:pathLst>
            </a:custGeom>
            <a:solidFill>
              <a:srgbClr val="7DE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1" name="iśḻîḍ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FC811207-3A5A-40D5-A9C0-3F3F7325D3AD}"/>
                </a:ext>
              </a:extLst>
            </p:cNvPr>
            <p:cNvSpPr/>
            <p:nvPr/>
          </p:nvSpPr>
          <p:spPr bwMode="auto">
            <a:xfrm>
              <a:off x="5641975" y="3173413"/>
              <a:ext cx="12700" cy="41275"/>
            </a:xfrm>
            <a:custGeom>
              <a:avLst/>
              <a:gdLst>
                <a:gd name="T0" fmla="*/ 5 w 5"/>
                <a:gd name="T1" fmla="*/ 0 h 16"/>
                <a:gd name="T2" fmla="*/ 0 w 5"/>
                <a:gd name="T3" fmla="*/ 16 h 16"/>
                <a:gd name="T4" fmla="*/ 0 w 5"/>
                <a:gd name="T5" fmla="*/ 16 h 16"/>
                <a:gd name="T6" fmla="*/ 5 w 5"/>
                <a:gd name="T7" fmla="*/ 0 h 16"/>
                <a:gd name="T8" fmla="*/ 5 w 5"/>
                <a:gd name="T9" fmla="*/ 0 h 16"/>
              </a:gdLst>
              <a:ahLst/>
              <a:cxnLst>
                <a:cxn ang="0">
                  <a:pos x="T0" y="T1"/>
                </a:cxn>
                <a:cxn ang="0">
                  <a:pos x="T2" y="T3"/>
                </a:cxn>
                <a:cxn ang="0">
                  <a:pos x="T4" y="T5"/>
                </a:cxn>
                <a:cxn ang="0">
                  <a:pos x="T6" y="T7"/>
                </a:cxn>
                <a:cxn ang="0">
                  <a:pos x="T8" y="T9"/>
                </a:cxn>
              </a:cxnLst>
              <a:rect l="0" t="0" r="r" b="b"/>
              <a:pathLst>
                <a:path w="5" h="16">
                  <a:moveTo>
                    <a:pt x="5" y="0"/>
                  </a:moveTo>
                  <a:cubicBezTo>
                    <a:pt x="2" y="5"/>
                    <a:pt x="0" y="11"/>
                    <a:pt x="0" y="16"/>
                  </a:cubicBezTo>
                  <a:cubicBezTo>
                    <a:pt x="0" y="16"/>
                    <a:pt x="0" y="16"/>
                    <a:pt x="0" y="16"/>
                  </a:cubicBezTo>
                  <a:cubicBezTo>
                    <a:pt x="0" y="11"/>
                    <a:pt x="2" y="5"/>
                    <a:pt x="5" y="0"/>
                  </a:cubicBezTo>
                  <a:cubicBezTo>
                    <a:pt x="5" y="0"/>
                    <a:pt x="5" y="0"/>
                    <a:pt x="5" y="0"/>
                  </a:cubicBezTo>
                </a:path>
              </a:pathLst>
            </a:custGeom>
            <a:solidFill>
              <a:srgbClr val="DCDC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 name="íṥľïḍé">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CDC1A762-77BB-4923-A84B-128147BB854C}"/>
                </a:ext>
              </a:extLst>
            </p:cNvPr>
            <p:cNvSpPr/>
            <p:nvPr/>
          </p:nvSpPr>
          <p:spPr bwMode="auto">
            <a:xfrm>
              <a:off x="5641975" y="3173413"/>
              <a:ext cx="152400" cy="450850"/>
            </a:xfrm>
            <a:custGeom>
              <a:avLst/>
              <a:gdLst>
                <a:gd name="T0" fmla="*/ 5 w 60"/>
                <a:gd name="T1" fmla="*/ 0 h 178"/>
                <a:gd name="T2" fmla="*/ 0 w 60"/>
                <a:gd name="T3" fmla="*/ 16 h 178"/>
                <a:gd name="T4" fmla="*/ 0 w 60"/>
                <a:gd name="T5" fmla="*/ 138 h 178"/>
                <a:gd name="T6" fmla="*/ 17 w 60"/>
                <a:gd name="T7" fmla="*/ 167 h 178"/>
                <a:gd name="T8" fmla="*/ 30 w 60"/>
                <a:gd name="T9" fmla="*/ 175 h 178"/>
                <a:gd name="T10" fmla="*/ 46 w 60"/>
                <a:gd name="T11" fmla="*/ 178 h 178"/>
                <a:gd name="T12" fmla="*/ 60 w 60"/>
                <a:gd name="T13" fmla="*/ 176 h 178"/>
                <a:gd name="T14" fmla="*/ 56 w 60"/>
                <a:gd name="T15" fmla="*/ 177 h 178"/>
                <a:gd name="T16" fmla="*/ 47 w 60"/>
                <a:gd name="T17" fmla="*/ 165 h 178"/>
                <a:gd name="T18" fmla="*/ 47 w 60"/>
                <a:gd name="T19" fmla="*/ 43 h 178"/>
                <a:gd name="T20" fmla="*/ 47 w 60"/>
                <a:gd name="T21" fmla="*/ 36 h 178"/>
                <a:gd name="T22" fmla="*/ 51 w 60"/>
                <a:gd name="T23" fmla="*/ 27 h 178"/>
                <a:gd name="T24" fmla="*/ 51 w 60"/>
                <a:gd name="T25" fmla="*/ 27 h 178"/>
                <a:gd name="T26" fmla="*/ 51 w 60"/>
                <a:gd name="T27" fmla="*/ 27 h 178"/>
                <a:gd name="T28" fmla="*/ 16 w 60"/>
                <a:gd name="T29" fmla="*/ 6 h 178"/>
                <a:gd name="T30" fmla="*/ 5 w 60"/>
                <a:gd name="T31"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 h="178">
                  <a:moveTo>
                    <a:pt x="5" y="0"/>
                  </a:moveTo>
                  <a:cubicBezTo>
                    <a:pt x="2" y="5"/>
                    <a:pt x="0" y="11"/>
                    <a:pt x="0" y="16"/>
                  </a:cubicBezTo>
                  <a:cubicBezTo>
                    <a:pt x="0" y="138"/>
                    <a:pt x="0" y="138"/>
                    <a:pt x="0" y="138"/>
                  </a:cubicBezTo>
                  <a:cubicBezTo>
                    <a:pt x="0" y="149"/>
                    <a:pt x="8" y="162"/>
                    <a:pt x="17" y="167"/>
                  </a:cubicBezTo>
                  <a:cubicBezTo>
                    <a:pt x="30" y="175"/>
                    <a:pt x="30" y="175"/>
                    <a:pt x="30" y="175"/>
                  </a:cubicBezTo>
                  <a:cubicBezTo>
                    <a:pt x="35" y="177"/>
                    <a:pt x="41" y="178"/>
                    <a:pt x="46" y="178"/>
                  </a:cubicBezTo>
                  <a:cubicBezTo>
                    <a:pt x="51" y="178"/>
                    <a:pt x="56" y="178"/>
                    <a:pt x="60" y="176"/>
                  </a:cubicBezTo>
                  <a:cubicBezTo>
                    <a:pt x="58" y="177"/>
                    <a:pt x="57" y="177"/>
                    <a:pt x="56" y="177"/>
                  </a:cubicBezTo>
                  <a:cubicBezTo>
                    <a:pt x="50" y="177"/>
                    <a:pt x="47" y="172"/>
                    <a:pt x="47" y="165"/>
                  </a:cubicBezTo>
                  <a:cubicBezTo>
                    <a:pt x="47" y="43"/>
                    <a:pt x="47" y="43"/>
                    <a:pt x="47" y="43"/>
                  </a:cubicBezTo>
                  <a:cubicBezTo>
                    <a:pt x="47" y="41"/>
                    <a:pt x="47" y="38"/>
                    <a:pt x="47" y="36"/>
                  </a:cubicBezTo>
                  <a:cubicBezTo>
                    <a:pt x="48" y="33"/>
                    <a:pt x="50" y="30"/>
                    <a:pt x="51" y="27"/>
                  </a:cubicBezTo>
                  <a:cubicBezTo>
                    <a:pt x="51" y="27"/>
                    <a:pt x="51" y="27"/>
                    <a:pt x="51" y="27"/>
                  </a:cubicBezTo>
                  <a:cubicBezTo>
                    <a:pt x="51" y="27"/>
                    <a:pt x="51" y="27"/>
                    <a:pt x="51" y="27"/>
                  </a:cubicBezTo>
                  <a:cubicBezTo>
                    <a:pt x="16" y="6"/>
                    <a:pt x="16" y="6"/>
                    <a:pt x="16" y="6"/>
                  </a:cubicBezTo>
                  <a:cubicBezTo>
                    <a:pt x="5" y="0"/>
                    <a:pt x="5" y="0"/>
                    <a:pt x="5" y="0"/>
                  </a:cubicBezTo>
                </a:path>
              </a:pathLst>
            </a:custGeom>
            <a:solidFill>
              <a:srgbClr val="23C7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3" name="ïšlíḓ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C93C4A70-2D00-4B03-B111-F95B2E8A97F5}"/>
                </a:ext>
              </a:extLst>
            </p:cNvPr>
            <p:cNvSpPr/>
            <p:nvPr/>
          </p:nvSpPr>
          <p:spPr bwMode="auto">
            <a:xfrm>
              <a:off x="5761038" y="3265488"/>
              <a:ext cx="33338" cy="355600"/>
            </a:xfrm>
            <a:custGeom>
              <a:avLst/>
              <a:gdLst>
                <a:gd name="T0" fmla="*/ 0 w 13"/>
                <a:gd name="T1" fmla="*/ 0 h 141"/>
                <a:gd name="T2" fmla="*/ 0 w 13"/>
                <a:gd name="T3" fmla="*/ 7 h 141"/>
                <a:gd name="T4" fmla="*/ 0 w 13"/>
                <a:gd name="T5" fmla="*/ 129 h 141"/>
                <a:gd name="T6" fmla="*/ 9 w 13"/>
                <a:gd name="T7" fmla="*/ 141 h 141"/>
                <a:gd name="T8" fmla="*/ 13 w 13"/>
                <a:gd name="T9" fmla="*/ 140 h 141"/>
                <a:gd name="T10" fmla="*/ 13 w 13"/>
                <a:gd name="T11" fmla="*/ 140 h 141"/>
                <a:gd name="T12" fmla="*/ 9 w 13"/>
                <a:gd name="T13" fmla="*/ 141 h 141"/>
                <a:gd name="T14" fmla="*/ 0 w 13"/>
                <a:gd name="T15" fmla="*/ 129 h 141"/>
                <a:gd name="T16" fmla="*/ 0 w 13"/>
                <a:gd name="T17" fmla="*/ 7 h 141"/>
                <a:gd name="T18" fmla="*/ 0 w 13"/>
                <a:gd name="T19"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41">
                  <a:moveTo>
                    <a:pt x="0" y="0"/>
                  </a:moveTo>
                  <a:cubicBezTo>
                    <a:pt x="0" y="2"/>
                    <a:pt x="0" y="5"/>
                    <a:pt x="0" y="7"/>
                  </a:cubicBezTo>
                  <a:cubicBezTo>
                    <a:pt x="0" y="129"/>
                    <a:pt x="0" y="129"/>
                    <a:pt x="0" y="129"/>
                  </a:cubicBezTo>
                  <a:cubicBezTo>
                    <a:pt x="0" y="136"/>
                    <a:pt x="3" y="141"/>
                    <a:pt x="9" y="141"/>
                  </a:cubicBezTo>
                  <a:cubicBezTo>
                    <a:pt x="10" y="141"/>
                    <a:pt x="11" y="141"/>
                    <a:pt x="13" y="140"/>
                  </a:cubicBezTo>
                  <a:cubicBezTo>
                    <a:pt x="13" y="140"/>
                    <a:pt x="13" y="140"/>
                    <a:pt x="13" y="140"/>
                  </a:cubicBezTo>
                  <a:cubicBezTo>
                    <a:pt x="12" y="140"/>
                    <a:pt x="10" y="141"/>
                    <a:pt x="9" y="141"/>
                  </a:cubicBezTo>
                  <a:cubicBezTo>
                    <a:pt x="3" y="141"/>
                    <a:pt x="0" y="136"/>
                    <a:pt x="0" y="129"/>
                  </a:cubicBezTo>
                  <a:cubicBezTo>
                    <a:pt x="0" y="7"/>
                    <a:pt x="0" y="7"/>
                    <a:pt x="0" y="7"/>
                  </a:cubicBezTo>
                  <a:cubicBezTo>
                    <a:pt x="0" y="5"/>
                    <a:pt x="0" y="2"/>
                    <a:pt x="0" y="0"/>
                  </a:cubicBezTo>
                </a:path>
              </a:pathLst>
            </a:custGeom>
            <a:solidFill>
              <a:srgbClr val="23C7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4" name="ï$ḻîďè">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82AD3C28-66F3-403C-A082-11BDD1997930}"/>
                </a:ext>
              </a:extLst>
            </p:cNvPr>
            <p:cNvSpPr/>
            <p:nvPr/>
          </p:nvSpPr>
          <p:spPr bwMode="auto">
            <a:xfrm>
              <a:off x="5683250" y="3189288"/>
              <a:ext cx="88900" cy="52388"/>
            </a:xfrm>
            <a:custGeom>
              <a:avLst/>
              <a:gdLst>
                <a:gd name="T0" fmla="*/ 0 w 35"/>
                <a:gd name="T1" fmla="*/ 0 h 21"/>
                <a:gd name="T2" fmla="*/ 35 w 35"/>
                <a:gd name="T3" fmla="*/ 21 h 21"/>
                <a:gd name="T4" fmla="*/ 35 w 35"/>
                <a:gd name="T5" fmla="*/ 21 h 21"/>
                <a:gd name="T6" fmla="*/ 0 w 35"/>
                <a:gd name="T7" fmla="*/ 0 h 21"/>
              </a:gdLst>
              <a:ahLst/>
              <a:cxnLst>
                <a:cxn ang="0">
                  <a:pos x="T0" y="T1"/>
                </a:cxn>
                <a:cxn ang="0">
                  <a:pos x="T2" y="T3"/>
                </a:cxn>
                <a:cxn ang="0">
                  <a:pos x="T4" y="T5"/>
                </a:cxn>
                <a:cxn ang="0">
                  <a:pos x="T6" y="T7"/>
                </a:cxn>
              </a:cxnLst>
              <a:rect l="0" t="0" r="r" b="b"/>
              <a:pathLst>
                <a:path w="35" h="21">
                  <a:moveTo>
                    <a:pt x="0" y="0"/>
                  </a:moveTo>
                  <a:cubicBezTo>
                    <a:pt x="35" y="21"/>
                    <a:pt x="35" y="21"/>
                    <a:pt x="35" y="21"/>
                  </a:cubicBezTo>
                  <a:cubicBezTo>
                    <a:pt x="35" y="21"/>
                    <a:pt x="35" y="21"/>
                    <a:pt x="35" y="21"/>
                  </a:cubicBezTo>
                  <a:cubicBezTo>
                    <a:pt x="0" y="0"/>
                    <a:pt x="0" y="0"/>
                    <a:pt x="0" y="0"/>
                  </a:cubicBezTo>
                </a:path>
              </a:pathLst>
            </a:custGeom>
            <a:solidFill>
              <a:srgbClr val="70D3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5" name="ïṣḻïḍé">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219665D4-B62B-4F4A-BC23-D9FECDC69F64}"/>
                </a:ext>
              </a:extLst>
            </p:cNvPr>
            <p:cNvSpPr/>
            <p:nvPr/>
          </p:nvSpPr>
          <p:spPr bwMode="auto">
            <a:xfrm>
              <a:off x="5837238" y="3189288"/>
              <a:ext cx="193675" cy="295275"/>
            </a:xfrm>
            <a:custGeom>
              <a:avLst/>
              <a:gdLst>
                <a:gd name="T0" fmla="*/ 75 w 76"/>
                <a:gd name="T1" fmla="*/ 64 h 117"/>
                <a:gd name="T2" fmla="*/ 75 w 76"/>
                <a:gd name="T3" fmla="*/ 64 h 117"/>
                <a:gd name="T4" fmla="*/ 73 w 76"/>
                <a:gd name="T5" fmla="*/ 64 h 117"/>
                <a:gd name="T6" fmla="*/ 59 w 76"/>
                <a:gd name="T7" fmla="*/ 52 h 117"/>
                <a:gd name="T8" fmla="*/ 59 w 76"/>
                <a:gd name="T9" fmla="*/ 48 h 117"/>
                <a:gd name="T10" fmla="*/ 63 w 76"/>
                <a:gd name="T11" fmla="*/ 43 h 117"/>
                <a:gd name="T12" fmla="*/ 67 w 76"/>
                <a:gd name="T13" fmla="*/ 36 h 117"/>
                <a:gd name="T14" fmla="*/ 68 w 76"/>
                <a:gd name="T15" fmla="*/ 35 h 117"/>
                <a:gd name="T16" fmla="*/ 68 w 76"/>
                <a:gd name="T17" fmla="*/ 32 h 117"/>
                <a:gd name="T18" fmla="*/ 67 w 76"/>
                <a:gd name="T19" fmla="*/ 31 h 117"/>
                <a:gd name="T20" fmla="*/ 64 w 76"/>
                <a:gd name="T21" fmla="*/ 32 h 117"/>
                <a:gd name="T22" fmla="*/ 61 w 76"/>
                <a:gd name="T23" fmla="*/ 35 h 117"/>
                <a:gd name="T24" fmla="*/ 59 w 76"/>
                <a:gd name="T25" fmla="*/ 36 h 117"/>
                <a:gd name="T26" fmla="*/ 59 w 76"/>
                <a:gd name="T27" fmla="*/ 35 h 117"/>
                <a:gd name="T28" fmla="*/ 59 w 76"/>
                <a:gd name="T29" fmla="*/ 27 h 117"/>
                <a:gd name="T30" fmla="*/ 58 w 76"/>
                <a:gd name="T31" fmla="*/ 14 h 117"/>
                <a:gd name="T32" fmla="*/ 41 w 76"/>
                <a:gd name="T33" fmla="*/ 2 h 117"/>
                <a:gd name="T34" fmla="*/ 25 w 76"/>
                <a:gd name="T35" fmla="*/ 17 h 117"/>
                <a:gd name="T36" fmla="*/ 18 w 76"/>
                <a:gd name="T37" fmla="*/ 33 h 117"/>
                <a:gd name="T38" fmla="*/ 18 w 76"/>
                <a:gd name="T39" fmla="*/ 60 h 117"/>
                <a:gd name="T40" fmla="*/ 14 w 76"/>
                <a:gd name="T41" fmla="*/ 62 h 117"/>
                <a:gd name="T42" fmla="*/ 12 w 76"/>
                <a:gd name="T43" fmla="*/ 62 h 117"/>
                <a:gd name="T44" fmla="*/ 9 w 76"/>
                <a:gd name="T45" fmla="*/ 64 h 117"/>
                <a:gd name="T46" fmla="*/ 9 w 76"/>
                <a:gd name="T47" fmla="*/ 64 h 117"/>
                <a:gd name="T48" fmla="*/ 8 w 76"/>
                <a:gd name="T49" fmla="*/ 68 h 117"/>
                <a:gd name="T50" fmla="*/ 9 w 76"/>
                <a:gd name="T51" fmla="*/ 70 h 117"/>
                <a:gd name="T52" fmla="*/ 10 w 76"/>
                <a:gd name="T53" fmla="*/ 71 h 117"/>
                <a:gd name="T54" fmla="*/ 17 w 76"/>
                <a:gd name="T55" fmla="*/ 73 h 117"/>
                <a:gd name="T56" fmla="*/ 16 w 76"/>
                <a:gd name="T57" fmla="*/ 80 h 117"/>
                <a:gd name="T58" fmla="*/ 3 w 76"/>
                <a:gd name="T59" fmla="*/ 105 h 117"/>
                <a:gd name="T60" fmla="*/ 1 w 76"/>
                <a:gd name="T61" fmla="*/ 108 h 117"/>
                <a:gd name="T62" fmla="*/ 1 w 76"/>
                <a:gd name="T63" fmla="*/ 111 h 117"/>
                <a:gd name="T64" fmla="*/ 2 w 76"/>
                <a:gd name="T65" fmla="*/ 111 h 117"/>
                <a:gd name="T66" fmla="*/ 7 w 76"/>
                <a:gd name="T67" fmla="*/ 111 h 117"/>
                <a:gd name="T68" fmla="*/ 11 w 76"/>
                <a:gd name="T69" fmla="*/ 112 h 117"/>
                <a:gd name="T70" fmla="*/ 12 w 76"/>
                <a:gd name="T71" fmla="*/ 117 h 117"/>
                <a:gd name="T72" fmla="*/ 14 w 76"/>
                <a:gd name="T73" fmla="*/ 116 h 117"/>
                <a:gd name="T74" fmla="*/ 30 w 76"/>
                <a:gd name="T75" fmla="*/ 113 h 117"/>
                <a:gd name="T76" fmla="*/ 36 w 76"/>
                <a:gd name="T77" fmla="*/ 113 h 117"/>
                <a:gd name="T78" fmla="*/ 41 w 76"/>
                <a:gd name="T79" fmla="*/ 109 h 117"/>
                <a:gd name="T80" fmla="*/ 45 w 76"/>
                <a:gd name="T81" fmla="*/ 105 h 117"/>
                <a:gd name="T82" fmla="*/ 53 w 76"/>
                <a:gd name="T83" fmla="*/ 93 h 117"/>
                <a:gd name="T84" fmla="*/ 57 w 76"/>
                <a:gd name="T85" fmla="*/ 90 h 117"/>
                <a:gd name="T86" fmla="*/ 64 w 76"/>
                <a:gd name="T87" fmla="*/ 87 h 117"/>
                <a:gd name="T88" fmla="*/ 65 w 76"/>
                <a:gd name="T89" fmla="*/ 86 h 117"/>
                <a:gd name="T90" fmla="*/ 65 w 76"/>
                <a:gd name="T91" fmla="*/ 84 h 117"/>
                <a:gd name="T92" fmla="*/ 66 w 76"/>
                <a:gd name="T93" fmla="*/ 78 h 117"/>
                <a:gd name="T94" fmla="*/ 68 w 76"/>
                <a:gd name="T95" fmla="*/ 77 h 117"/>
                <a:gd name="T96" fmla="*/ 73 w 76"/>
                <a:gd name="T97" fmla="*/ 71 h 117"/>
                <a:gd name="T98" fmla="*/ 75 w 76"/>
                <a:gd name="T99" fmla="*/ 6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6" h="117">
                  <a:moveTo>
                    <a:pt x="75" y="64"/>
                  </a:moveTo>
                  <a:cubicBezTo>
                    <a:pt x="75" y="64"/>
                    <a:pt x="75" y="64"/>
                    <a:pt x="75" y="64"/>
                  </a:cubicBezTo>
                  <a:cubicBezTo>
                    <a:pt x="75" y="64"/>
                    <a:pt x="75" y="64"/>
                    <a:pt x="75" y="64"/>
                  </a:cubicBezTo>
                  <a:cubicBezTo>
                    <a:pt x="75" y="64"/>
                    <a:pt x="75" y="64"/>
                    <a:pt x="75" y="64"/>
                  </a:cubicBezTo>
                  <a:cubicBezTo>
                    <a:pt x="74" y="64"/>
                    <a:pt x="73" y="64"/>
                    <a:pt x="73" y="64"/>
                  </a:cubicBezTo>
                  <a:cubicBezTo>
                    <a:pt x="73" y="64"/>
                    <a:pt x="73" y="64"/>
                    <a:pt x="73" y="64"/>
                  </a:cubicBezTo>
                  <a:cubicBezTo>
                    <a:pt x="69" y="65"/>
                    <a:pt x="65" y="63"/>
                    <a:pt x="63" y="59"/>
                  </a:cubicBezTo>
                  <a:cubicBezTo>
                    <a:pt x="61" y="57"/>
                    <a:pt x="60" y="55"/>
                    <a:pt x="59" y="52"/>
                  </a:cubicBezTo>
                  <a:cubicBezTo>
                    <a:pt x="59" y="52"/>
                    <a:pt x="59" y="52"/>
                    <a:pt x="59" y="52"/>
                  </a:cubicBezTo>
                  <a:cubicBezTo>
                    <a:pt x="59" y="51"/>
                    <a:pt x="59" y="49"/>
                    <a:pt x="59" y="48"/>
                  </a:cubicBezTo>
                  <a:cubicBezTo>
                    <a:pt x="59" y="48"/>
                    <a:pt x="59" y="48"/>
                    <a:pt x="59" y="48"/>
                  </a:cubicBezTo>
                  <a:cubicBezTo>
                    <a:pt x="60" y="46"/>
                    <a:pt x="61" y="44"/>
                    <a:pt x="63" y="43"/>
                  </a:cubicBezTo>
                  <a:cubicBezTo>
                    <a:pt x="63" y="43"/>
                    <a:pt x="63" y="43"/>
                    <a:pt x="63" y="43"/>
                  </a:cubicBezTo>
                  <a:cubicBezTo>
                    <a:pt x="64" y="41"/>
                    <a:pt x="66" y="39"/>
                    <a:pt x="67" y="36"/>
                  </a:cubicBezTo>
                  <a:cubicBezTo>
                    <a:pt x="67" y="36"/>
                    <a:pt x="67" y="36"/>
                    <a:pt x="67" y="36"/>
                  </a:cubicBezTo>
                  <a:cubicBezTo>
                    <a:pt x="68" y="36"/>
                    <a:pt x="68" y="35"/>
                    <a:pt x="68" y="35"/>
                  </a:cubicBezTo>
                  <a:cubicBezTo>
                    <a:pt x="68" y="34"/>
                    <a:pt x="68" y="34"/>
                    <a:pt x="68" y="34"/>
                  </a:cubicBezTo>
                  <a:cubicBezTo>
                    <a:pt x="68" y="33"/>
                    <a:pt x="68" y="33"/>
                    <a:pt x="68" y="32"/>
                  </a:cubicBezTo>
                  <a:cubicBezTo>
                    <a:pt x="68" y="32"/>
                    <a:pt x="68" y="32"/>
                    <a:pt x="68" y="32"/>
                  </a:cubicBezTo>
                  <a:cubicBezTo>
                    <a:pt x="68" y="31"/>
                    <a:pt x="67" y="31"/>
                    <a:pt x="67" y="31"/>
                  </a:cubicBezTo>
                  <a:cubicBezTo>
                    <a:pt x="67" y="31"/>
                    <a:pt x="67" y="31"/>
                    <a:pt x="67" y="31"/>
                  </a:cubicBezTo>
                  <a:cubicBezTo>
                    <a:pt x="66" y="31"/>
                    <a:pt x="65" y="31"/>
                    <a:pt x="64" y="32"/>
                  </a:cubicBezTo>
                  <a:cubicBezTo>
                    <a:pt x="64" y="32"/>
                    <a:pt x="64" y="32"/>
                    <a:pt x="64" y="32"/>
                  </a:cubicBezTo>
                  <a:cubicBezTo>
                    <a:pt x="63" y="33"/>
                    <a:pt x="62" y="34"/>
                    <a:pt x="61" y="35"/>
                  </a:cubicBezTo>
                  <a:cubicBezTo>
                    <a:pt x="61" y="35"/>
                    <a:pt x="61" y="35"/>
                    <a:pt x="61" y="35"/>
                  </a:cubicBezTo>
                  <a:cubicBezTo>
                    <a:pt x="60" y="35"/>
                    <a:pt x="59" y="36"/>
                    <a:pt x="59" y="36"/>
                  </a:cubicBezTo>
                  <a:cubicBezTo>
                    <a:pt x="59" y="36"/>
                    <a:pt x="59" y="36"/>
                    <a:pt x="59" y="35"/>
                  </a:cubicBezTo>
                  <a:cubicBezTo>
                    <a:pt x="59" y="35"/>
                    <a:pt x="59" y="35"/>
                    <a:pt x="59" y="35"/>
                  </a:cubicBezTo>
                  <a:cubicBezTo>
                    <a:pt x="58" y="33"/>
                    <a:pt x="59" y="30"/>
                    <a:pt x="59" y="27"/>
                  </a:cubicBezTo>
                  <a:cubicBezTo>
                    <a:pt x="59" y="27"/>
                    <a:pt x="59" y="27"/>
                    <a:pt x="59" y="27"/>
                  </a:cubicBezTo>
                  <a:cubicBezTo>
                    <a:pt x="59" y="23"/>
                    <a:pt x="59" y="19"/>
                    <a:pt x="58" y="15"/>
                  </a:cubicBezTo>
                  <a:cubicBezTo>
                    <a:pt x="58" y="14"/>
                    <a:pt x="58" y="14"/>
                    <a:pt x="58" y="14"/>
                  </a:cubicBezTo>
                  <a:cubicBezTo>
                    <a:pt x="58" y="8"/>
                    <a:pt x="55" y="3"/>
                    <a:pt x="51" y="1"/>
                  </a:cubicBezTo>
                  <a:cubicBezTo>
                    <a:pt x="48" y="0"/>
                    <a:pt x="45" y="0"/>
                    <a:pt x="41" y="2"/>
                  </a:cubicBezTo>
                  <a:cubicBezTo>
                    <a:pt x="40" y="2"/>
                    <a:pt x="39" y="3"/>
                    <a:pt x="38" y="3"/>
                  </a:cubicBezTo>
                  <a:cubicBezTo>
                    <a:pt x="33" y="6"/>
                    <a:pt x="28" y="11"/>
                    <a:pt x="25" y="17"/>
                  </a:cubicBezTo>
                  <a:cubicBezTo>
                    <a:pt x="22" y="22"/>
                    <a:pt x="20" y="28"/>
                    <a:pt x="18" y="33"/>
                  </a:cubicBezTo>
                  <a:cubicBezTo>
                    <a:pt x="18" y="33"/>
                    <a:pt x="18" y="33"/>
                    <a:pt x="18" y="33"/>
                  </a:cubicBezTo>
                  <a:cubicBezTo>
                    <a:pt x="17" y="39"/>
                    <a:pt x="17" y="45"/>
                    <a:pt x="17" y="50"/>
                  </a:cubicBezTo>
                  <a:cubicBezTo>
                    <a:pt x="18" y="53"/>
                    <a:pt x="18" y="56"/>
                    <a:pt x="18" y="60"/>
                  </a:cubicBezTo>
                  <a:cubicBezTo>
                    <a:pt x="18" y="60"/>
                    <a:pt x="18" y="60"/>
                    <a:pt x="18" y="60"/>
                  </a:cubicBezTo>
                  <a:cubicBezTo>
                    <a:pt x="17" y="61"/>
                    <a:pt x="15" y="61"/>
                    <a:pt x="14" y="62"/>
                  </a:cubicBezTo>
                  <a:cubicBezTo>
                    <a:pt x="14" y="62"/>
                    <a:pt x="14" y="62"/>
                    <a:pt x="14" y="62"/>
                  </a:cubicBezTo>
                  <a:cubicBezTo>
                    <a:pt x="14" y="62"/>
                    <a:pt x="13" y="62"/>
                    <a:pt x="12" y="62"/>
                  </a:cubicBezTo>
                  <a:cubicBezTo>
                    <a:pt x="12" y="62"/>
                    <a:pt x="12" y="62"/>
                    <a:pt x="12" y="62"/>
                  </a:cubicBezTo>
                  <a:cubicBezTo>
                    <a:pt x="11" y="62"/>
                    <a:pt x="10" y="63"/>
                    <a:pt x="9" y="64"/>
                  </a:cubicBezTo>
                  <a:cubicBezTo>
                    <a:pt x="9" y="64"/>
                    <a:pt x="9" y="64"/>
                    <a:pt x="9" y="64"/>
                  </a:cubicBezTo>
                  <a:cubicBezTo>
                    <a:pt x="9" y="64"/>
                    <a:pt x="9" y="64"/>
                    <a:pt x="9" y="64"/>
                  </a:cubicBezTo>
                  <a:cubicBezTo>
                    <a:pt x="9" y="65"/>
                    <a:pt x="8" y="67"/>
                    <a:pt x="8" y="68"/>
                  </a:cubicBezTo>
                  <a:cubicBezTo>
                    <a:pt x="8" y="68"/>
                    <a:pt x="8" y="68"/>
                    <a:pt x="8" y="68"/>
                  </a:cubicBezTo>
                  <a:cubicBezTo>
                    <a:pt x="8" y="69"/>
                    <a:pt x="8" y="69"/>
                    <a:pt x="8" y="69"/>
                  </a:cubicBezTo>
                  <a:cubicBezTo>
                    <a:pt x="8" y="69"/>
                    <a:pt x="8" y="70"/>
                    <a:pt x="9" y="70"/>
                  </a:cubicBezTo>
                  <a:cubicBezTo>
                    <a:pt x="10" y="71"/>
                    <a:pt x="10" y="71"/>
                    <a:pt x="10" y="71"/>
                  </a:cubicBezTo>
                  <a:cubicBezTo>
                    <a:pt x="10" y="71"/>
                    <a:pt x="10" y="71"/>
                    <a:pt x="10" y="71"/>
                  </a:cubicBezTo>
                  <a:cubicBezTo>
                    <a:pt x="11" y="71"/>
                    <a:pt x="13" y="71"/>
                    <a:pt x="15" y="71"/>
                  </a:cubicBezTo>
                  <a:cubicBezTo>
                    <a:pt x="16" y="71"/>
                    <a:pt x="17" y="72"/>
                    <a:pt x="17" y="73"/>
                  </a:cubicBezTo>
                  <a:cubicBezTo>
                    <a:pt x="17" y="75"/>
                    <a:pt x="17" y="77"/>
                    <a:pt x="16" y="80"/>
                  </a:cubicBezTo>
                  <a:cubicBezTo>
                    <a:pt x="16" y="80"/>
                    <a:pt x="16" y="80"/>
                    <a:pt x="16" y="80"/>
                  </a:cubicBezTo>
                  <a:cubicBezTo>
                    <a:pt x="14" y="86"/>
                    <a:pt x="12" y="92"/>
                    <a:pt x="8" y="98"/>
                  </a:cubicBezTo>
                  <a:cubicBezTo>
                    <a:pt x="7" y="101"/>
                    <a:pt x="5" y="103"/>
                    <a:pt x="3" y="105"/>
                  </a:cubicBezTo>
                  <a:cubicBezTo>
                    <a:pt x="3" y="105"/>
                    <a:pt x="3" y="105"/>
                    <a:pt x="3" y="105"/>
                  </a:cubicBezTo>
                  <a:cubicBezTo>
                    <a:pt x="2" y="106"/>
                    <a:pt x="1" y="106"/>
                    <a:pt x="1" y="108"/>
                  </a:cubicBezTo>
                  <a:cubicBezTo>
                    <a:pt x="1" y="109"/>
                    <a:pt x="1" y="109"/>
                    <a:pt x="1" y="109"/>
                  </a:cubicBezTo>
                  <a:cubicBezTo>
                    <a:pt x="0" y="110"/>
                    <a:pt x="1" y="111"/>
                    <a:pt x="1" y="111"/>
                  </a:cubicBezTo>
                  <a:cubicBezTo>
                    <a:pt x="2" y="111"/>
                    <a:pt x="2" y="111"/>
                    <a:pt x="2" y="111"/>
                  </a:cubicBezTo>
                  <a:cubicBezTo>
                    <a:pt x="2" y="111"/>
                    <a:pt x="2" y="111"/>
                    <a:pt x="2" y="111"/>
                  </a:cubicBezTo>
                  <a:cubicBezTo>
                    <a:pt x="3" y="112"/>
                    <a:pt x="5" y="112"/>
                    <a:pt x="7" y="111"/>
                  </a:cubicBezTo>
                  <a:cubicBezTo>
                    <a:pt x="7" y="111"/>
                    <a:pt x="7" y="111"/>
                    <a:pt x="7" y="111"/>
                  </a:cubicBezTo>
                  <a:cubicBezTo>
                    <a:pt x="8" y="111"/>
                    <a:pt x="9" y="111"/>
                    <a:pt x="10" y="111"/>
                  </a:cubicBezTo>
                  <a:cubicBezTo>
                    <a:pt x="10" y="111"/>
                    <a:pt x="10" y="111"/>
                    <a:pt x="11" y="112"/>
                  </a:cubicBezTo>
                  <a:cubicBezTo>
                    <a:pt x="11" y="113"/>
                    <a:pt x="11" y="115"/>
                    <a:pt x="11" y="116"/>
                  </a:cubicBezTo>
                  <a:cubicBezTo>
                    <a:pt x="12" y="117"/>
                    <a:pt x="12" y="117"/>
                    <a:pt x="12" y="117"/>
                  </a:cubicBezTo>
                  <a:cubicBezTo>
                    <a:pt x="13" y="117"/>
                    <a:pt x="13" y="116"/>
                    <a:pt x="13" y="116"/>
                  </a:cubicBezTo>
                  <a:cubicBezTo>
                    <a:pt x="14" y="116"/>
                    <a:pt x="14" y="116"/>
                    <a:pt x="14" y="116"/>
                  </a:cubicBezTo>
                  <a:cubicBezTo>
                    <a:pt x="16" y="113"/>
                    <a:pt x="19" y="111"/>
                    <a:pt x="22" y="111"/>
                  </a:cubicBezTo>
                  <a:cubicBezTo>
                    <a:pt x="25" y="110"/>
                    <a:pt x="27" y="112"/>
                    <a:pt x="30" y="113"/>
                  </a:cubicBezTo>
                  <a:cubicBezTo>
                    <a:pt x="30" y="113"/>
                    <a:pt x="30" y="113"/>
                    <a:pt x="30" y="113"/>
                  </a:cubicBezTo>
                  <a:cubicBezTo>
                    <a:pt x="31" y="113"/>
                    <a:pt x="34" y="114"/>
                    <a:pt x="36" y="113"/>
                  </a:cubicBezTo>
                  <a:cubicBezTo>
                    <a:pt x="36" y="113"/>
                    <a:pt x="36" y="113"/>
                    <a:pt x="36" y="113"/>
                  </a:cubicBezTo>
                  <a:cubicBezTo>
                    <a:pt x="38" y="112"/>
                    <a:pt x="39" y="110"/>
                    <a:pt x="41" y="109"/>
                  </a:cubicBezTo>
                  <a:cubicBezTo>
                    <a:pt x="41" y="109"/>
                    <a:pt x="41" y="109"/>
                    <a:pt x="41" y="109"/>
                  </a:cubicBezTo>
                  <a:cubicBezTo>
                    <a:pt x="43" y="108"/>
                    <a:pt x="44" y="107"/>
                    <a:pt x="45" y="105"/>
                  </a:cubicBezTo>
                  <a:cubicBezTo>
                    <a:pt x="45" y="105"/>
                    <a:pt x="45" y="105"/>
                    <a:pt x="45" y="105"/>
                  </a:cubicBezTo>
                  <a:cubicBezTo>
                    <a:pt x="48" y="100"/>
                    <a:pt x="51" y="96"/>
                    <a:pt x="53" y="93"/>
                  </a:cubicBezTo>
                  <a:cubicBezTo>
                    <a:pt x="54" y="93"/>
                    <a:pt x="54" y="93"/>
                    <a:pt x="54" y="93"/>
                  </a:cubicBezTo>
                  <a:cubicBezTo>
                    <a:pt x="54" y="92"/>
                    <a:pt x="56" y="91"/>
                    <a:pt x="57" y="90"/>
                  </a:cubicBezTo>
                  <a:cubicBezTo>
                    <a:pt x="57" y="90"/>
                    <a:pt x="57" y="90"/>
                    <a:pt x="57" y="90"/>
                  </a:cubicBezTo>
                  <a:cubicBezTo>
                    <a:pt x="59" y="89"/>
                    <a:pt x="61" y="88"/>
                    <a:pt x="64" y="87"/>
                  </a:cubicBezTo>
                  <a:cubicBezTo>
                    <a:pt x="64" y="87"/>
                    <a:pt x="64" y="87"/>
                    <a:pt x="64" y="87"/>
                  </a:cubicBezTo>
                  <a:cubicBezTo>
                    <a:pt x="64" y="86"/>
                    <a:pt x="64" y="86"/>
                    <a:pt x="65" y="86"/>
                  </a:cubicBezTo>
                  <a:cubicBezTo>
                    <a:pt x="65" y="85"/>
                    <a:pt x="65" y="85"/>
                    <a:pt x="65" y="85"/>
                  </a:cubicBezTo>
                  <a:cubicBezTo>
                    <a:pt x="65" y="84"/>
                    <a:pt x="65" y="84"/>
                    <a:pt x="65" y="84"/>
                  </a:cubicBezTo>
                  <a:cubicBezTo>
                    <a:pt x="65" y="84"/>
                    <a:pt x="65" y="84"/>
                    <a:pt x="65" y="84"/>
                  </a:cubicBezTo>
                  <a:cubicBezTo>
                    <a:pt x="65" y="82"/>
                    <a:pt x="66" y="80"/>
                    <a:pt x="66" y="78"/>
                  </a:cubicBezTo>
                  <a:cubicBezTo>
                    <a:pt x="67" y="78"/>
                    <a:pt x="67" y="77"/>
                    <a:pt x="68" y="77"/>
                  </a:cubicBezTo>
                  <a:cubicBezTo>
                    <a:pt x="68" y="77"/>
                    <a:pt x="68" y="77"/>
                    <a:pt x="68" y="77"/>
                  </a:cubicBezTo>
                  <a:cubicBezTo>
                    <a:pt x="70" y="75"/>
                    <a:pt x="72" y="73"/>
                    <a:pt x="73" y="71"/>
                  </a:cubicBezTo>
                  <a:cubicBezTo>
                    <a:pt x="73" y="71"/>
                    <a:pt x="73" y="71"/>
                    <a:pt x="73" y="71"/>
                  </a:cubicBezTo>
                  <a:cubicBezTo>
                    <a:pt x="74" y="70"/>
                    <a:pt x="75" y="69"/>
                    <a:pt x="75" y="68"/>
                  </a:cubicBezTo>
                  <a:cubicBezTo>
                    <a:pt x="75" y="67"/>
                    <a:pt x="75" y="67"/>
                    <a:pt x="75" y="67"/>
                  </a:cubicBezTo>
                  <a:cubicBezTo>
                    <a:pt x="76" y="66"/>
                    <a:pt x="76" y="65"/>
                    <a:pt x="75" y="6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chemeClr val="accent1">
                    <a:lumMod val="75000"/>
                    <a:lumOff val="25000"/>
                  </a:schemeClr>
                </a:solidFill>
              </a:endParaRPr>
            </a:p>
          </p:txBody>
        </p:sp>
        <p:sp>
          <p:nvSpPr>
            <p:cNvPr id="66" name="í$ľïḍ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632585BC-B01B-4730-ACE4-0FC889EC96FB}"/>
                </a:ext>
              </a:extLst>
            </p:cNvPr>
            <p:cNvSpPr/>
            <p:nvPr/>
          </p:nvSpPr>
          <p:spPr bwMode="auto">
            <a:xfrm>
              <a:off x="5641975" y="3897313"/>
              <a:ext cx="469900" cy="654050"/>
            </a:xfrm>
            <a:custGeom>
              <a:avLst/>
              <a:gdLst>
                <a:gd name="T0" fmla="*/ 17 w 185"/>
                <a:gd name="T1" fmla="*/ 67 h 259"/>
                <a:gd name="T2" fmla="*/ 123 w 185"/>
                <a:gd name="T3" fmla="*/ 5 h 259"/>
                <a:gd name="T4" fmla="*/ 155 w 185"/>
                <a:gd name="T5" fmla="*/ 5 h 259"/>
                <a:gd name="T6" fmla="*/ 169 w 185"/>
                <a:gd name="T7" fmla="*/ 13 h 259"/>
                <a:gd name="T8" fmla="*/ 185 w 185"/>
                <a:gd name="T9" fmla="*/ 42 h 259"/>
                <a:gd name="T10" fmla="*/ 185 w 185"/>
                <a:gd name="T11" fmla="*/ 164 h 259"/>
                <a:gd name="T12" fmla="*/ 169 w 185"/>
                <a:gd name="T13" fmla="*/ 192 h 259"/>
                <a:gd name="T14" fmla="*/ 63 w 185"/>
                <a:gd name="T15" fmla="*/ 253 h 259"/>
                <a:gd name="T16" fmla="*/ 30 w 185"/>
                <a:gd name="T17" fmla="*/ 253 h 259"/>
                <a:gd name="T18" fmla="*/ 17 w 185"/>
                <a:gd name="T19" fmla="*/ 246 h 259"/>
                <a:gd name="T20" fmla="*/ 0 w 185"/>
                <a:gd name="T21" fmla="*/ 217 h 259"/>
                <a:gd name="T22" fmla="*/ 0 w 185"/>
                <a:gd name="T23" fmla="*/ 95 h 259"/>
                <a:gd name="T24" fmla="*/ 17 w 185"/>
                <a:gd name="T25" fmla="*/ 6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5" h="259">
                  <a:moveTo>
                    <a:pt x="17" y="67"/>
                  </a:moveTo>
                  <a:cubicBezTo>
                    <a:pt x="123" y="5"/>
                    <a:pt x="123" y="5"/>
                    <a:pt x="123" y="5"/>
                  </a:cubicBezTo>
                  <a:cubicBezTo>
                    <a:pt x="132" y="0"/>
                    <a:pt x="146" y="0"/>
                    <a:pt x="155" y="5"/>
                  </a:cubicBezTo>
                  <a:cubicBezTo>
                    <a:pt x="169" y="13"/>
                    <a:pt x="169" y="13"/>
                    <a:pt x="169" y="13"/>
                  </a:cubicBezTo>
                  <a:cubicBezTo>
                    <a:pt x="178" y="18"/>
                    <a:pt x="185" y="31"/>
                    <a:pt x="185" y="42"/>
                  </a:cubicBezTo>
                  <a:cubicBezTo>
                    <a:pt x="185" y="164"/>
                    <a:pt x="185" y="164"/>
                    <a:pt x="185" y="164"/>
                  </a:cubicBezTo>
                  <a:cubicBezTo>
                    <a:pt x="185" y="174"/>
                    <a:pt x="178" y="187"/>
                    <a:pt x="169" y="192"/>
                  </a:cubicBezTo>
                  <a:cubicBezTo>
                    <a:pt x="63" y="253"/>
                    <a:pt x="63" y="253"/>
                    <a:pt x="63" y="253"/>
                  </a:cubicBezTo>
                  <a:cubicBezTo>
                    <a:pt x="54" y="259"/>
                    <a:pt x="39" y="259"/>
                    <a:pt x="30" y="253"/>
                  </a:cubicBezTo>
                  <a:cubicBezTo>
                    <a:pt x="17" y="246"/>
                    <a:pt x="17" y="246"/>
                    <a:pt x="17" y="246"/>
                  </a:cubicBezTo>
                  <a:cubicBezTo>
                    <a:pt x="8" y="240"/>
                    <a:pt x="0" y="228"/>
                    <a:pt x="0" y="217"/>
                  </a:cubicBezTo>
                  <a:cubicBezTo>
                    <a:pt x="0" y="95"/>
                    <a:pt x="0" y="95"/>
                    <a:pt x="0" y="95"/>
                  </a:cubicBezTo>
                  <a:cubicBezTo>
                    <a:pt x="0" y="84"/>
                    <a:pt x="8" y="72"/>
                    <a:pt x="17" y="67"/>
                  </a:cubicBezTo>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7" name="îṣļíḓè">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0A8346EF-EF39-4038-A091-D13611543B0C}"/>
                </a:ext>
              </a:extLst>
            </p:cNvPr>
            <p:cNvSpPr/>
            <p:nvPr/>
          </p:nvSpPr>
          <p:spPr bwMode="auto">
            <a:xfrm>
              <a:off x="5761038" y="3965575"/>
              <a:ext cx="350838" cy="585788"/>
            </a:xfrm>
            <a:custGeom>
              <a:avLst/>
              <a:gdLst>
                <a:gd name="T0" fmla="*/ 138 w 138"/>
                <a:gd name="T1" fmla="*/ 15 h 232"/>
                <a:gd name="T2" fmla="*/ 122 w 138"/>
                <a:gd name="T3" fmla="*/ 5 h 232"/>
                <a:gd name="T4" fmla="*/ 16 w 138"/>
                <a:gd name="T5" fmla="*/ 66 h 232"/>
                <a:gd name="T6" fmla="*/ 0 w 138"/>
                <a:gd name="T7" fmla="*/ 95 h 232"/>
                <a:gd name="T8" fmla="*/ 0 w 138"/>
                <a:gd name="T9" fmla="*/ 217 h 232"/>
                <a:gd name="T10" fmla="*/ 16 w 138"/>
                <a:gd name="T11" fmla="*/ 226 h 232"/>
                <a:gd name="T12" fmla="*/ 122 w 138"/>
                <a:gd name="T13" fmla="*/ 165 h 232"/>
                <a:gd name="T14" fmla="*/ 138 w 138"/>
                <a:gd name="T15" fmla="*/ 137 h 232"/>
                <a:gd name="T16" fmla="*/ 138 w 138"/>
                <a:gd name="T17" fmla="*/ 15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8" h="232">
                  <a:moveTo>
                    <a:pt x="138" y="15"/>
                  </a:moveTo>
                  <a:cubicBezTo>
                    <a:pt x="138" y="4"/>
                    <a:pt x="131" y="0"/>
                    <a:pt x="122" y="5"/>
                  </a:cubicBezTo>
                  <a:cubicBezTo>
                    <a:pt x="16" y="66"/>
                    <a:pt x="16" y="66"/>
                    <a:pt x="16" y="66"/>
                  </a:cubicBezTo>
                  <a:cubicBezTo>
                    <a:pt x="7" y="71"/>
                    <a:pt x="0" y="84"/>
                    <a:pt x="0" y="95"/>
                  </a:cubicBezTo>
                  <a:cubicBezTo>
                    <a:pt x="0" y="217"/>
                    <a:pt x="0" y="217"/>
                    <a:pt x="0" y="217"/>
                  </a:cubicBezTo>
                  <a:cubicBezTo>
                    <a:pt x="0" y="227"/>
                    <a:pt x="7" y="232"/>
                    <a:pt x="16" y="226"/>
                  </a:cubicBezTo>
                  <a:cubicBezTo>
                    <a:pt x="122" y="165"/>
                    <a:pt x="122" y="165"/>
                    <a:pt x="122" y="165"/>
                  </a:cubicBezTo>
                  <a:cubicBezTo>
                    <a:pt x="131" y="160"/>
                    <a:pt x="138" y="147"/>
                    <a:pt x="138" y="137"/>
                  </a:cubicBezTo>
                  <a:cubicBezTo>
                    <a:pt x="138" y="15"/>
                    <a:pt x="138" y="15"/>
                    <a:pt x="138" y="15"/>
                  </a:cubicBezTo>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chemeClr val="accent1">
                    <a:lumMod val="75000"/>
                    <a:lumOff val="25000"/>
                  </a:schemeClr>
                </a:solidFill>
              </a:endParaRPr>
            </a:p>
          </p:txBody>
        </p:sp>
        <p:sp>
          <p:nvSpPr>
            <p:cNvPr id="68" name="ís1iḍè">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1D009981-E95B-457C-976F-8DFA66975915}"/>
                </a:ext>
              </a:extLst>
            </p:cNvPr>
            <p:cNvSpPr/>
            <p:nvPr/>
          </p:nvSpPr>
          <p:spPr bwMode="auto">
            <a:xfrm>
              <a:off x="5829300" y="4167188"/>
              <a:ext cx="109538" cy="252413"/>
            </a:xfrm>
            <a:custGeom>
              <a:avLst/>
              <a:gdLst>
                <a:gd name="T0" fmla="*/ 31 w 43"/>
                <a:gd name="T1" fmla="*/ 81 h 100"/>
                <a:gd name="T2" fmla="*/ 37 w 43"/>
                <a:gd name="T3" fmla="*/ 73 h 100"/>
                <a:gd name="T4" fmla="*/ 40 w 43"/>
                <a:gd name="T5" fmla="*/ 65 h 100"/>
                <a:gd name="T6" fmla="*/ 43 w 43"/>
                <a:gd name="T7" fmla="*/ 50 h 100"/>
                <a:gd name="T8" fmla="*/ 41 w 43"/>
                <a:gd name="T9" fmla="*/ 40 h 100"/>
                <a:gd name="T10" fmla="*/ 35 w 43"/>
                <a:gd name="T11" fmla="*/ 36 h 100"/>
                <a:gd name="T12" fmla="*/ 39 w 43"/>
                <a:gd name="T13" fmla="*/ 29 h 100"/>
                <a:gd name="T14" fmla="*/ 41 w 43"/>
                <a:gd name="T15" fmla="*/ 16 h 100"/>
                <a:gd name="T16" fmla="*/ 39 w 43"/>
                <a:gd name="T17" fmla="*/ 5 h 100"/>
                <a:gd name="T18" fmla="*/ 25 w 43"/>
                <a:gd name="T19" fmla="*/ 4 h 100"/>
                <a:gd name="T20" fmla="*/ 0 w 43"/>
                <a:gd name="T21" fmla="*/ 19 h 100"/>
                <a:gd name="T22" fmla="*/ 0 w 43"/>
                <a:gd name="T23" fmla="*/ 100 h 100"/>
                <a:gd name="T24" fmla="*/ 23 w 43"/>
                <a:gd name="T25" fmla="*/ 86 h 100"/>
                <a:gd name="T26" fmla="*/ 31 w 43"/>
                <a:gd name="T27" fmla="*/ 81 h 100"/>
                <a:gd name="T28" fmla="*/ 10 w 43"/>
                <a:gd name="T29" fmla="*/ 27 h 100"/>
                <a:gd name="T30" fmla="*/ 21 w 43"/>
                <a:gd name="T31" fmla="*/ 20 h 100"/>
                <a:gd name="T32" fmla="*/ 28 w 43"/>
                <a:gd name="T33" fmla="*/ 18 h 100"/>
                <a:gd name="T34" fmla="*/ 30 w 43"/>
                <a:gd name="T35" fmla="*/ 24 h 100"/>
                <a:gd name="T36" fmla="*/ 28 w 43"/>
                <a:gd name="T37" fmla="*/ 32 h 100"/>
                <a:gd name="T38" fmla="*/ 23 w 43"/>
                <a:gd name="T39" fmla="*/ 37 h 100"/>
                <a:gd name="T40" fmla="*/ 10 w 43"/>
                <a:gd name="T41" fmla="*/ 45 h 100"/>
                <a:gd name="T42" fmla="*/ 10 w 43"/>
                <a:gd name="T43" fmla="*/ 27 h 100"/>
                <a:gd name="T44" fmla="*/ 10 w 43"/>
                <a:gd name="T45" fmla="*/ 80 h 100"/>
                <a:gd name="T46" fmla="*/ 10 w 43"/>
                <a:gd name="T47" fmla="*/ 58 h 100"/>
                <a:gd name="T48" fmla="*/ 23 w 43"/>
                <a:gd name="T49" fmla="*/ 50 h 100"/>
                <a:gd name="T50" fmla="*/ 28 w 43"/>
                <a:gd name="T51" fmla="*/ 49 h 100"/>
                <a:gd name="T52" fmla="*/ 32 w 43"/>
                <a:gd name="T53" fmla="*/ 56 h 100"/>
                <a:gd name="T54" fmla="*/ 28 w 43"/>
                <a:gd name="T55" fmla="*/ 68 h 100"/>
                <a:gd name="T56" fmla="*/ 23 w 43"/>
                <a:gd name="T57" fmla="*/ 72 h 100"/>
                <a:gd name="T58" fmla="*/ 10 w 43"/>
                <a:gd name="T59" fmla="*/ 8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3" h="100">
                  <a:moveTo>
                    <a:pt x="31" y="81"/>
                  </a:moveTo>
                  <a:cubicBezTo>
                    <a:pt x="33" y="79"/>
                    <a:pt x="35" y="76"/>
                    <a:pt x="37" y="73"/>
                  </a:cubicBezTo>
                  <a:cubicBezTo>
                    <a:pt x="38" y="71"/>
                    <a:pt x="39" y="68"/>
                    <a:pt x="40" y="65"/>
                  </a:cubicBezTo>
                  <a:cubicBezTo>
                    <a:pt x="42" y="60"/>
                    <a:pt x="43" y="55"/>
                    <a:pt x="43" y="50"/>
                  </a:cubicBezTo>
                  <a:cubicBezTo>
                    <a:pt x="43" y="46"/>
                    <a:pt x="42" y="42"/>
                    <a:pt x="41" y="40"/>
                  </a:cubicBezTo>
                  <a:cubicBezTo>
                    <a:pt x="39" y="37"/>
                    <a:pt x="37" y="36"/>
                    <a:pt x="35" y="36"/>
                  </a:cubicBezTo>
                  <a:cubicBezTo>
                    <a:pt x="36" y="34"/>
                    <a:pt x="38" y="31"/>
                    <a:pt x="39" y="29"/>
                  </a:cubicBezTo>
                  <a:cubicBezTo>
                    <a:pt x="40" y="25"/>
                    <a:pt x="41" y="21"/>
                    <a:pt x="41" y="16"/>
                  </a:cubicBezTo>
                  <a:cubicBezTo>
                    <a:pt x="41" y="11"/>
                    <a:pt x="40" y="7"/>
                    <a:pt x="39" y="5"/>
                  </a:cubicBezTo>
                  <a:cubicBezTo>
                    <a:pt x="36" y="1"/>
                    <a:pt x="31" y="0"/>
                    <a:pt x="25" y="4"/>
                  </a:cubicBezTo>
                  <a:cubicBezTo>
                    <a:pt x="0" y="19"/>
                    <a:pt x="0" y="19"/>
                    <a:pt x="0" y="19"/>
                  </a:cubicBezTo>
                  <a:cubicBezTo>
                    <a:pt x="0" y="100"/>
                    <a:pt x="0" y="100"/>
                    <a:pt x="0" y="100"/>
                  </a:cubicBezTo>
                  <a:cubicBezTo>
                    <a:pt x="23" y="86"/>
                    <a:pt x="23" y="86"/>
                    <a:pt x="23" y="86"/>
                  </a:cubicBezTo>
                  <a:cubicBezTo>
                    <a:pt x="26" y="84"/>
                    <a:pt x="28" y="83"/>
                    <a:pt x="31" y="81"/>
                  </a:cubicBezTo>
                  <a:close/>
                  <a:moveTo>
                    <a:pt x="10" y="27"/>
                  </a:moveTo>
                  <a:cubicBezTo>
                    <a:pt x="21" y="20"/>
                    <a:pt x="21" y="20"/>
                    <a:pt x="21" y="20"/>
                  </a:cubicBezTo>
                  <a:cubicBezTo>
                    <a:pt x="24" y="19"/>
                    <a:pt x="26" y="18"/>
                    <a:pt x="28" y="18"/>
                  </a:cubicBezTo>
                  <a:cubicBezTo>
                    <a:pt x="30" y="18"/>
                    <a:pt x="30" y="20"/>
                    <a:pt x="30" y="24"/>
                  </a:cubicBezTo>
                  <a:cubicBezTo>
                    <a:pt x="30" y="27"/>
                    <a:pt x="30" y="30"/>
                    <a:pt x="28" y="32"/>
                  </a:cubicBezTo>
                  <a:cubicBezTo>
                    <a:pt x="27" y="34"/>
                    <a:pt x="25" y="36"/>
                    <a:pt x="23" y="37"/>
                  </a:cubicBezTo>
                  <a:cubicBezTo>
                    <a:pt x="10" y="45"/>
                    <a:pt x="10" y="45"/>
                    <a:pt x="10" y="45"/>
                  </a:cubicBezTo>
                  <a:lnTo>
                    <a:pt x="10" y="27"/>
                  </a:lnTo>
                  <a:close/>
                  <a:moveTo>
                    <a:pt x="10" y="80"/>
                  </a:moveTo>
                  <a:cubicBezTo>
                    <a:pt x="10" y="58"/>
                    <a:pt x="10" y="58"/>
                    <a:pt x="10" y="58"/>
                  </a:cubicBezTo>
                  <a:cubicBezTo>
                    <a:pt x="23" y="50"/>
                    <a:pt x="23" y="50"/>
                    <a:pt x="23" y="50"/>
                  </a:cubicBezTo>
                  <a:cubicBezTo>
                    <a:pt x="25" y="49"/>
                    <a:pt x="27" y="49"/>
                    <a:pt x="28" y="49"/>
                  </a:cubicBezTo>
                  <a:cubicBezTo>
                    <a:pt x="30" y="49"/>
                    <a:pt x="32" y="51"/>
                    <a:pt x="32" y="56"/>
                  </a:cubicBezTo>
                  <a:cubicBezTo>
                    <a:pt x="32" y="61"/>
                    <a:pt x="30" y="65"/>
                    <a:pt x="28" y="68"/>
                  </a:cubicBezTo>
                  <a:cubicBezTo>
                    <a:pt x="27" y="69"/>
                    <a:pt x="25" y="71"/>
                    <a:pt x="23" y="72"/>
                  </a:cubicBezTo>
                  <a:lnTo>
                    <a:pt x="10"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9" name="îšlîd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2849F2BB-974C-4485-A1FB-49AA152C6EF5}"/>
                </a:ext>
              </a:extLst>
            </p:cNvPr>
            <p:cNvSpPr/>
            <p:nvPr/>
          </p:nvSpPr>
          <p:spPr bwMode="auto">
            <a:xfrm>
              <a:off x="5946775" y="4162425"/>
              <a:ext cx="96838" cy="174625"/>
            </a:xfrm>
            <a:custGeom>
              <a:avLst/>
              <a:gdLst>
                <a:gd name="T0" fmla="*/ 6 w 38"/>
                <a:gd name="T1" fmla="*/ 66 h 69"/>
                <a:gd name="T2" fmla="*/ 19 w 38"/>
                <a:gd name="T3" fmla="*/ 66 h 69"/>
                <a:gd name="T4" fmla="*/ 34 w 38"/>
                <a:gd name="T5" fmla="*/ 49 h 69"/>
                <a:gd name="T6" fmla="*/ 38 w 38"/>
                <a:gd name="T7" fmla="*/ 36 h 69"/>
                <a:gd name="T8" fmla="*/ 27 w 38"/>
                <a:gd name="T9" fmla="*/ 42 h 69"/>
                <a:gd name="T10" fmla="*/ 25 w 38"/>
                <a:gd name="T11" fmla="*/ 47 h 69"/>
                <a:gd name="T12" fmla="*/ 20 w 38"/>
                <a:gd name="T13" fmla="*/ 53 h 69"/>
                <a:gd name="T14" fmla="*/ 14 w 38"/>
                <a:gd name="T15" fmla="*/ 54 h 69"/>
                <a:gd name="T16" fmla="*/ 10 w 38"/>
                <a:gd name="T17" fmla="*/ 44 h 69"/>
                <a:gd name="T18" fmla="*/ 38 w 38"/>
                <a:gd name="T19" fmla="*/ 27 h 69"/>
                <a:gd name="T20" fmla="*/ 38 w 38"/>
                <a:gd name="T21" fmla="*/ 16 h 69"/>
                <a:gd name="T22" fmla="*/ 35 w 38"/>
                <a:gd name="T23" fmla="*/ 5 h 69"/>
                <a:gd name="T24" fmla="*/ 28 w 38"/>
                <a:gd name="T25" fmla="*/ 0 h 69"/>
                <a:gd name="T26" fmla="*/ 19 w 38"/>
                <a:gd name="T27" fmla="*/ 2 h 69"/>
                <a:gd name="T28" fmla="*/ 5 w 38"/>
                <a:gd name="T29" fmla="*/ 19 h 69"/>
                <a:gd name="T30" fmla="*/ 0 w 38"/>
                <a:gd name="T31" fmla="*/ 46 h 69"/>
                <a:gd name="T32" fmla="*/ 6 w 38"/>
                <a:gd name="T33" fmla="*/ 66 h 69"/>
                <a:gd name="T34" fmla="*/ 13 w 38"/>
                <a:gd name="T35" fmla="*/ 22 h 69"/>
                <a:gd name="T36" fmla="*/ 19 w 38"/>
                <a:gd name="T37" fmla="*/ 15 h 69"/>
                <a:gd name="T38" fmla="*/ 25 w 38"/>
                <a:gd name="T39" fmla="*/ 15 h 69"/>
                <a:gd name="T40" fmla="*/ 28 w 38"/>
                <a:gd name="T41" fmla="*/ 23 h 69"/>
                <a:gd name="T42" fmla="*/ 10 w 38"/>
                <a:gd name="T43" fmla="*/ 33 h 69"/>
                <a:gd name="T44" fmla="*/ 13 w 38"/>
                <a:gd name="T45" fmla="*/ 2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8" h="69">
                  <a:moveTo>
                    <a:pt x="6" y="66"/>
                  </a:moveTo>
                  <a:cubicBezTo>
                    <a:pt x="10" y="69"/>
                    <a:pt x="14" y="69"/>
                    <a:pt x="19" y="66"/>
                  </a:cubicBezTo>
                  <a:cubicBezTo>
                    <a:pt x="26" y="62"/>
                    <a:pt x="30" y="56"/>
                    <a:pt x="34" y="49"/>
                  </a:cubicBezTo>
                  <a:cubicBezTo>
                    <a:pt x="36" y="44"/>
                    <a:pt x="37" y="39"/>
                    <a:pt x="38" y="36"/>
                  </a:cubicBezTo>
                  <a:cubicBezTo>
                    <a:pt x="27" y="42"/>
                    <a:pt x="27" y="42"/>
                    <a:pt x="27" y="42"/>
                  </a:cubicBezTo>
                  <a:cubicBezTo>
                    <a:pt x="27" y="44"/>
                    <a:pt x="26" y="45"/>
                    <a:pt x="25" y="47"/>
                  </a:cubicBezTo>
                  <a:cubicBezTo>
                    <a:pt x="24" y="50"/>
                    <a:pt x="22" y="52"/>
                    <a:pt x="20" y="53"/>
                  </a:cubicBezTo>
                  <a:cubicBezTo>
                    <a:pt x="17" y="54"/>
                    <a:pt x="15" y="54"/>
                    <a:pt x="14" y="54"/>
                  </a:cubicBezTo>
                  <a:cubicBezTo>
                    <a:pt x="11" y="53"/>
                    <a:pt x="10" y="49"/>
                    <a:pt x="10" y="44"/>
                  </a:cubicBezTo>
                  <a:cubicBezTo>
                    <a:pt x="38" y="27"/>
                    <a:pt x="38" y="27"/>
                    <a:pt x="38" y="27"/>
                  </a:cubicBezTo>
                  <a:cubicBezTo>
                    <a:pt x="38" y="22"/>
                    <a:pt x="38" y="18"/>
                    <a:pt x="38" y="16"/>
                  </a:cubicBezTo>
                  <a:cubicBezTo>
                    <a:pt x="37" y="11"/>
                    <a:pt x="36" y="8"/>
                    <a:pt x="35" y="5"/>
                  </a:cubicBezTo>
                  <a:cubicBezTo>
                    <a:pt x="33" y="2"/>
                    <a:pt x="31" y="0"/>
                    <a:pt x="28" y="0"/>
                  </a:cubicBezTo>
                  <a:cubicBezTo>
                    <a:pt x="25" y="0"/>
                    <a:pt x="22" y="0"/>
                    <a:pt x="19" y="2"/>
                  </a:cubicBezTo>
                  <a:cubicBezTo>
                    <a:pt x="13" y="6"/>
                    <a:pt x="9" y="11"/>
                    <a:pt x="5" y="19"/>
                  </a:cubicBezTo>
                  <a:cubicBezTo>
                    <a:pt x="1" y="26"/>
                    <a:pt x="0" y="35"/>
                    <a:pt x="0" y="46"/>
                  </a:cubicBezTo>
                  <a:cubicBezTo>
                    <a:pt x="0" y="57"/>
                    <a:pt x="2" y="64"/>
                    <a:pt x="6" y="66"/>
                  </a:cubicBezTo>
                  <a:close/>
                  <a:moveTo>
                    <a:pt x="13" y="22"/>
                  </a:moveTo>
                  <a:cubicBezTo>
                    <a:pt x="14" y="19"/>
                    <a:pt x="16" y="17"/>
                    <a:pt x="19" y="15"/>
                  </a:cubicBezTo>
                  <a:cubicBezTo>
                    <a:pt x="21" y="14"/>
                    <a:pt x="23" y="14"/>
                    <a:pt x="25" y="15"/>
                  </a:cubicBezTo>
                  <a:cubicBezTo>
                    <a:pt x="27" y="16"/>
                    <a:pt x="27" y="19"/>
                    <a:pt x="28" y="23"/>
                  </a:cubicBezTo>
                  <a:cubicBezTo>
                    <a:pt x="10" y="33"/>
                    <a:pt x="10" y="33"/>
                    <a:pt x="10" y="33"/>
                  </a:cubicBezTo>
                  <a:cubicBezTo>
                    <a:pt x="10" y="29"/>
                    <a:pt x="11" y="25"/>
                    <a:pt x="13"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0" name="ïṩľîḓ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87E1A79B-BF9C-458F-B890-6C919B5C1327}"/>
                </a:ext>
              </a:extLst>
            </p:cNvPr>
            <p:cNvSpPr/>
            <p:nvPr/>
          </p:nvSpPr>
          <p:spPr bwMode="auto">
            <a:xfrm>
              <a:off x="5964238" y="4114800"/>
              <a:ext cx="58738" cy="55563"/>
            </a:xfrm>
            <a:custGeom>
              <a:avLst/>
              <a:gdLst>
                <a:gd name="T0" fmla="*/ 37 w 37"/>
                <a:gd name="T1" fmla="*/ 0 h 35"/>
                <a:gd name="T2" fmla="*/ 0 w 37"/>
                <a:gd name="T3" fmla="*/ 22 h 35"/>
                <a:gd name="T4" fmla="*/ 0 w 37"/>
                <a:gd name="T5" fmla="*/ 35 h 35"/>
                <a:gd name="T6" fmla="*/ 37 w 37"/>
                <a:gd name="T7" fmla="*/ 14 h 35"/>
                <a:gd name="T8" fmla="*/ 37 w 37"/>
                <a:gd name="T9" fmla="*/ 0 h 35"/>
              </a:gdLst>
              <a:ahLst/>
              <a:cxnLst>
                <a:cxn ang="0">
                  <a:pos x="T0" y="T1"/>
                </a:cxn>
                <a:cxn ang="0">
                  <a:pos x="T2" y="T3"/>
                </a:cxn>
                <a:cxn ang="0">
                  <a:pos x="T4" y="T5"/>
                </a:cxn>
                <a:cxn ang="0">
                  <a:pos x="T6" y="T7"/>
                </a:cxn>
                <a:cxn ang="0">
                  <a:pos x="T8" y="T9"/>
                </a:cxn>
              </a:cxnLst>
              <a:rect l="0" t="0" r="r" b="b"/>
              <a:pathLst>
                <a:path w="37" h="35">
                  <a:moveTo>
                    <a:pt x="37" y="0"/>
                  </a:moveTo>
                  <a:lnTo>
                    <a:pt x="0" y="22"/>
                  </a:lnTo>
                  <a:lnTo>
                    <a:pt x="0" y="35"/>
                  </a:lnTo>
                  <a:lnTo>
                    <a:pt x="37" y="14"/>
                  </a:lnTo>
                  <a:lnTo>
                    <a:pt x="3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1" name="iṩ1ïḍ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7567BD69-CC1C-4759-AA69-9399F1FF5A89}"/>
                </a:ext>
              </a:extLst>
            </p:cNvPr>
            <p:cNvSpPr/>
            <p:nvPr/>
          </p:nvSpPr>
          <p:spPr bwMode="auto">
            <a:xfrm>
              <a:off x="5959475" y="3898900"/>
              <a:ext cx="88900" cy="17463"/>
            </a:xfrm>
            <a:custGeom>
              <a:avLst/>
              <a:gdLst>
                <a:gd name="T0" fmla="*/ 0 w 35"/>
                <a:gd name="T1" fmla="*/ 3 h 7"/>
                <a:gd name="T2" fmla="*/ 0 w 35"/>
                <a:gd name="T3" fmla="*/ 3 h 7"/>
                <a:gd name="T4" fmla="*/ 0 w 35"/>
                <a:gd name="T5" fmla="*/ 3 h 7"/>
                <a:gd name="T6" fmla="*/ 0 w 35"/>
                <a:gd name="T7" fmla="*/ 3 h 7"/>
                <a:gd name="T8" fmla="*/ 0 w 35"/>
                <a:gd name="T9" fmla="*/ 3 h 7"/>
                <a:gd name="T10" fmla="*/ 0 w 35"/>
                <a:gd name="T11" fmla="*/ 3 h 7"/>
                <a:gd name="T12" fmla="*/ 14 w 35"/>
                <a:gd name="T13" fmla="*/ 0 h 7"/>
                <a:gd name="T14" fmla="*/ 0 w 35"/>
                <a:gd name="T15" fmla="*/ 3 h 7"/>
                <a:gd name="T16" fmla="*/ 14 w 35"/>
                <a:gd name="T17" fmla="*/ 0 h 7"/>
                <a:gd name="T18" fmla="*/ 30 w 35"/>
                <a:gd name="T19" fmla="*/ 4 h 7"/>
                <a:gd name="T20" fmla="*/ 35 w 35"/>
                <a:gd name="T21" fmla="*/ 7 h 7"/>
                <a:gd name="T22" fmla="*/ 30 w 35"/>
                <a:gd name="T23" fmla="*/ 4 h 7"/>
                <a:gd name="T24" fmla="*/ 14 w 35"/>
                <a:gd name="T2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7">
                  <a:moveTo>
                    <a:pt x="0" y="3"/>
                  </a:moveTo>
                  <a:cubicBezTo>
                    <a:pt x="0" y="3"/>
                    <a:pt x="0" y="3"/>
                    <a:pt x="0" y="3"/>
                  </a:cubicBezTo>
                  <a:cubicBezTo>
                    <a:pt x="0" y="3"/>
                    <a:pt x="0" y="3"/>
                    <a:pt x="0" y="3"/>
                  </a:cubicBezTo>
                  <a:moveTo>
                    <a:pt x="0" y="3"/>
                  </a:moveTo>
                  <a:cubicBezTo>
                    <a:pt x="0" y="3"/>
                    <a:pt x="0" y="3"/>
                    <a:pt x="0" y="3"/>
                  </a:cubicBezTo>
                  <a:cubicBezTo>
                    <a:pt x="0" y="3"/>
                    <a:pt x="0" y="3"/>
                    <a:pt x="0" y="3"/>
                  </a:cubicBezTo>
                  <a:moveTo>
                    <a:pt x="14" y="0"/>
                  </a:moveTo>
                  <a:cubicBezTo>
                    <a:pt x="9" y="0"/>
                    <a:pt x="4" y="1"/>
                    <a:pt x="0" y="3"/>
                  </a:cubicBezTo>
                  <a:cubicBezTo>
                    <a:pt x="4" y="1"/>
                    <a:pt x="9" y="0"/>
                    <a:pt x="14" y="0"/>
                  </a:cubicBezTo>
                  <a:cubicBezTo>
                    <a:pt x="20" y="0"/>
                    <a:pt x="26" y="2"/>
                    <a:pt x="30" y="4"/>
                  </a:cubicBezTo>
                  <a:cubicBezTo>
                    <a:pt x="35" y="7"/>
                    <a:pt x="35" y="7"/>
                    <a:pt x="35" y="7"/>
                  </a:cubicBezTo>
                  <a:cubicBezTo>
                    <a:pt x="30" y="4"/>
                    <a:pt x="30" y="4"/>
                    <a:pt x="30" y="4"/>
                  </a:cubicBezTo>
                  <a:cubicBezTo>
                    <a:pt x="26" y="2"/>
                    <a:pt x="20" y="0"/>
                    <a:pt x="14" y="0"/>
                  </a:cubicBezTo>
                </a:path>
              </a:pathLst>
            </a:custGeom>
            <a:solidFill>
              <a:srgbClr val="F9F9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2" name="išľíḑ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FD987FEC-825A-481D-BBFA-DFD012B0C019}"/>
                </a:ext>
              </a:extLst>
            </p:cNvPr>
            <p:cNvSpPr/>
            <p:nvPr/>
          </p:nvSpPr>
          <p:spPr bwMode="auto">
            <a:xfrm>
              <a:off x="5654675" y="3898900"/>
              <a:ext cx="457200" cy="263525"/>
            </a:xfrm>
            <a:custGeom>
              <a:avLst/>
              <a:gdLst>
                <a:gd name="T0" fmla="*/ 134 w 180"/>
                <a:gd name="T1" fmla="*/ 0 h 104"/>
                <a:gd name="T2" fmla="*/ 120 w 180"/>
                <a:gd name="T3" fmla="*/ 3 h 104"/>
                <a:gd name="T4" fmla="*/ 120 w 180"/>
                <a:gd name="T5" fmla="*/ 3 h 104"/>
                <a:gd name="T6" fmla="*/ 120 w 180"/>
                <a:gd name="T7" fmla="*/ 3 h 104"/>
                <a:gd name="T8" fmla="*/ 120 w 180"/>
                <a:gd name="T9" fmla="*/ 3 h 104"/>
                <a:gd name="T10" fmla="*/ 120 w 180"/>
                <a:gd name="T11" fmla="*/ 3 h 104"/>
                <a:gd name="T12" fmla="*/ 118 w 180"/>
                <a:gd name="T13" fmla="*/ 4 h 104"/>
                <a:gd name="T14" fmla="*/ 12 w 180"/>
                <a:gd name="T15" fmla="*/ 66 h 104"/>
                <a:gd name="T16" fmla="*/ 0 w 180"/>
                <a:gd name="T17" fmla="*/ 78 h 104"/>
                <a:gd name="T18" fmla="*/ 11 w 180"/>
                <a:gd name="T19" fmla="*/ 84 h 104"/>
                <a:gd name="T20" fmla="*/ 46 w 180"/>
                <a:gd name="T21" fmla="*/ 104 h 104"/>
                <a:gd name="T22" fmla="*/ 58 w 180"/>
                <a:gd name="T23" fmla="*/ 92 h 104"/>
                <a:gd name="T24" fmla="*/ 164 w 180"/>
                <a:gd name="T25" fmla="*/ 31 h 104"/>
                <a:gd name="T26" fmla="*/ 167 w 180"/>
                <a:gd name="T27" fmla="*/ 30 h 104"/>
                <a:gd name="T28" fmla="*/ 167 w 180"/>
                <a:gd name="T29" fmla="*/ 30 h 104"/>
                <a:gd name="T30" fmla="*/ 167 w 180"/>
                <a:gd name="T31" fmla="*/ 30 h 104"/>
                <a:gd name="T32" fmla="*/ 171 w 180"/>
                <a:gd name="T33" fmla="*/ 29 h 104"/>
                <a:gd name="T34" fmla="*/ 180 w 180"/>
                <a:gd name="T35" fmla="*/ 38 h 104"/>
                <a:gd name="T36" fmla="*/ 164 w 180"/>
                <a:gd name="T37" fmla="*/ 12 h 104"/>
                <a:gd name="T38" fmla="*/ 155 w 180"/>
                <a:gd name="T39" fmla="*/ 7 h 104"/>
                <a:gd name="T40" fmla="*/ 150 w 180"/>
                <a:gd name="T41" fmla="*/ 4 h 104"/>
                <a:gd name="T42" fmla="*/ 134 w 180"/>
                <a:gd name="T43"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0" h="104">
                  <a:moveTo>
                    <a:pt x="134" y="0"/>
                  </a:moveTo>
                  <a:cubicBezTo>
                    <a:pt x="129" y="0"/>
                    <a:pt x="124" y="1"/>
                    <a:pt x="120" y="3"/>
                  </a:cubicBezTo>
                  <a:cubicBezTo>
                    <a:pt x="120" y="3"/>
                    <a:pt x="120" y="3"/>
                    <a:pt x="120" y="3"/>
                  </a:cubicBezTo>
                  <a:cubicBezTo>
                    <a:pt x="120" y="3"/>
                    <a:pt x="120" y="3"/>
                    <a:pt x="120" y="3"/>
                  </a:cubicBezTo>
                  <a:cubicBezTo>
                    <a:pt x="120" y="3"/>
                    <a:pt x="120" y="3"/>
                    <a:pt x="120" y="3"/>
                  </a:cubicBezTo>
                  <a:cubicBezTo>
                    <a:pt x="120" y="3"/>
                    <a:pt x="120" y="3"/>
                    <a:pt x="120" y="3"/>
                  </a:cubicBezTo>
                  <a:cubicBezTo>
                    <a:pt x="119" y="4"/>
                    <a:pt x="118" y="4"/>
                    <a:pt x="118" y="4"/>
                  </a:cubicBezTo>
                  <a:cubicBezTo>
                    <a:pt x="12" y="66"/>
                    <a:pt x="12" y="66"/>
                    <a:pt x="12" y="66"/>
                  </a:cubicBezTo>
                  <a:cubicBezTo>
                    <a:pt x="7" y="68"/>
                    <a:pt x="3" y="73"/>
                    <a:pt x="0" y="78"/>
                  </a:cubicBezTo>
                  <a:cubicBezTo>
                    <a:pt x="11" y="84"/>
                    <a:pt x="11" y="84"/>
                    <a:pt x="11" y="84"/>
                  </a:cubicBezTo>
                  <a:cubicBezTo>
                    <a:pt x="46" y="104"/>
                    <a:pt x="46" y="104"/>
                    <a:pt x="46" y="104"/>
                  </a:cubicBezTo>
                  <a:cubicBezTo>
                    <a:pt x="49" y="99"/>
                    <a:pt x="53" y="95"/>
                    <a:pt x="58" y="92"/>
                  </a:cubicBezTo>
                  <a:cubicBezTo>
                    <a:pt x="164" y="31"/>
                    <a:pt x="164" y="31"/>
                    <a:pt x="164" y="31"/>
                  </a:cubicBezTo>
                  <a:cubicBezTo>
                    <a:pt x="165" y="31"/>
                    <a:pt x="166" y="30"/>
                    <a:pt x="167" y="30"/>
                  </a:cubicBezTo>
                  <a:cubicBezTo>
                    <a:pt x="167" y="30"/>
                    <a:pt x="167" y="30"/>
                    <a:pt x="167" y="30"/>
                  </a:cubicBezTo>
                  <a:cubicBezTo>
                    <a:pt x="167" y="30"/>
                    <a:pt x="167" y="30"/>
                    <a:pt x="167" y="30"/>
                  </a:cubicBezTo>
                  <a:cubicBezTo>
                    <a:pt x="168" y="29"/>
                    <a:pt x="170" y="29"/>
                    <a:pt x="171" y="29"/>
                  </a:cubicBezTo>
                  <a:cubicBezTo>
                    <a:pt x="176" y="29"/>
                    <a:pt x="179" y="32"/>
                    <a:pt x="180" y="38"/>
                  </a:cubicBezTo>
                  <a:cubicBezTo>
                    <a:pt x="179" y="28"/>
                    <a:pt x="172" y="17"/>
                    <a:pt x="164" y="12"/>
                  </a:cubicBezTo>
                  <a:cubicBezTo>
                    <a:pt x="155" y="7"/>
                    <a:pt x="155" y="7"/>
                    <a:pt x="155" y="7"/>
                  </a:cubicBezTo>
                  <a:cubicBezTo>
                    <a:pt x="150" y="4"/>
                    <a:pt x="150" y="4"/>
                    <a:pt x="150" y="4"/>
                  </a:cubicBezTo>
                  <a:cubicBezTo>
                    <a:pt x="146" y="2"/>
                    <a:pt x="140" y="0"/>
                    <a:pt x="134" y="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chemeClr val="accent1">
                    <a:lumMod val="75000"/>
                    <a:lumOff val="25000"/>
                  </a:schemeClr>
                </a:solidFill>
              </a:endParaRPr>
            </a:p>
          </p:txBody>
        </p:sp>
        <p:sp>
          <p:nvSpPr>
            <p:cNvPr id="73" name="íṣľîḋ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41259D91-B8ED-4596-9908-705CD2155625}"/>
                </a:ext>
              </a:extLst>
            </p:cNvPr>
            <p:cNvSpPr/>
            <p:nvPr/>
          </p:nvSpPr>
          <p:spPr bwMode="auto">
            <a:xfrm>
              <a:off x="6078538" y="3971925"/>
              <a:ext cx="33338" cy="23813"/>
            </a:xfrm>
            <a:custGeom>
              <a:avLst/>
              <a:gdLst>
                <a:gd name="T0" fmla="*/ 0 w 13"/>
                <a:gd name="T1" fmla="*/ 1 h 9"/>
                <a:gd name="T2" fmla="*/ 0 w 13"/>
                <a:gd name="T3" fmla="*/ 1 h 9"/>
                <a:gd name="T4" fmla="*/ 0 w 13"/>
                <a:gd name="T5" fmla="*/ 1 h 9"/>
                <a:gd name="T6" fmla="*/ 4 w 13"/>
                <a:gd name="T7" fmla="*/ 0 h 9"/>
                <a:gd name="T8" fmla="*/ 0 w 13"/>
                <a:gd name="T9" fmla="*/ 1 h 9"/>
                <a:gd name="T10" fmla="*/ 4 w 13"/>
                <a:gd name="T11" fmla="*/ 0 h 9"/>
                <a:gd name="T12" fmla="*/ 13 w 13"/>
                <a:gd name="T13" fmla="*/ 9 h 9"/>
                <a:gd name="T14" fmla="*/ 13 w 13"/>
                <a:gd name="T15" fmla="*/ 9 h 9"/>
                <a:gd name="T16" fmla="*/ 4 w 13"/>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9">
                  <a:moveTo>
                    <a:pt x="0" y="1"/>
                  </a:moveTo>
                  <a:cubicBezTo>
                    <a:pt x="0" y="1"/>
                    <a:pt x="0" y="1"/>
                    <a:pt x="0" y="1"/>
                  </a:cubicBezTo>
                  <a:cubicBezTo>
                    <a:pt x="0" y="1"/>
                    <a:pt x="0" y="1"/>
                    <a:pt x="0" y="1"/>
                  </a:cubicBezTo>
                  <a:moveTo>
                    <a:pt x="4" y="0"/>
                  </a:moveTo>
                  <a:cubicBezTo>
                    <a:pt x="3" y="0"/>
                    <a:pt x="1" y="0"/>
                    <a:pt x="0" y="1"/>
                  </a:cubicBezTo>
                  <a:cubicBezTo>
                    <a:pt x="1" y="0"/>
                    <a:pt x="3" y="0"/>
                    <a:pt x="4" y="0"/>
                  </a:cubicBezTo>
                  <a:cubicBezTo>
                    <a:pt x="9" y="0"/>
                    <a:pt x="12" y="3"/>
                    <a:pt x="13" y="9"/>
                  </a:cubicBezTo>
                  <a:cubicBezTo>
                    <a:pt x="13" y="9"/>
                    <a:pt x="13" y="9"/>
                    <a:pt x="13" y="9"/>
                  </a:cubicBezTo>
                  <a:cubicBezTo>
                    <a:pt x="12" y="3"/>
                    <a:pt x="9" y="0"/>
                    <a:pt x="4" y="0"/>
                  </a:cubicBezTo>
                </a:path>
              </a:pathLst>
            </a:custGeom>
            <a:solidFill>
              <a:srgbClr val="7DE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4" name="iṥ1îḋè">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8577E73B-53C4-4211-BAE3-42B460B6BB0C}"/>
                </a:ext>
              </a:extLst>
            </p:cNvPr>
            <p:cNvSpPr/>
            <p:nvPr/>
          </p:nvSpPr>
          <p:spPr bwMode="auto">
            <a:xfrm>
              <a:off x="5718175" y="4535488"/>
              <a:ext cx="0" cy="3175"/>
            </a:xfrm>
            <a:custGeom>
              <a:avLst/>
              <a:gdLst>
                <a:gd name="T0" fmla="*/ 0 h 1"/>
                <a:gd name="T1" fmla="*/ 1 h 1"/>
                <a:gd name="T2" fmla="*/ 0 h 1"/>
                <a:gd name="T3" fmla="*/ 0 h 1"/>
                <a:gd name="T4" fmla="*/ 0 h 1"/>
                <a:gd name="T5" fmla="*/ 0 h 1"/>
              </a:gdLst>
              <a:ahLst/>
              <a:cxnLst>
                <a:cxn ang="0">
                  <a:pos x="0" y="T0"/>
                </a:cxn>
                <a:cxn ang="0">
                  <a:pos x="0" y="T1"/>
                </a:cxn>
                <a:cxn ang="0">
                  <a:pos x="0" y="T2"/>
                </a:cxn>
                <a:cxn ang="0">
                  <a:pos x="0" y="T3"/>
                </a:cxn>
                <a:cxn ang="0">
                  <a:pos x="0" y="T4"/>
                </a:cxn>
                <a:cxn ang="0">
                  <a:pos x="0" y="T5"/>
                </a:cxn>
              </a:cxnLst>
              <a:rect l="0" t="0" r="r" b="b"/>
              <a:pathLst>
                <a:path h="1">
                  <a:moveTo>
                    <a:pt x="0" y="0"/>
                  </a:moveTo>
                  <a:cubicBezTo>
                    <a:pt x="0" y="0"/>
                    <a:pt x="0" y="1"/>
                    <a:pt x="0" y="1"/>
                  </a:cubicBezTo>
                  <a:cubicBezTo>
                    <a:pt x="0" y="1"/>
                    <a:pt x="0" y="0"/>
                    <a:pt x="0" y="0"/>
                  </a:cubicBezTo>
                  <a:moveTo>
                    <a:pt x="0" y="0"/>
                  </a:moveTo>
                  <a:cubicBezTo>
                    <a:pt x="0" y="0"/>
                    <a:pt x="0" y="0"/>
                    <a:pt x="0" y="0"/>
                  </a:cubicBezTo>
                  <a:cubicBezTo>
                    <a:pt x="0" y="0"/>
                    <a:pt x="0" y="0"/>
                    <a:pt x="0" y="0"/>
                  </a:cubicBezTo>
                </a:path>
              </a:pathLst>
            </a:custGeom>
            <a:solidFill>
              <a:srgbClr val="DCDC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5" name="íşliḋ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DE5A371B-3DB1-4143-8C9B-C36BC58A3DC0}"/>
                </a:ext>
              </a:extLst>
            </p:cNvPr>
            <p:cNvSpPr/>
            <p:nvPr/>
          </p:nvSpPr>
          <p:spPr bwMode="auto">
            <a:xfrm>
              <a:off x="5641975" y="4095750"/>
              <a:ext cx="152400" cy="450850"/>
            </a:xfrm>
            <a:custGeom>
              <a:avLst/>
              <a:gdLst>
                <a:gd name="T0" fmla="*/ 5 w 60"/>
                <a:gd name="T1" fmla="*/ 0 h 178"/>
                <a:gd name="T2" fmla="*/ 0 w 60"/>
                <a:gd name="T3" fmla="*/ 16 h 178"/>
                <a:gd name="T4" fmla="*/ 0 w 60"/>
                <a:gd name="T5" fmla="*/ 16 h 178"/>
                <a:gd name="T6" fmla="*/ 0 w 60"/>
                <a:gd name="T7" fmla="*/ 138 h 178"/>
                <a:gd name="T8" fmla="*/ 17 w 60"/>
                <a:gd name="T9" fmla="*/ 167 h 178"/>
                <a:gd name="T10" fmla="*/ 30 w 60"/>
                <a:gd name="T11" fmla="*/ 174 h 178"/>
                <a:gd name="T12" fmla="*/ 30 w 60"/>
                <a:gd name="T13" fmla="*/ 174 h 178"/>
                <a:gd name="T14" fmla="*/ 30 w 60"/>
                <a:gd name="T15" fmla="*/ 174 h 178"/>
                <a:gd name="T16" fmla="*/ 30 w 60"/>
                <a:gd name="T17" fmla="*/ 174 h 178"/>
                <a:gd name="T18" fmla="*/ 30 w 60"/>
                <a:gd name="T19" fmla="*/ 175 h 178"/>
                <a:gd name="T20" fmla="*/ 46 w 60"/>
                <a:gd name="T21" fmla="*/ 178 h 178"/>
                <a:gd name="T22" fmla="*/ 60 w 60"/>
                <a:gd name="T23" fmla="*/ 176 h 178"/>
                <a:gd name="T24" fmla="*/ 56 w 60"/>
                <a:gd name="T25" fmla="*/ 177 h 178"/>
                <a:gd name="T26" fmla="*/ 47 w 60"/>
                <a:gd name="T27" fmla="*/ 165 h 178"/>
                <a:gd name="T28" fmla="*/ 47 w 60"/>
                <a:gd name="T29" fmla="*/ 43 h 178"/>
                <a:gd name="T30" fmla="*/ 47 w 60"/>
                <a:gd name="T31" fmla="*/ 36 h 178"/>
                <a:gd name="T32" fmla="*/ 51 w 60"/>
                <a:gd name="T33" fmla="*/ 26 h 178"/>
                <a:gd name="T34" fmla="*/ 51 w 60"/>
                <a:gd name="T35" fmla="*/ 26 h 178"/>
                <a:gd name="T36" fmla="*/ 51 w 60"/>
                <a:gd name="T37" fmla="*/ 26 h 178"/>
                <a:gd name="T38" fmla="*/ 16 w 60"/>
                <a:gd name="T39" fmla="*/ 6 h 178"/>
                <a:gd name="T40" fmla="*/ 5 w 60"/>
                <a:gd name="T41"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0" h="178">
                  <a:moveTo>
                    <a:pt x="5" y="0"/>
                  </a:moveTo>
                  <a:cubicBezTo>
                    <a:pt x="2" y="5"/>
                    <a:pt x="0" y="11"/>
                    <a:pt x="0" y="16"/>
                  </a:cubicBezTo>
                  <a:cubicBezTo>
                    <a:pt x="0" y="16"/>
                    <a:pt x="0" y="16"/>
                    <a:pt x="0" y="16"/>
                  </a:cubicBezTo>
                  <a:cubicBezTo>
                    <a:pt x="0" y="138"/>
                    <a:pt x="0" y="138"/>
                    <a:pt x="0" y="138"/>
                  </a:cubicBezTo>
                  <a:cubicBezTo>
                    <a:pt x="0" y="149"/>
                    <a:pt x="8" y="161"/>
                    <a:pt x="17" y="167"/>
                  </a:cubicBezTo>
                  <a:cubicBezTo>
                    <a:pt x="30" y="174"/>
                    <a:pt x="30" y="174"/>
                    <a:pt x="30" y="174"/>
                  </a:cubicBezTo>
                  <a:cubicBezTo>
                    <a:pt x="30" y="174"/>
                    <a:pt x="30" y="174"/>
                    <a:pt x="30" y="174"/>
                  </a:cubicBezTo>
                  <a:cubicBezTo>
                    <a:pt x="30" y="174"/>
                    <a:pt x="30" y="174"/>
                    <a:pt x="30" y="174"/>
                  </a:cubicBezTo>
                  <a:cubicBezTo>
                    <a:pt x="30" y="174"/>
                    <a:pt x="30" y="174"/>
                    <a:pt x="30" y="174"/>
                  </a:cubicBezTo>
                  <a:cubicBezTo>
                    <a:pt x="30" y="174"/>
                    <a:pt x="30" y="175"/>
                    <a:pt x="30" y="175"/>
                  </a:cubicBezTo>
                  <a:cubicBezTo>
                    <a:pt x="35" y="177"/>
                    <a:pt x="41" y="178"/>
                    <a:pt x="46" y="178"/>
                  </a:cubicBezTo>
                  <a:cubicBezTo>
                    <a:pt x="51" y="178"/>
                    <a:pt x="56" y="177"/>
                    <a:pt x="60" y="176"/>
                  </a:cubicBezTo>
                  <a:cubicBezTo>
                    <a:pt x="58" y="176"/>
                    <a:pt x="57" y="177"/>
                    <a:pt x="56" y="177"/>
                  </a:cubicBezTo>
                  <a:cubicBezTo>
                    <a:pt x="50" y="177"/>
                    <a:pt x="47" y="172"/>
                    <a:pt x="47" y="165"/>
                  </a:cubicBezTo>
                  <a:cubicBezTo>
                    <a:pt x="47" y="43"/>
                    <a:pt x="47" y="43"/>
                    <a:pt x="47" y="43"/>
                  </a:cubicBezTo>
                  <a:cubicBezTo>
                    <a:pt x="47" y="41"/>
                    <a:pt x="47" y="38"/>
                    <a:pt x="47" y="36"/>
                  </a:cubicBezTo>
                  <a:cubicBezTo>
                    <a:pt x="48" y="33"/>
                    <a:pt x="50" y="30"/>
                    <a:pt x="51" y="26"/>
                  </a:cubicBezTo>
                  <a:cubicBezTo>
                    <a:pt x="51" y="26"/>
                    <a:pt x="51" y="26"/>
                    <a:pt x="51" y="26"/>
                  </a:cubicBezTo>
                  <a:cubicBezTo>
                    <a:pt x="51" y="26"/>
                    <a:pt x="51" y="26"/>
                    <a:pt x="51" y="26"/>
                  </a:cubicBezTo>
                  <a:cubicBezTo>
                    <a:pt x="16" y="6"/>
                    <a:pt x="16" y="6"/>
                    <a:pt x="16" y="6"/>
                  </a:cubicBezTo>
                  <a:cubicBezTo>
                    <a:pt x="5" y="0"/>
                    <a:pt x="5" y="0"/>
                    <a:pt x="5" y="0"/>
                  </a:cubicBezTo>
                </a:path>
              </a:pathLst>
            </a:custGeom>
            <a:solidFill>
              <a:srgbClr val="23C7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6" name="îsḷîd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19324963-7D5A-40ED-A076-1CBD78742418}"/>
                </a:ext>
              </a:extLst>
            </p:cNvPr>
            <p:cNvSpPr/>
            <p:nvPr/>
          </p:nvSpPr>
          <p:spPr bwMode="auto">
            <a:xfrm>
              <a:off x="5761038" y="4187825"/>
              <a:ext cx="33338" cy="355600"/>
            </a:xfrm>
            <a:custGeom>
              <a:avLst/>
              <a:gdLst>
                <a:gd name="T0" fmla="*/ 0 w 13"/>
                <a:gd name="T1" fmla="*/ 0 h 141"/>
                <a:gd name="T2" fmla="*/ 0 w 13"/>
                <a:gd name="T3" fmla="*/ 7 h 141"/>
                <a:gd name="T4" fmla="*/ 0 w 13"/>
                <a:gd name="T5" fmla="*/ 129 h 141"/>
                <a:gd name="T6" fmla="*/ 9 w 13"/>
                <a:gd name="T7" fmla="*/ 141 h 141"/>
                <a:gd name="T8" fmla="*/ 13 w 13"/>
                <a:gd name="T9" fmla="*/ 140 h 141"/>
                <a:gd name="T10" fmla="*/ 13 w 13"/>
                <a:gd name="T11" fmla="*/ 140 h 141"/>
                <a:gd name="T12" fmla="*/ 9 w 13"/>
                <a:gd name="T13" fmla="*/ 141 h 141"/>
                <a:gd name="T14" fmla="*/ 0 w 13"/>
                <a:gd name="T15" fmla="*/ 129 h 141"/>
                <a:gd name="T16" fmla="*/ 0 w 13"/>
                <a:gd name="T17" fmla="*/ 7 h 141"/>
                <a:gd name="T18" fmla="*/ 0 w 13"/>
                <a:gd name="T19"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41">
                  <a:moveTo>
                    <a:pt x="0" y="0"/>
                  </a:moveTo>
                  <a:cubicBezTo>
                    <a:pt x="0" y="2"/>
                    <a:pt x="0" y="5"/>
                    <a:pt x="0" y="7"/>
                  </a:cubicBezTo>
                  <a:cubicBezTo>
                    <a:pt x="0" y="129"/>
                    <a:pt x="0" y="129"/>
                    <a:pt x="0" y="129"/>
                  </a:cubicBezTo>
                  <a:cubicBezTo>
                    <a:pt x="0" y="136"/>
                    <a:pt x="3" y="141"/>
                    <a:pt x="9" y="141"/>
                  </a:cubicBezTo>
                  <a:cubicBezTo>
                    <a:pt x="10" y="141"/>
                    <a:pt x="11" y="140"/>
                    <a:pt x="13" y="140"/>
                  </a:cubicBezTo>
                  <a:cubicBezTo>
                    <a:pt x="13" y="140"/>
                    <a:pt x="13" y="140"/>
                    <a:pt x="13" y="140"/>
                  </a:cubicBezTo>
                  <a:cubicBezTo>
                    <a:pt x="12" y="140"/>
                    <a:pt x="10" y="141"/>
                    <a:pt x="9" y="141"/>
                  </a:cubicBezTo>
                  <a:cubicBezTo>
                    <a:pt x="3" y="141"/>
                    <a:pt x="0" y="136"/>
                    <a:pt x="0" y="129"/>
                  </a:cubicBezTo>
                  <a:cubicBezTo>
                    <a:pt x="0" y="7"/>
                    <a:pt x="0" y="7"/>
                    <a:pt x="0" y="7"/>
                  </a:cubicBezTo>
                  <a:cubicBezTo>
                    <a:pt x="0" y="5"/>
                    <a:pt x="0" y="2"/>
                    <a:pt x="0" y="0"/>
                  </a:cubicBezTo>
                </a:path>
              </a:pathLst>
            </a:custGeom>
            <a:solidFill>
              <a:srgbClr val="23C7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7" name="iṩļïďé">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F6DF6B37-45ED-4B38-BD24-79A4CE84724C}"/>
                </a:ext>
              </a:extLst>
            </p:cNvPr>
            <p:cNvSpPr/>
            <p:nvPr/>
          </p:nvSpPr>
          <p:spPr bwMode="auto">
            <a:xfrm>
              <a:off x="5683250" y="4111625"/>
              <a:ext cx="88900" cy="50800"/>
            </a:xfrm>
            <a:custGeom>
              <a:avLst/>
              <a:gdLst>
                <a:gd name="T0" fmla="*/ 0 w 35"/>
                <a:gd name="T1" fmla="*/ 0 h 20"/>
                <a:gd name="T2" fmla="*/ 35 w 35"/>
                <a:gd name="T3" fmla="*/ 20 h 20"/>
                <a:gd name="T4" fmla="*/ 35 w 35"/>
                <a:gd name="T5" fmla="*/ 20 h 20"/>
                <a:gd name="T6" fmla="*/ 0 w 35"/>
                <a:gd name="T7" fmla="*/ 0 h 20"/>
              </a:gdLst>
              <a:ahLst/>
              <a:cxnLst>
                <a:cxn ang="0">
                  <a:pos x="T0" y="T1"/>
                </a:cxn>
                <a:cxn ang="0">
                  <a:pos x="T2" y="T3"/>
                </a:cxn>
                <a:cxn ang="0">
                  <a:pos x="T4" y="T5"/>
                </a:cxn>
                <a:cxn ang="0">
                  <a:pos x="T6" y="T7"/>
                </a:cxn>
              </a:cxnLst>
              <a:rect l="0" t="0" r="r" b="b"/>
              <a:pathLst>
                <a:path w="35" h="20">
                  <a:moveTo>
                    <a:pt x="0" y="0"/>
                  </a:moveTo>
                  <a:cubicBezTo>
                    <a:pt x="35" y="20"/>
                    <a:pt x="35" y="20"/>
                    <a:pt x="35" y="20"/>
                  </a:cubicBezTo>
                  <a:cubicBezTo>
                    <a:pt x="35" y="20"/>
                    <a:pt x="35" y="20"/>
                    <a:pt x="35" y="20"/>
                  </a:cubicBezTo>
                  <a:cubicBezTo>
                    <a:pt x="0" y="0"/>
                    <a:pt x="0" y="0"/>
                    <a:pt x="0" y="0"/>
                  </a:cubicBezTo>
                </a:path>
              </a:pathLst>
            </a:custGeom>
            <a:solidFill>
              <a:srgbClr val="70D3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8" name="ïṡlidè">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D02903E9-CCC4-439D-A1DD-BF80794E9EC3}"/>
                </a:ext>
              </a:extLst>
            </p:cNvPr>
            <p:cNvSpPr/>
            <p:nvPr/>
          </p:nvSpPr>
          <p:spPr bwMode="auto">
            <a:xfrm>
              <a:off x="4940300" y="4176713"/>
              <a:ext cx="469900" cy="652463"/>
            </a:xfrm>
            <a:custGeom>
              <a:avLst/>
              <a:gdLst>
                <a:gd name="T0" fmla="*/ 185 w 185"/>
                <a:gd name="T1" fmla="*/ 41 h 258"/>
                <a:gd name="T2" fmla="*/ 168 w 185"/>
                <a:gd name="T3" fmla="*/ 13 h 258"/>
                <a:gd name="T4" fmla="*/ 155 w 185"/>
                <a:gd name="T5" fmla="*/ 5 h 258"/>
                <a:gd name="T6" fmla="*/ 122 w 185"/>
                <a:gd name="T7" fmla="*/ 5 h 258"/>
                <a:gd name="T8" fmla="*/ 16 w 185"/>
                <a:gd name="T9" fmla="*/ 66 h 258"/>
                <a:gd name="T10" fmla="*/ 0 w 185"/>
                <a:gd name="T11" fmla="*/ 94 h 258"/>
                <a:gd name="T12" fmla="*/ 0 w 185"/>
                <a:gd name="T13" fmla="*/ 217 h 258"/>
                <a:gd name="T14" fmla="*/ 16 w 185"/>
                <a:gd name="T15" fmla="*/ 245 h 258"/>
                <a:gd name="T16" fmla="*/ 29 w 185"/>
                <a:gd name="T17" fmla="*/ 253 h 258"/>
                <a:gd name="T18" fmla="*/ 62 w 185"/>
                <a:gd name="T19" fmla="*/ 253 h 258"/>
                <a:gd name="T20" fmla="*/ 168 w 185"/>
                <a:gd name="T21" fmla="*/ 192 h 258"/>
                <a:gd name="T22" fmla="*/ 185 w 185"/>
                <a:gd name="T23" fmla="*/ 163 h 258"/>
                <a:gd name="T24" fmla="*/ 185 w 185"/>
                <a:gd name="T25" fmla="*/ 41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5" h="258">
                  <a:moveTo>
                    <a:pt x="185" y="41"/>
                  </a:moveTo>
                  <a:cubicBezTo>
                    <a:pt x="185" y="31"/>
                    <a:pt x="177" y="18"/>
                    <a:pt x="168" y="13"/>
                  </a:cubicBezTo>
                  <a:cubicBezTo>
                    <a:pt x="155" y="5"/>
                    <a:pt x="155" y="5"/>
                    <a:pt x="155" y="5"/>
                  </a:cubicBezTo>
                  <a:cubicBezTo>
                    <a:pt x="146" y="0"/>
                    <a:pt x="131" y="0"/>
                    <a:pt x="122" y="5"/>
                  </a:cubicBezTo>
                  <a:cubicBezTo>
                    <a:pt x="16" y="66"/>
                    <a:pt x="16" y="66"/>
                    <a:pt x="16" y="66"/>
                  </a:cubicBezTo>
                  <a:cubicBezTo>
                    <a:pt x="7" y="71"/>
                    <a:pt x="0" y="84"/>
                    <a:pt x="0" y="94"/>
                  </a:cubicBezTo>
                  <a:cubicBezTo>
                    <a:pt x="0" y="217"/>
                    <a:pt x="0" y="217"/>
                    <a:pt x="0" y="217"/>
                  </a:cubicBezTo>
                  <a:cubicBezTo>
                    <a:pt x="0" y="227"/>
                    <a:pt x="7" y="240"/>
                    <a:pt x="16" y="245"/>
                  </a:cubicBezTo>
                  <a:cubicBezTo>
                    <a:pt x="29" y="253"/>
                    <a:pt x="29" y="253"/>
                    <a:pt x="29" y="253"/>
                  </a:cubicBezTo>
                  <a:cubicBezTo>
                    <a:pt x="39" y="258"/>
                    <a:pt x="53" y="258"/>
                    <a:pt x="62" y="253"/>
                  </a:cubicBezTo>
                  <a:cubicBezTo>
                    <a:pt x="168" y="192"/>
                    <a:pt x="168" y="192"/>
                    <a:pt x="168" y="192"/>
                  </a:cubicBezTo>
                  <a:cubicBezTo>
                    <a:pt x="177" y="186"/>
                    <a:pt x="185" y="174"/>
                    <a:pt x="185" y="163"/>
                  </a:cubicBezTo>
                  <a:cubicBezTo>
                    <a:pt x="185" y="41"/>
                    <a:pt x="185" y="41"/>
                    <a:pt x="185" y="41"/>
                  </a:cubicBezTo>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9" name="î$lîḍ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77C30D3E-9031-4A31-92DF-A758C0C5266F}"/>
                </a:ext>
              </a:extLst>
            </p:cNvPr>
            <p:cNvSpPr/>
            <p:nvPr/>
          </p:nvSpPr>
          <p:spPr bwMode="auto">
            <a:xfrm>
              <a:off x="4940300" y="4402138"/>
              <a:ext cx="117475" cy="425450"/>
            </a:xfrm>
            <a:custGeom>
              <a:avLst/>
              <a:gdLst>
                <a:gd name="T0" fmla="*/ 0 w 46"/>
                <a:gd name="T1" fmla="*/ 0 h 168"/>
                <a:gd name="T2" fmla="*/ 0 w 46"/>
                <a:gd name="T3" fmla="*/ 5 h 168"/>
                <a:gd name="T4" fmla="*/ 0 w 46"/>
                <a:gd name="T5" fmla="*/ 128 h 168"/>
                <a:gd name="T6" fmla="*/ 16 w 46"/>
                <a:gd name="T7" fmla="*/ 156 h 168"/>
                <a:gd name="T8" fmla="*/ 29 w 46"/>
                <a:gd name="T9" fmla="*/ 164 h 168"/>
                <a:gd name="T10" fmla="*/ 46 w 46"/>
                <a:gd name="T11" fmla="*/ 168 h 168"/>
                <a:gd name="T12" fmla="*/ 29 w 46"/>
                <a:gd name="T13" fmla="*/ 164 h 168"/>
                <a:gd name="T14" fmla="*/ 16 w 46"/>
                <a:gd name="T15" fmla="*/ 156 h 168"/>
                <a:gd name="T16" fmla="*/ 0 w 46"/>
                <a:gd name="T17" fmla="*/ 128 h 168"/>
                <a:gd name="T18" fmla="*/ 0 w 46"/>
                <a:gd name="T19" fmla="*/ 5 h 168"/>
                <a:gd name="T20" fmla="*/ 0 w 46"/>
                <a:gd name="T2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168">
                  <a:moveTo>
                    <a:pt x="0" y="0"/>
                  </a:moveTo>
                  <a:cubicBezTo>
                    <a:pt x="0" y="2"/>
                    <a:pt x="0" y="4"/>
                    <a:pt x="0" y="5"/>
                  </a:cubicBezTo>
                  <a:cubicBezTo>
                    <a:pt x="0" y="128"/>
                    <a:pt x="0" y="128"/>
                    <a:pt x="0" y="128"/>
                  </a:cubicBezTo>
                  <a:cubicBezTo>
                    <a:pt x="0" y="138"/>
                    <a:pt x="7" y="151"/>
                    <a:pt x="16" y="156"/>
                  </a:cubicBezTo>
                  <a:cubicBezTo>
                    <a:pt x="29" y="164"/>
                    <a:pt x="29" y="164"/>
                    <a:pt x="29" y="164"/>
                  </a:cubicBezTo>
                  <a:cubicBezTo>
                    <a:pt x="34" y="166"/>
                    <a:pt x="40" y="168"/>
                    <a:pt x="46" y="168"/>
                  </a:cubicBezTo>
                  <a:cubicBezTo>
                    <a:pt x="40" y="168"/>
                    <a:pt x="34" y="166"/>
                    <a:pt x="29" y="164"/>
                  </a:cubicBezTo>
                  <a:cubicBezTo>
                    <a:pt x="16" y="156"/>
                    <a:pt x="16" y="156"/>
                    <a:pt x="16" y="156"/>
                  </a:cubicBezTo>
                  <a:cubicBezTo>
                    <a:pt x="7" y="151"/>
                    <a:pt x="0" y="138"/>
                    <a:pt x="0" y="128"/>
                  </a:cubicBezTo>
                  <a:cubicBezTo>
                    <a:pt x="0" y="5"/>
                    <a:pt x="0" y="5"/>
                    <a:pt x="0" y="5"/>
                  </a:cubicBezTo>
                  <a:cubicBezTo>
                    <a:pt x="0" y="4"/>
                    <a:pt x="0" y="2"/>
                    <a:pt x="0" y="0"/>
                  </a:cubicBezTo>
                </a:path>
              </a:pathLst>
            </a:custGeom>
            <a:solidFill>
              <a:srgbClr val="6E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0" name="îṥlîḑé">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BEA83117-21B5-4CB2-AE98-A26E327B707F}"/>
                </a:ext>
              </a:extLst>
            </p:cNvPr>
            <p:cNvSpPr/>
            <p:nvPr/>
          </p:nvSpPr>
          <p:spPr bwMode="auto">
            <a:xfrm>
              <a:off x="4940300" y="4375150"/>
              <a:ext cx="152400" cy="452438"/>
            </a:xfrm>
            <a:custGeom>
              <a:avLst/>
              <a:gdLst>
                <a:gd name="T0" fmla="*/ 4 w 60"/>
                <a:gd name="T1" fmla="*/ 0 h 179"/>
                <a:gd name="T2" fmla="*/ 0 w 60"/>
                <a:gd name="T3" fmla="*/ 11 h 179"/>
                <a:gd name="T4" fmla="*/ 0 w 60"/>
                <a:gd name="T5" fmla="*/ 16 h 179"/>
                <a:gd name="T6" fmla="*/ 0 w 60"/>
                <a:gd name="T7" fmla="*/ 139 h 179"/>
                <a:gd name="T8" fmla="*/ 16 w 60"/>
                <a:gd name="T9" fmla="*/ 167 h 179"/>
                <a:gd name="T10" fmla="*/ 29 w 60"/>
                <a:gd name="T11" fmla="*/ 175 h 179"/>
                <a:gd name="T12" fmla="*/ 46 w 60"/>
                <a:gd name="T13" fmla="*/ 179 h 179"/>
                <a:gd name="T14" fmla="*/ 46 w 60"/>
                <a:gd name="T15" fmla="*/ 179 h 179"/>
                <a:gd name="T16" fmla="*/ 60 w 60"/>
                <a:gd name="T17" fmla="*/ 176 h 179"/>
                <a:gd name="T18" fmla="*/ 59 w 60"/>
                <a:gd name="T19" fmla="*/ 176 h 179"/>
                <a:gd name="T20" fmla="*/ 55 w 60"/>
                <a:gd name="T21" fmla="*/ 177 h 179"/>
                <a:gd name="T22" fmla="*/ 48 w 60"/>
                <a:gd name="T23" fmla="*/ 174 h 179"/>
                <a:gd name="T24" fmla="*/ 46 w 60"/>
                <a:gd name="T25" fmla="*/ 165 h 179"/>
                <a:gd name="T26" fmla="*/ 46 w 60"/>
                <a:gd name="T27" fmla="*/ 43 h 179"/>
                <a:gd name="T28" fmla="*/ 46 w 60"/>
                <a:gd name="T29" fmla="*/ 42 h 179"/>
                <a:gd name="T30" fmla="*/ 51 w 60"/>
                <a:gd name="T31" fmla="*/ 27 h 179"/>
                <a:gd name="T32" fmla="*/ 4 w 60"/>
                <a:gd name="T33"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 h="179">
                  <a:moveTo>
                    <a:pt x="4" y="0"/>
                  </a:moveTo>
                  <a:cubicBezTo>
                    <a:pt x="2" y="4"/>
                    <a:pt x="1" y="7"/>
                    <a:pt x="0" y="11"/>
                  </a:cubicBezTo>
                  <a:cubicBezTo>
                    <a:pt x="0" y="13"/>
                    <a:pt x="0" y="15"/>
                    <a:pt x="0" y="16"/>
                  </a:cubicBezTo>
                  <a:cubicBezTo>
                    <a:pt x="0" y="139"/>
                    <a:pt x="0" y="139"/>
                    <a:pt x="0" y="139"/>
                  </a:cubicBezTo>
                  <a:cubicBezTo>
                    <a:pt x="0" y="149"/>
                    <a:pt x="7" y="162"/>
                    <a:pt x="16" y="167"/>
                  </a:cubicBezTo>
                  <a:cubicBezTo>
                    <a:pt x="29" y="175"/>
                    <a:pt x="29" y="175"/>
                    <a:pt x="29" y="175"/>
                  </a:cubicBezTo>
                  <a:cubicBezTo>
                    <a:pt x="34" y="177"/>
                    <a:pt x="40" y="179"/>
                    <a:pt x="46" y="179"/>
                  </a:cubicBezTo>
                  <a:cubicBezTo>
                    <a:pt x="46" y="179"/>
                    <a:pt x="46" y="179"/>
                    <a:pt x="46" y="179"/>
                  </a:cubicBezTo>
                  <a:cubicBezTo>
                    <a:pt x="51" y="179"/>
                    <a:pt x="55" y="178"/>
                    <a:pt x="60" y="176"/>
                  </a:cubicBezTo>
                  <a:cubicBezTo>
                    <a:pt x="59" y="176"/>
                    <a:pt x="59" y="176"/>
                    <a:pt x="59" y="176"/>
                  </a:cubicBezTo>
                  <a:cubicBezTo>
                    <a:pt x="58" y="177"/>
                    <a:pt x="56" y="177"/>
                    <a:pt x="55" y="177"/>
                  </a:cubicBezTo>
                  <a:cubicBezTo>
                    <a:pt x="52" y="177"/>
                    <a:pt x="50" y="176"/>
                    <a:pt x="48" y="174"/>
                  </a:cubicBezTo>
                  <a:cubicBezTo>
                    <a:pt x="47" y="172"/>
                    <a:pt x="46" y="169"/>
                    <a:pt x="46" y="165"/>
                  </a:cubicBezTo>
                  <a:cubicBezTo>
                    <a:pt x="46" y="43"/>
                    <a:pt x="46" y="43"/>
                    <a:pt x="46" y="43"/>
                  </a:cubicBezTo>
                  <a:cubicBezTo>
                    <a:pt x="46" y="43"/>
                    <a:pt x="46" y="42"/>
                    <a:pt x="46" y="42"/>
                  </a:cubicBezTo>
                  <a:cubicBezTo>
                    <a:pt x="46" y="37"/>
                    <a:pt x="48" y="32"/>
                    <a:pt x="51" y="27"/>
                  </a:cubicBezTo>
                  <a:cubicBezTo>
                    <a:pt x="4" y="0"/>
                    <a:pt x="4" y="0"/>
                    <a:pt x="4" y="0"/>
                  </a:cubicBezTo>
                </a:path>
              </a:pathLst>
            </a:custGeom>
            <a:solidFill>
              <a:srgbClr val="1264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1" name="ïSļíḓé">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354CD089-3AFE-423B-B19F-D1EB3AB7A184}"/>
                </a:ext>
              </a:extLst>
            </p:cNvPr>
            <p:cNvSpPr/>
            <p:nvPr/>
          </p:nvSpPr>
          <p:spPr bwMode="auto">
            <a:xfrm>
              <a:off x="5097463" y="4275138"/>
              <a:ext cx="312738" cy="541338"/>
            </a:xfrm>
            <a:custGeom>
              <a:avLst/>
              <a:gdLst>
                <a:gd name="T0" fmla="*/ 0 w 123"/>
                <a:gd name="T1" fmla="*/ 214 h 214"/>
                <a:gd name="T2" fmla="*/ 0 w 123"/>
                <a:gd name="T3" fmla="*/ 214 h 214"/>
                <a:gd name="T4" fmla="*/ 0 w 123"/>
                <a:gd name="T5" fmla="*/ 214 h 214"/>
                <a:gd name="T6" fmla="*/ 0 w 123"/>
                <a:gd name="T7" fmla="*/ 214 h 214"/>
                <a:gd name="T8" fmla="*/ 0 w 123"/>
                <a:gd name="T9" fmla="*/ 214 h 214"/>
                <a:gd name="T10" fmla="*/ 0 w 123"/>
                <a:gd name="T11" fmla="*/ 214 h 214"/>
                <a:gd name="T12" fmla="*/ 0 w 123"/>
                <a:gd name="T13" fmla="*/ 214 h 214"/>
                <a:gd name="T14" fmla="*/ 0 w 123"/>
                <a:gd name="T15" fmla="*/ 214 h 214"/>
                <a:gd name="T16" fmla="*/ 0 w 123"/>
                <a:gd name="T17" fmla="*/ 214 h 214"/>
                <a:gd name="T18" fmla="*/ 122 w 123"/>
                <a:gd name="T19" fmla="*/ 0 h 214"/>
                <a:gd name="T20" fmla="*/ 123 w 123"/>
                <a:gd name="T21" fmla="*/ 2 h 214"/>
                <a:gd name="T22" fmla="*/ 123 w 123"/>
                <a:gd name="T23" fmla="*/ 124 h 214"/>
                <a:gd name="T24" fmla="*/ 123 w 123"/>
                <a:gd name="T25" fmla="*/ 125 h 214"/>
                <a:gd name="T26" fmla="*/ 123 w 123"/>
                <a:gd name="T27" fmla="*/ 124 h 214"/>
                <a:gd name="T28" fmla="*/ 123 w 123"/>
                <a:gd name="T29" fmla="*/ 2 h 214"/>
                <a:gd name="T30" fmla="*/ 122 w 123"/>
                <a:gd name="T31" fmla="*/ 0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3" h="214">
                  <a:moveTo>
                    <a:pt x="0" y="214"/>
                  </a:moveTo>
                  <a:cubicBezTo>
                    <a:pt x="0" y="214"/>
                    <a:pt x="0" y="214"/>
                    <a:pt x="0" y="214"/>
                  </a:cubicBezTo>
                  <a:cubicBezTo>
                    <a:pt x="0" y="214"/>
                    <a:pt x="0" y="214"/>
                    <a:pt x="0" y="214"/>
                  </a:cubicBezTo>
                  <a:moveTo>
                    <a:pt x="0" y="214"/>
                  </a:moveTo>
                  <a:cubicBezTo>
                    <a:pt x="0" y="214"/>
                    <a:pt x="0" y="214"/>
                    <a:pt x="0" y="214"/>
                  </a:cubicBezTo>
                  <a:cubicBezTo>
                    <a:pt x="0" y="214"/>
                    <a:pt x="0" y="214"/>
                    <a:pt x="0" y="214"/>
                  </a:cubicBezTo>
                  <a:moveTo>
                    <a:pt x="0" y="214"/>
                  </a:moveTo>
                  <a:cubicBezTo>
                    <a:pt x="0" y="214"/>
                    <a:pt x="0" y="214"/>
                    <a:pt x="0" y="214"/>
                  </a:cubicBezTo>
                  <a:cubicBezTo>
                    <a:pt x="0" y="214"/>
                    <a:pt x="0" y="214"/>
                    <a:pt x="0" y="214"/>
                  </a:cubicBezTo>
                  <a:moveTo>
                    <a:pt x="122" y="0"/>
                  </a:moveTo>
                  <a:cubicBezTo>
                    <a:pt x="123" y="1"/>
                    <a:pt x="123" y="1"/>
                    <a:pt x="123" y="2"/>
                  </a:cubicBezTo>
                  <a:cubicBezTo>
                    <a:pt x="123" y="124"/>
                    <a:pt x="123" y="124"/>
                    <a:pt x="123" y="124"/>
                  </a:cubicBezTo>
                  <a:cubicBezTo>
                    <a:pt x="123" y="124"/>
                    <a:pt x="123" y="125"/>
                    <a:pt x="123" y="125"/>
                  </a:cubicBezTo>
                  <a:cubicBezTo>
                    <a:pt x="123" y="124"/>
                    <a:pt x="123" y="124"/>
                    <a:pt x="123" y="124"/>
                  </a:cubicBezTo>
                  <a:cubicBezTo>
                    <a:pt x="123" y="2"/>
                    <a:pt x="123" y="2"/>
                    <a:pt x="123" y="2"/>
                  </a:cubicBezTo>
                  <a:cubicBezTo>
                    <a:pt x="123" y="1"/>
                    <a:pt x="123" y="1"/>
                    <a:pt x="122" y="0"/>
                  </a:cubicBezTo>
                </a:path>
              </a:pathLst>
            </a:custGeom>
            <a:solidFill>
              <a:srgbClr val="878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2" name="íŝļiḍ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98C96A50-CAC0-4D65-BAD4-DB951BCED83C}"/>
                </a:ext>
              </a:extLst>
            </p:cNvPr>
            <p:cNvSpPr/>
            <p:nvPr/>
          </p:nvSpPr>
          <p:spPr bwMode="auto">
            <a:xfrm>
              <a:off x="5057775" y="4251325"/>
              <a:ext cx="352425" cy="569913"/>
            </a:xfrm>
            <a:custGeom>
              <a:avLst/>
              <a:gdLst>
                <a:gd name="T0" fmla="*/ 129 w 139"/>
                <a:gd name="T1" fmla="*/ 0 h 226"/>
                <a:gd name="T2" fmla="*/ 122 w 139"/>
                <a:gd name="T3" fmla="*/ 3 h 226"/>
                <a:gd name="T4" fmla="*/ 16 w 139"/>
                <a:gd name="T5" fmla="*/ 64 h 226"/>
                <a:gd name="T6" fmla="*/ 5 w 139"/>
                <a:gd name="T7" fmla="*/ 76 h 226"/>
                <a:gd name="T8" fmla="*/ 5 w 139"/>
                <a:gd name="T9" fmla="*/ 76 h 226"/>
                <a:gd name="T10" fmla="*/ 5 w 139"/>
                <a:gd name="T11" fmla="*/ 76 h 226"/>
                <a:gd name="T12" fmla="*/ 5 w 139"/>
                <a:gd name="T13" fmla="*/ 76 h 226"/>
                <a:gd name="T14" fmla="*/ 0 w 139"/>
                <a:gd name="T15" fmla="*/ 91 h 226"/>
                <a:gd name="T16" fmla="*/ 0 w 139"/>
                <a:gd name="T17" fmla="*/ 92 h 226"/>
                <a:gd name="T18" fmla="*/ 0 w 139"/>
                <a:gd name="T19" fmla="*/ 214 h 226"/>
                <a:gd name="T20" fmla="*/ 2 w 139"/>
                <a:gd name="T21" fmla="*/ 223 h 226"/>
                <a:gd name="T22" fmla="*/ 9 w 139"/>
                <a:gd name="T23" fmla="*/ 226 h 226"/>
                <a:gd name="T24" fmla="*/ 13 w 139"/>
                <a:gd name="T25" fmla="*/ 225 h 226"/>
                <a:gd name="T26" fmla="*/ 16 w 139"/>
                <a:gd name="T27" fmla="*/ 224 h 226"/>
                <a:gd name="T28" fmla="*/ 16 w 139"/>
                <a:gd name="T29" fmla="*/ 224 h 226"/>
                <a:gd name="T30" fmla="*/ 16 w 139"/>
                <a:gd name="T31" fmla="*/ 224 h 226"/>
                <a:gd name="T32" fmla="*/ 16 w 139"/>
                <a:gd name="T33" fmla="*/ 224 h 226"/>
                <a:gd name="T34" fmla="*/ 16 w 139"/>
                <a:gd name="T35" fmla="*/ 224 h 226"/>
                <a:gd name="T36" fmla="*/ 16 w 139"/>
                <a:gd name="T37" fmla="*/ 224 h 226"/>
                <a:gd name="T38" fmla="*/ 16 w 139"/>
                <a:gd name="T39" fmla="*/ 224 h 226"/>
                <a:gd name="T40" fmla="*/ 122 w 139"/>
                <a:gd name="T41" fmla="*/ 163 h 226"/>
                <a:gd name="T42" fmla="*/ 139 w 139"/>
                <a:gd name="T43" fmla="*/ 135 h 226"/>
                <a:gd name="T44" fmla="*/ 139 w 139"/>
                <a:gd name="T45" fmla="*/ 134 h 226"/>
                <a:gd name="T46" fmla="*/ 139 w 139"/>
                <a:gd name="T47" fmla="*/ 12 h 226"/>
                <a:gd name="T48" fmla="*/ 138 w 139"/>
                <a:gd name="T49" fmla="*/ 10 h 226"/>
                <a:gd name="T50" fmla="*/ 138 w 139"/>
                <a:gd name="T51" fmla="*/ 9 h 226"/>
                <a:gd name="T52" fmla="*/ 138 w 139"/>
                <a:gd name="T53" fmla="*/ 9 h 226"/>
                <a:gd name="T54" fmla="*/ 129 w 139"/>
                <a:gd name="T55"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9" h="226">
                  <a:moveTo>
                    <a:pt x="129" y="0"/>
                  </a:moveTo>
                  <a:cubicBezTo>
                    <a:pt x="127" y="0"/>
                    <a:pt x="125" y="1"/>
                    <a:pt x="122" y="3"/>
                  </a:cubicBezTo>
                  <a:cubicBezTo>
                    <a:pt x="16" y="64"/>
                    <a:pt x="16" y="64"/>
                    <a:pt x="16" y="64"/>
                  </a:cubicBezTo>
                  <a:cubicBezTo>
                    <a:pt x="12" y="66"/>
                    <a:pt x="8" y="71"/>
                    <a:pt x="5" y="76"/>
                  </a:cubicBezTo>
                  <a:cubicBezTo>
                    <a:pt x="5" y="76"/>
                    <a:pt x="5" y="76"/>
                    <a:pt x="5" y="76"/>
                  </a:cubicBezTo>
                  <a:cubicBezTo>
                    <a:pt x="5" y="76"/>
                    <a:pt x="5" y="76"/>
                    <a:pt x="5" y="76"/>
                  </a:cubicBezTo>
                  <a:cubicBezTo>
                    <a:pt x="5" y="76"/>
                    <a:pt x="5" y="76"/>
                    <a:pt x="5" y="76"/>
                  </a:cubicBezTo>
                  <a:cubicBezTo>
                    <a:pt x="2" y="81"/>
                    <a:pt x="0" y="86"/>
                    <a:pt x="0" y="91"/>
                  </a:cubicBezTo>
                  <a:cubicBezTo>
                    <a:pt x="0" y="91"/>
                    <a:pt x="0" y="92"/>
                    <a:pt x="0" y="92"/>
                  </a:cubicBezTo>
                  <a:cubicBezTo>
                    <a:pt x="0" y="214"/>
                    <a:pt x="0" y="214"/>
                    <a:pt x="0" y="214"/>
                  </a:cubicBezTo>
                  <a:cubicBezTo>
                    <a:pt x="0" y="218"/>
                    <a:pt x="1" y="221"/>
                    <a:pt x="2" y="223"/>
                  </a:cubicBezTo>
                  <a:cubicBezTo>
                    <a:pt x="4" y="225"/>
                    <a:pt x="6" y="226"/>
                    <a:pt x="9" y="226"/>
                  </a:cubicBezTo>
                  <a:cubicBezTo>
                    <a:pt x="10" y="226"/>
                    <a:pt x="12" y="226"/>
                    <a:pt x="13" y="225"/>
                  </a:cubicBezTo>
                  <a:cubicBezTo>
                    <a:pt x="14" y="225"/>
                    <a:pt x="15" y="224"/>
                    <a:pt x="16" y="224"/>
                  </a:cubicBezTo>
                  <a:cubicBezTo>
                    <a:pt x="16" y="224"/>
                    <a:pt x="16" y="224"/>
                    <a:pt x="16" y="224"/>
                  </a:cubicBezTo>
                  <a:cubicBezTo>
                    <a:pt x="16" y="224"/>
                    <a:pt x="16" y="224"/>
                    <a:pt x="16" y="224"/>
                  </a:cubicBezTo>
                  <a:cubicBezTo>
                    <a:pt x="16" y="224"/>
                    <a:pt x="16" y="224"/>
                    <a:pt x="16" y="224"/>
                  </a:cubicBezTo>
                  <a:cubicBezTo>
                    <a:pt x="16" y="224"/>
                    <a:pt x="16" y="224"/>
                    <a:pt x="16" y="224"/>
                  </a:cubicBezTo>
                  <a:cubicBezTo>
                    <a:pt x="16" y="224"/>
                    <a:pt x="16" y="224"/>
                    <a:pt x="16" y="224"/>
                  </a:cubicBezTo>
                  <a:cubicBezTo>
                    <a:pt x="16" y="224"/>
                    <a:pt x="16" y="224"/>
                    <a:pt x="16" y="224"/>
                  </a:cubicBezTo>
                  <a:cubicBezTo>
                    <a:pt x="122" y="163"/>
                    <a:pt x="122" y="163"/>
                    <a:pt x="122" y="163"/>
                  </a:cubicBezTo>
                  <a:cubicBezTo>
                    <a:pt x="131" y="157"/>
                    <a:pt x="138" y="145"/>
                    <a:pt x="139" y="135"/>
                  </a:cubicBezTo>
                  <a:cubicBezTo>
                    <a:pt x="139" y="135"/>
                    <a:pt x="139" y="134"/>
                    <a:pt x="139" y="134"/>
                  </a:cubicBezTo>
                  <a:cubicBezTo>
                    <a:pt x="139" y="12"/>
                    <a:pt x="139" y="12"/>
                    <a:pt x="139" y="12"/>
                  </a:cubicBezTo>
                  <a:cubicBezTo>
                    <a:pt x="139" y="11"/>
                    <a:pt x="139" y="11"/>
                    <a:pt x="138" y="10"/>
                  </a:cubicBezTo>
                  <a:cubicBezTo>
                    <a:pt x="138" y="9"/>
                    <a:pt x="138" y="9"/>
                    <a:pt x="138" y="9"/>
                  </a:cubicBezTo>
                  <a:cubicBezTo>
                    <a:pt x="138" y="9"/>
                    <a:pt x="138" y="9"/>
                    <a:pt x="138" y="9"/>
                  </a:cubicBezTo>
                  <a:cubicBezTo>
                    <a:pt x="138" y="4"/>
                    <a:pt x="134" y="0"/>
                    <a:pt x="129" y="0"/>
                  </a:cubicBezTo>
                </a:path>
              </a:pathLst>
            </a:custGeom>
            <a:solidFill>
              <a:srgbClr val="157A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3" name="i$ļîḑ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E4D7A55F-8C18-4602-B247-F4DDC7B652D1}"/>
                </a:ext>
              </a:extLst>
            </p:cNvPr>
            <p:cNvSpPr/>
            <p:nvPr/>
          </p:nvSpPr>
          <p:spPr bwMode="auto">
            <a:xfrm>
              <a:off x="5057775" y="4443413"/>
              <a:ext cx="33338" cy="377825"/>
            </a:xfrm>
            <a:custGeom>
              <a:avLst/>
              <a:gdLst>
                <a:gd name="T0" fmla="*/ 2 w 13"/>
                <a:gd name="T1" fmla="*/ 147 h 150"/>
                <a:gd name="T2" fmla="*/ 9 w 13"/>
                <a:gd name="T3" fmla="*/ 150 h 150"/>
                <a:gd name="T4" fmla="*/ 13 w 13"/>
                <a:gd name="T5" fmla="*/ 149 h 150"/>
                <a:gd name="T6" fmla="*/ 9 w 13"/>
                <a:gd name="T7" fmla="*/ 150 h 150"/>
                <a:gd name="T8" fmla="*/ 2 w 13"/>
                <a:gd name="T9" fmla="*/ 147 h 150"/>
                <a:gd name="T10" fmla="*/ 5 w 13"/>
                <a:gd name="T11" fmla="*/ 0 h 150"/>
                <a:gd name="T12" fmla="*/ 0 w 13"/>
                <a:gd name="T13" fmla="*/ 15 h 150"/>
                <a:gd name="T14" fmla="*/ 5 w 13"/>
                <a:gd name="T15" fmla="*/ 0 h 150"/>
                <a:gd name="T16" fmla="*/ 5 w 13"/>
                <a:gd name="T17"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50">
                  <a:moveTo>
                    <a:pt x="2" y="147"/>
                  </a:moveTo>
                  <a:cubicBezTo>
                    <a:pt x="4" y="149"/>
                    <a:pt x="6" y="150"/>
                    <a:pt x="9" y="150"/>
                  </a:cubicBezTo>
                  <a:cubicBezTo>
                    <a:pt x="10" y="150"/>
                    <a:pt x="12" y="150"/>
                    <a:pt x="13" y="149"/>
                  </a:cubicBezTo>
                  <a:cubicBezTo>
                    <a:pt x="12" y="150"/>
                    <a:pt x="10" y="150"/>
                    <a:pt x="9" y="150"/>
                  </a:cubicBezTo>
                  <a:cubicBezTo>
                    <a:pt x="6" y="150"/>
                    <a:pt x="4" y="149"/>
                    <a:pt x="2" y="147"/>
                  </a:cubicBezTo>
                  <a:moveTo>
                    <a:pt x="5" y="0"/>
                  </a:moveTo>
                  <a:cubicBezTo>
                    <a:pt x="2" y="5"/>
                    <a:pt x="0" y="10"/>
                    <a:pt x="0" y="15"/>
                  </a:cubicBezTo>
                  <a:cubicBezTo>
                    <a:pt x="0" y="10"/>
                    <a:pt x="2" y="5"/>
                    <a:pt x="5" y="0"/>
                  </a:cubicBezTo>
                  <a:cubicBezTo>
                    <a:pt x="5" y="0"/>
                    <a:pt x="5" y="0"/>
                    <a:pt x="5" y="0"/>
                  </a:cubicBezTo>
                </a:path>
              </a:pathLst>
            </a:custGeom>
            <a:solidFill>
              <a:srgbClr val="0A37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4" name="i$ḷïḑ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9C42117D-20B0-4311-BFCC-80B34A79EC0D}"/>
                </a:ext>
              </a:extLst>
            </p:cNvPr>
            <p:cNvSpPr/>
            <p:nvPr/>
          </p:nvSpPr>
          <p:spPr bwMode="auto">
            <a:xfrm>
              <a:off x="5287963" y="4179888"/>
              <a:ext cx="55563" cy="15875"/>
            </a:xfrm>
            <a:custGeom>
              <a:avLst/>
              <a:gdLst>
                <a:gd name="T0" fmla="*/ 1 w 22"/>
                <a:gd name="T1" fmla="*/ 0 h 6"/>
                <a:gd name="T2" fmla="*/ 0 w 22"/>
                <a:gd name="T3" fmla="*/ 0 h 6"/>
                <a:gd name="T4" fmla="*/ 1 w 22"/>
                <a:gd name="T5" fmla="*/ 0 h 6"/>
                <a:gd name="T6" fmla="*/ 18 w 22"/>
                <a:gd name="T7" fmla="*/ 4 h 6"/>
                <a:gd name="T8" fmla="*/ 22 w 22"/>
                <a:gd name="T9" fmla="*/ 6 h 6"/>
                <a:gd name="T10" fmla="*/ 18 w 22"/>
                <a:gd name="T11" fmla="*/ 4 h 6"/>
                <a:gd name="T12" fmla="*/ 1 w 2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2" h="6">
                  <a:moveTo>
                    <a:pt x="1" y="0"/>
                  </a:moveTo>
                  <a:cubicBezTo>
                    <a:pt x="1" y="0"/>
                    <a:pt x="0" y="0"/>
                    <a:pt x="0" y="0"/>
                  </a:cubicBezTo>
                  <a:cubicBezTo>
                    <a:pt x="0" y="0"/>
                    <a:pt x="1" y="0"/>
                    <a:pt x="1" y="0"/>
                  </a:cubicBezTo>
                  <a:cubicBezTo>
                    <a:pt x="7" y="0"/>
                    <a:pt x="13" y="1"/>
                    <a:pt x="18" y="4"/>
                  </a:cubicBezTo>
                  <a:cubicBezTo>
                    <a:pt x="22" y="6"/>
                    <a:pt x="22" y="6"/>
                    <a:pt x="22" y="6"/>
                  </a:cubicBezTo>
                  <a:cubicBezTo>
                    <a:pt x="18" y="4"/>
                    <a:pt x="18" y="4"/>
                    <a:pt x="18" y="4"/>
                  </a:cubicBezTo>
                  <a:cubicBezTo>
                    <a:pt x="13" y="1"/>
                    <a:pt x="7" y="0"/>
                    <a:pt x="1" y="0"/>
                  </a:cubicBezTo>
                </a:path>
              </a:pathLst>
            </a:custGeom>
            <a:solidFill>
              <a:srgbClr val="9F9F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5" name="ïşļîďé">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0A653921-CAB3-40FA-93EA-2D3811F5E3C5}"/>
                </a:ext>
              </a:extLst>
            </p:cNvPr>
            <p:cNvSpPr/>
            <p:nvPr/>
          </p:nvSpPr>
          <p:spPr bwMode="auto">
            <a:xfrm>
              <a:off x="4953000" y="4179888"/>
              <a:ext cx="454025" cy="263525"/>
            </a:xfrm>
            <a:custGeom>
              <a:avLst/>
              <a:gdLst>
                <a:gd name="T0" fmla="*/ 133 w 179"/>
                <a:gd name="T1" fmla="*/ 0 h 104"/>
                <a:gd name="T2" fmla="*/ 132 w 179"/>
                <a:gd name="T3" fmla="*/ 0 h 104"/>
                <a:gd name="T4" fmla="*/ 117 w 179"/>
                <a:gd name="T5" fmla="*/ 4 h 104"/>
                <a:gd name="T6" fmla="*/ 11 w 179"/>
                <a:gd name="T7" fmla="*/ 65 h 104"/>
                <a:gd name="T8" fmla="*/ 0 w 179"/>
                <a:gd name="T9" fmla="*/ 77 h 104"/>
                <a:gd name="T10" fmla="*/ 46 w 179"/>
                <a:gd name="T11" fmla="*/ 104 h 104"/>
                <a:gd name="T12" fmla="*/ 57 w 179"/>
                <a:gd name="T13" fmla="*/ 92 h 104"/>
                <a:gd name="T14" fmla="*/ 163 w 179"/>
                <a:gd name="T15" fmla="*/ 30 h 104"/>
                <a:gd name="T16" fmla="*/ 170 w 179"/>
                <a:gd name="T17" fmla="*/ 28 h 104"/>
                <a:gd name="T18" fmla="*/ 179 w 179"/>
                <a:gd name="T19" fmla="*/ 37 h 104"/>
                <a:gd name="T20" fmla="*/ 163 w 179"/>
                <a:gd name="T21" fmla="*/ 12 h 104"/>
                <a:gd name="T22" fmla="*/ 154 w 179"/>
                <a:gd name="T23" fmla="*/ 6 h 104"/>
                <a:gd name="T24" fmla="*/ 150 w 179"/>
                <a:gd name="T25" fmla="*/ 4 h 104"/>
                <a:gd name="T26" fmla="*/ 133 w 179"/>
                <a:gd name="T2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9" h="104">
                  <a:moveTo>
                    <a:pt x="133" y="0"/>
                  </a:moveTo>
                  <a:cubicBezTo>
                    <a:pt x="133" y="0"/>
                    <a:pt x="132" y="0"/>
                    <a:pt x="132" y="0"/>
                  </a:cubicBezTo>
                  <a:cubicBezTo>
                    <a:pt x="126" y="0"/>
                    <a:pt x="121" y="2"/>
                    <a:pt x="117" y="4"/>
                  </a:cubicBezTo>
                  <a:cubicBezTo>
                    <a:pt x="11" y="65"/>
                    <a:pt x="11" y="65"/>
                    <a:pt x="11" y="65"/>
                  </a:cubicBezTo>
                  <a:cubicBezTo>
                    <a:pt x="7" y="68"/>
                    <a:pt x="2" y="72"/>
                    <a:pt x="0" y="77"/>
                  </a:cubicBezTo>
                  <a:cubicBezTo>
                    <a:pt x="46" y="104"/>
                    <a:pt x="46" y="104"/>
                    <a:pt x="46" y="104"/>
                  </a:cubicBezTo>
                  <a:cubicBezTo>
                    <a:pt x="49" y="99"/>
                    <a:pt x="53" y="94"/>
                    <a:pt x="57" y="92"/>
                  </a:cubicBezTo>
                  <a:cubicBezTo>
                    <a:pt x="163" y="30"/>
                    <a:pt x="163" y="30"/>
                    <a:pt x="163" y="30"/>
                  </a:cubicBezTo>
                  <a:cubicBezTo>
                    <a:pt x="166" y="29"/>
                    <a:pt x="168" y="28"/>
                    <a:pt x="170" y="28"/>
                  </a:cubicBezTo>
                  <a:cubicBezTo>
                    <a:pt x="175" y="28"/>
                    <a:pt x="178" y="31"/>
                    <a:pt x="179" y="37"/>
                  </a:cubicBezTo>
                  <a:cubicBezTo>
                    <a:pt x="178" y="27"/>
                    <a:pt x="171" y="16"/>
                    <a:pt x="163" y="12"/>
                  </a:cubicBezTo>
                  <a:cubicBezTo>
                    <a:pt x="154" y="6"/>
                    <a:pt x="154" y="6"/>
                    <a:pt x="154" y="6"/>
                  </a:cubicBezTo>
                  <a:cubicBezTo>
                    <a:pt x="150" y="4"/>
                    <a:pt x="150" y="4"/>
                    <a:pt x="150" y="4"/>
                  </a:cubicBezTo>
                  <a:cubicBezTo>
                    <a:pt x="145" y="1"/>
                    <a:pt x="139" y="0"/>
                    <a:pt x="133" y="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chemeClr val="accent1">
                    <a:lumMod val="75000"/>
                    <a:lumOff val="25000"/>
                  </a:schemeClr>
                </a:solidFill>
              </a:endParaRPr>
            </a:p>
          </p:txBody>
        </p:sp>
        <p:sp>
          <p:nvSpPr>
            <p:cNvPr id="86" name="ïṥḻid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7103DE74-7034-4D75-A7EA-F5E007E819EA}"/>
                </a:ext>
              </a:extLst>
            </p:cNvPr>
            <p:cNvSpPr/>
            <p:nvPr/>
          </p:nvSpPr>
          <p:spPr bwMode="auto">
            <a:xfrm>
              <a:off x="5070475" y="4251325"/>
              <a:ext cx="336550" cy="192088"/>
            </a:xfrm>
            <a:custGeom>
              <a:avLst/>
              <a:gdLst>
                <a:gd name="T0" fmla="*/ 124 w 133"/>
                <a:gd name="T1" fmla="*/ 0 h 76"/>
                <a:gd name="T2" fmla="*/ 117 w 133"/>
                <a:gd name="T3" fmla="*/ 2 h 76"/>
                <a:gd name="T4" fmla="*/ 11 w 133"/>
                <a:gd name="T5" fmla="*/ 64 h 76"/>
                <a:gd name="T6" fmla="*/ 0 w 133"/>
                <a:gd name="T7" fmla="*/ 76 h 76"/>
                <a:gd name="T8" fmla="*/ 0 w 133"/>
                <a:gd name="T9" fmla="*/ 76 h 76"/>
                <a:gd name="T10" fmla="*/ 11 w 133"/>
                <a:gd name="T11" fmla="*/ 64 h 76"/>
                <a:gd name="T12" fmla="*/ 117 w 133"/>
                <a:gd name="T13" fmla="*/ 3 h 76"/>
                <a:gd name="T14" fmla="*/ 124 w 133"/>
                <a:gd name="T15" fmla="*/ 0 h 76"/>
                <a:gd name="T16" fmla="*/ 133 w 133"/>
                <a:gd name="T17" fmla="*/ 9 h 76"/>
                <a:gd name="T18" fmla="*/ 133 w 133"/>
                <a:gd name="T19" fmla="*/ 9 h 76"/>
                <a:gd name="T20" fmla="*/ 124 w 133"/>
                <a:gd name="T2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3" h="76">
                  <a:moveTo>
                    <a:pt x="124" y="0"/>
                  </a:moveTo>
                  <a:cubicBezTo>
                    <a:pt x="122" y="0"/>
                    <a:pt x="120" y="1"/>
                    <a:pt x="117" y="2"/>
                  </a:cubicBezTo>
                  <a:cubicBezTo>
                    <a:pt x="11" y="64"/>
                    <a:pt x="11" y="64"/>
                    <a:pt x="11" y="64"/>
                  </a:cubicBezTo>
                  <a:cubicBezTo>
                    <a:pt x="7" y="66"/>
                    <a:pt x="3" y="71"/>
                    <a:pt x="0" y="76"/>
                  </a:cubicBezTo>
                  <a:cubicBezTo>
                    <a:pt x="0" y="76"/>
                    <a:pt x="0" y="76"/>
                    <a:pt x="0" y="76"/>
                  </a:cubicBezTo>
                  <a:cubicBezTo>
                    <a:pt x="3" y="71"/>
                    <a:pt x="7" y="66"/>
                    <a:pt x="11" y="64"/>
                  </a:cubicBezTo>
                  <a:cubicBezTo>
                    <a:pt x="117" y="3"/>
                    <a:pt x="117" y="3"/>
                    <a:pt x="117" y="3"/>
                  </a:cubicBezTo>
                  <a:cubicBezTo>
                    <a:pt x="120" y="1"/>
                    <a:pt x="122" y="0"/>
                    <a:pt x="124" y="0"/>
                  </a:cubicBezTo>
                  <a:cubicBezTo>
                    <a:pt x="129" y="0"/>
                    <a:pt x="133" y="4"/>
                    <a:pt x="133" y="9"/>
                  </a:cubicBezTo>
                  <a:cubicBezTo>
                    <a:pt x="133" y="9"/>
                    <a:pt x="133" y="9"/>
                    <a:pt x="133" y="9"/>
                  </a:cubicBezTo>
                  <a:cubicBezTo>
                    <a:pt x="132" y="3"/>
                    <a:pt x="129" y="0"/>
                    <a:pt x="124" y="0"/>
                  </a:cubicBezTo>
                </a:path>
              </a:pathLst>
            </a:custGeom>
            <a:solidFill>
              <a:srgbClr val="0E4F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7" name="ïṩļîḓè">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A29B045D-5481-412F-8947-3EF186EB973F}"/>
                </a:ext>
              </a:extLst>
            </p:cNvPr>
            <p:cNvSpPr/>
            <p:nvPr/>
          </p:nvSpPr>
          <p:spPr bwMode="auto">
            <a:xfrm>
              <a:off x="5151438" y="4364038"/>
              <a:ext cx="152400" cy="352425"/>
            </a:xfrm>
            <a:custGeom>
              <a:avLst/>
              <a:gdLst>
                <a:gd name="T0" fmla="*/ 9 w 60"/>
                <a:gd name="T1" fmla="*/ 91 h 139"/>
                <a:gd name="T2" fmla="*/ 12 w 60"/>
                <a:gd name="T3" fmla="*/ 88 h 139"/>
                <a:gd name="T4" fmla="*/ 13 w 60"/>
                <a:gd name="T5" fmla="*/ 82 h 139"/>
                <a:gd name="T6" fmla="*/ 12 w 60"/>
                <a:gd name="T7" fmla="*/ 79 h 139"/>
                <a:gd name="T8" fmla="*/ 9 w 60"/>
                <a:gd name="T9" fmla="*/ 67 h 139"/>
                <a:gd name="T10" fmla="*/ 31 w 60"/>
                <a:gd name="T11" fmla="*/ 22 h 139"/>
                <a:gd name="T12" fmla="*/ 49 w 60"/>
                <a:gd name="T13" fmla="*/ 37 h 139"/>
                <a:gd name="T14" fmla="*/ 35 w 60"/>
                <a:gd name="T15" fmla="*/ 82 h 139"/>
                <a:gd name="T16" fmla="*/ 28 w 60"/>
                <a:gd name="T17" fmla="*/ 73 h 139"/>
                <a:gd name="T18" fmla="*/ 32 w 60"/>
                <a:gd name="T19" fmla="*/ 46 h 139"/>
                <a:gd name="T20" fmla="*/ 26 w 60"/>
                <a:gd name="T21" fmla="*/ 39 h 139"/>
                <a:gd name="T22" fmla="*/ 18 w 60"/>
                <a:gd name="T23" fmla="*/ 62 h 139"/>
                <a:gd name="T24" fmla="*/ 19 w 60"/>
                <a:gd name="T25" fmla="*/ 72 h 139"/>
                <a:gd name="T26" fmla="*/ 13 w 60"/>
                <a:gd name="T27" fmla="*/ 113 h 139"/>
                <a:gd name="T28" fmla="*/ 13 w 60"/>
                <a:gd name="T29" fmla="*/ 139 h 139"/>
                <a:gd name="T30" fmla="*/ 14 w 60"/>
                <a:gd name="T31" fmla="*/ 138 h 139"/>
                <a:gd name="T32" fmla="*/ 22 w 60"/>
                <a:gd name="T33" fmla="*/ 111 h 139"/>
                <a:gd name="T34" fmla="*/ 25 w 60"/>
                <a:gd name="T35" fmla="*/ 91 h 139"/>
                <a:gd name="T36" fmla="*/ 36 w 60"/>
                <a:gd name="T37" fmla="*/ 93 h 139"/>
                <a:gd name="T38" fmla="*/ 60 w 60"/>
                <a:gd name="T39" fmla="*/ 32 h 139"/>
                <a:gd name="T40" fmla="*/ 32 w 60"/>
                <a:gd name="T41" fmla="*/ 9 h 139"/>
                <a:gd name="T42" fmla="*/ 0 w 60"/>
                <a:gd name="T43" fmla="*/ 70 h 139"/>
                <a:gd name="T44" fmla="*/ 9 w 60"/>
                <a:gd name="T45" fmla="*/ 9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139">
                  <a:moveTo>
                    <a:pt x="9" y="91"/>
                  </a:moveTo>
                  <a:cubicBezTo>
                    <a:pt x="10" y="91"/>
                    <a:pt x="11" y="90"/>
                    <a:pt x="12" y="88"/>
                  </a:cubicBezTo>
                  <a:cubicBezTo>
                    <a:pt x="12" y="87"/>
                    <a:pt x="12" y="84"/>
                    <a:pt x="13" y="82"/>
                  </a:cubicBezTo>
                  <a:cubicBezTo>
                    <a:pt x="13" y="80"/>
                    <a:pt x="13" y="80"/>
                    <a:pt x="12" y="79"/>
                  </a:cubicBezTo>
                  <a:cubicBezTo>
                    <a:pt x="10" y="77"/>
                    <a:pt x="9" y="73"/>
                    <a:pt x="9" y="67"/>
                  </a:cubicBezTo>
                  <a:cubicBezTo>
                    <a:pt x="9" y="50"/>
                    <a:pt x="17" y="30"/>
                    <a:pt x="31" y="22"/>
                  </a:cubicBezTo>
                  <a:cubicBezTo>
                    <a:pt x="43" y="15"/>
                    <a:pt x="49" y="22"/>
                    <a:pt x="49" y="37"/>
                  </a:cubicBezTo>
                  <a:cubicBezTo>
                    <a:pt x="49" y="57"/>
                    <a:pt x="44" y="77"/>
                    <a:pt x="35" y="82"/>
                  </a:cubicBezTo>
                  <a:cubicBezTo>
                    <a:pt x="31" y="84"/>
                    <a:pt x="27" y="81"/>
                    <a:pt x="28" y="73"/>
                  </a:cubicBezTo>
                  <a:cubicBezTo>
                    <a:pt x="30" y="63"/>
                    <a:pt x="32" y="52"/>
                    <a:pt x="32" y="46"/>
                  </a:cubicBezTo>
                  <a:cubicBezTo>
                    <a:pt x="32" y="41"/>
                    <a:pt x="30" y="37"/>
                    <a:pt x="26" y="39"/>
                  </a:cubicBezTo>
                  <a:cubicBezTo>
                    <a:pt x="21" y="42"/>
                    <a:pt x="18" y="52"/>
                    <a:pt x="18" y="62"/>
                  </a:cubicBezTo>
                  <a:cubicBezTo>
                    <a:pt x="18" y="68"/>
                    <a:pt x="19" y="72"/>
                    <a:pt x="19" y="72"/>
                  </a:cubicBezTo>
                  <a:cubicBezTo>
                    <a:pt x="19" y="72"/>
                    <a:pt x="14" y="107"/>
                    <a:pt x="13" y="113"/>
                  </a:cubicBezTo>
                  <a:cubicBezTo>
                    <a:pt x="12" y="125"/>
                    <a:pt x="13" y="137"/>
                    <a:pt x="13" y="139"/>
                  </a:cubicBezTo>
                  <a:cubicBezTo>
                    <a:pt x="13" y="139"/>
                    <a:pt x="14" y="139"/>
                    <a:pt x="14" y="138"/>
                  </a:cubicBezTo>
                  <a:cubicBezTo>
                    <a:pt x="15" y="137"/>
                    <a:pt x="20" y="123"/>
                    <a:pt x="22" y="111"/>
                  </a:cubicBezTo>
                  <a:cubicBezTo>
                    <a:pt x="23" y="108"/>
                    <a:pt x="25" y="91"/>
                    <a:pt x="25" y="91"/>
                  </a:cubicBezTo>
                  <a:cubicBezTo>
                    <a:pt x="27" y="94"/>
                    <a:pt x="31" y="96"/>
                    <a:pt x="36" y="93"/>
                  </a:cubicBezTo>
                  <a:cubicBezTo>
                    <a:pt x="51" y="85"/>
                    <a:pt x="60" y="59"/>
                    <a:pt x="60" y="32"/>
                  </a:cubicBezTo>
                  <a:cubicBezTo>
                    <a:pt x="60" y="12"/>
                    <a:pt x="49" y="0"/>
                    <a:pt x="32" y="9"/>
                  </a:cubicBezTo>
                  <a:cubicBezTo>
                    <a:pt x="11" y="22"/>
                    <a:pt x="0" y="51"/>
                    <a:pt x="0" y="70"/>
                  </a:cubicBezTo>
                  <a:cubicBezTo>
                    <a:pt x="0" y="82"/>
                    <a:pt x="3" y="91"/>
                    <a:pt x="9" y="9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8" name="ïṩḷíḍ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05E2A247-73E5-4026-9035-59C4050DB4E4}"/>
                </a:ext>
              </a:extLst>
            </p:cNvPr>
            <p:cNvSpPr/>
            <p:nvPr/>
          </p:nvSpPr>
          <p:spPr bwMode="auto">
            <a:xfrm>
              <a:off x="4254500" y="3897313"/>
              <a:ext cx="468313" cy="654050"/>
            </a:xfrm>
            <a:custGeom>
              <a:avLst/>
              <a:gdLst>
                <a:gd name="T0" fmla="*/ 17 w 185"/>
                <a:gd name="T1" fmla="*/ 67 h 259"/>
                <a:gd name="T2" fmla="*/ 122 w 185"/>
                <a:gd name="T3" fmla="*/ 5 h 259"/>
                <a:gd name="T4" fmla="*/ 155 w 185"/>
                <a:gd name="T5" fmla="*/ 5 h 259"/>
                <a:gd name="T6" fmla="*/ 169 w 185"/>
                <a:gd name="T7" fmla="*/ 13 h 259"/>
                <a:gd name="T8" fmla="*/ 185 w 185"/>
                <a:gd name="T9" fmla="*/ 42 h 259"/>
                <a:gd name="T10" fmla="*/ 185 w 185"/>
                <a:gd name="T11" fmla="*/ 164 h 259"/>
                <a:gd name="T12" fmla="*/ 169 w 185"/>
                <a:gd name="T13" fmla="*/ 192 h 259"/>
                <a:gd name="T14" fmla="*/ 63 w 185"/>
                <a:gd name="T15" fmla="*/ 253 h 259"/>
                <a:gd name="T16" fmla="*/ 30 w 185"/>
                <a:gd name="T17" fmla="*/ 253 h 259"/>
                <a:gd name="T18" fmla="*/ 17 w 185"/>
                <a:gd name="T19" fmla="*/ 246 h 259"/>
                <a:gd name="T20" fmla="*/ 0 w 185"/>
                <a:gd name="T21" fmla="*/ 217 h 259"/>
                <a:gd name="T22" fmla="*/ 0 w 185"/>
                <a:gd name="T23" fmla="*/ 95 h 259"/>
                <a:gd name="T24" fmla="*/ 17 w 185"/>
                <a:gd name="T25" fmla="*/ 6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5" h="259">
                  <a:moveTo>
                    <a:pt x="17" y="67"/>
                  </a:moveTo>
                  <a:cubicBezTo>
                    <a:pt x="122" y="5"/>
                    <a:pt x="122" y="5"/>
                    <a:pt x="122" y="5"/>
                  </a:cubicBezTo>
                  <a:cubicBezTo>
                    <a:pt x="132" y="0"/>
                    <a:pt x="146" y="0"/>
                    <a:pt x="155" y="5"/>
                  </a:cubicBezTo>
                  <a:cubicBezTo>
                    <a:pt x="169" y="13"/>
                    <a:pt x="169" y="13"/>
                    <a:pt x="169" y="13"/>
                  </a:cubicBezTo>
                  <a:cubicBezTo>
                    <a:pt x="178" y="18"/>
                    <a:pt x="185" y="31"/>
                    <a:pt x="185" y="42"/>
                  </a:cubicBezTo>
                  <a:cubicBezTo>
                    <a:pt x="185" y="164"/>
                    <a:pt x="185" y="164"/>
                    <a:pt x="185" y="164"/>
                  </a:cubicBezTo>
                  <a:cubicBezTo>
                    <a:pt x="185" y="174"/>
                    <a:pt x="178" y="187"/>
                    <a:pt x="169" y="192"/>
                  </a:cubicBezTo>
                  <a:cubicBezTo>
                    <a:pt x="63" y="253"/>
                    <a:pt x="63" y="253"/>
                    <a:pt x="63" y="253"/>
                  </a:cubicBezTo>
                  <a:cubicBezTo>
                    <a:pt x="54" y="259"/>
                    <a:pt x="39" y="259"/>
                    <a:pt x="30" y="253"/>
                  </a:cubicBezTo>
                  <a:cubicBezTo>
                    <a:pt x="17" y="246"/>
                    <a:pt x="17" y="246"/>
                    <a:pt x="17" y="246"/>
                  </a:cubicBezTo>
                  <a:cubicBezTo>
                    <a:pt x="8" y="240"/>
                    <a:pt x="0" y="228"/>
                    <a:pt x="0" y="217"/>
                  </a:cubicBezTo>
                  <a:cubicBezTo>
                    <a:pt x="0" y="95"/>
                    <a:pt x="0" y="95"/>
                    <a:pt x="0" y="95"/>
                  </a:cubicBezTo>
                  <a:cubicBezTo>
                    <a:pt x="0" y="84"/>
                    <a:pt x="8" y="72"/>
                    <a:pt x="17" y="67"/>
                  </a:cubicBezTo>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9" name="î$ḻíḍè">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298DF2FA-8830-485D-93E7-FC5D36C0EEBE}"/>
                </a:ext>
              </a:extLst>
            </p:cNvPr>
            <p:cNvSpPr/>
            <p:nvPr/>
          </p:nvSpPr>
          <p:spPr bwMode="auto">
            <a:xfrm>
              <a:off x="4254500" y="4445000"/>
              <a:ext cx="115888" cy="101600"/>
            </a:xfrm>
            <a:custGeom>
              <a:avLst/>
              <a:gdLst>
                <a:gd name="T0" fmla="*/ 0 w 46"/>
                <a:gd name="T1" fmla="*/ 0 h 40"/>
                <a:gd name="T2" fmla="*/ 0 w 46"/>
                <a:gd name="T3" fmla="*/ 0 h 40"/>
                <a:gd name="T4" fmla="*/ 17 w 46"/>
                <a:gd name="T5" fmla="*/ 29 h 40"/>
                <a:gd name="T6" fmla="*/ 30 w 46"/>
                <a:gd name="T7" fmla="*/ 36 h 40"/>
                <a:gd name="T8" fmla="*/ 46 w 46"/>
                <a:gd name="T9" fmla="*/ 40 h 40"/>
                <a:gd name="T10" fmla="*/ 30 w 46"/>
                <a:gd name="T11" fmla="*/ 36 h 40"/>
                <a:gd name="T12" fmla="*/ 17 w 46"/>
                <a:gd name="T13" fmla="*/ 29 h 40"/>
                <a:gd name="T14" fmla="*/ 0 w 46"/>
                <a:gd name="T15" fmla="*/ 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40">
                  <a:moveTo>
                    <a:pt x="0" y="0"/>
                  </a:moveTo>
                  <a:cubicBezTo>
                    <a:pt x="0" y="0"/>
                    <a:pt x="0" y="0"/>
                    <a:pt x="0" y="0"/>
                  </a:cubicBezTo>
                  <a:cubicBezTo>
                    <a:pt x="0" y="11"/>
                    <a:pt x="8" y="23"/>
                    <a:pt x="17" y="29"/>
                  </a:cubicBezTo>
                  <a:cubicBezTo>
                    <a:pt x="30" y="36"/>
                    <a:pt x="30" y="36"/>
                    <a:pt x="30" y="36"/>
                  </a:cubicBezTo>
                  <a:cubicBezTo>
                    <a:pt x="34" y="39"/>
                    <a:pt x="40" y="40"/>
                    <a:pt x="46" y="40"/>
                  </a:cubicBezTo>
                  <a:cubicBezTo>
                    <a:pt x="40" y="40"/>
                    <a:pt x="34" y="39"/>
                    <a:pt x="30" y="36"/>
                  </a:cubicBezTo>
                  <a:cubicBezTo>
                    <a:pt x="17" y="29"/>
                    <a:pt x="17" y="29"/>
                    <a:pt x="17" y="29"/>
                  </a:cubicBezTo>
                  <a:cubicBezTo>
                    <a:pt x="8" y="23"/>
                    <a:pt x="0" y="11"/>
                    <a:pt x="0" y="0"/>
                  </a:cubicBezTo>
                </a:path>
              </a:pathLst>
            </a:custGeom>
            <a:solidFill>
              <a:srgbClr val="DCDC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0" name="ïsļîḑ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179D8409-8DA4-4F00-9B10-BF49DBE2DCFE}"/>
                </a:ext>
              </a:extLst>
            </p:cNvPr>
            <p:cNvSpPr/>
            <p:nvPr/>
          </p:nvSpPr>
          <p:spPr bwMode="auto">
            <a:xfrm>
              <a:off x="4254500" y="4095750"/>
              <a:ext cx="149225" cy="450850"/>
            </a:xfrm>
            <a:custGeom>
              <a:avLst/>
              <a:gdLst>
                <a:gd name="T0" fmla="*/ 5 w 59"/>
                <a:gd name="T1" fmla="*/ 0 h 178"/>
                <a:gd name="T2" fmla="*/ 0 w 59"/>
                <a:gd name="T3" fmla="*/ 16 h 178"/>
                <a:gd name="T4" fmla="*/ 0 w 59"/>
                <a:gd name="T5" fmla="*/ 138 h 178"/>
                <a:gd name="T6" fmla="*/ 17 w 59"/>
                <a:gd name="T7" fmla="*/ 167 h 178"/>
                <a:gd name="T8" fmla="*/ 30 w 59"/>
                <a:gd name="T9" fmla="*/ 174 h 178"/>
                <a:gd name="T10" fmla="*/ 46 w 59"/>
                <a:gd name="T11" fmla="*/ 178 h 178"/>
                <a:gd name="T12" fmla="*/ 46 w 59"/>
                <a:gd name="T13" fmla="*/ 178 h 178"/>
                <a:gd name="T14" fmla="*/ 59 w 59"/>
                <a:gd name="T15" fmla="*/ 176 h 178"/>
                <a:gd name="T16" fmla="*/ 55 w 59"/>
                <a:gd name="T17" fmla="*/ 177 h 178"/>
                <a:gd name="T18" fmla="*/ 46 w 59"/>
                <a:gd name="T19" fmla="*/ 165 h 178"/>
                <a:gd name="T20" fmla="*/ 46 w 59"/>
                <a:gd name="T21" fmla="*/ 43 h 178"/>
                <a:gd name="T22" fmla="*/ 46 w 59"/>
                <a:gd name="T23" fmla="*/ 43 h 178"/>
                <a:gd name="T24" fmla="*/ 46 w 59"/>
                <a:gd name="T25" fmla="*/ 43 h 178"/>
                <a:gd name="T26" fmla="*/ 51 w 59"/>
                <a:gd name="T27" fmla="*/ 26 h 178"/>
                <a:gd name="T28" fmla="*/ 5 w 59"/>
                <a:gd name="T29"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178">
                  <a:moveTo>
                    <a:pt x="5" y="0"/>
                  </a:moveTo>
                  <a:cubicBezTo>
                    <a:pt x="2" y="5"/>
                    <a:pt x="0" y="11"/>
                    <a:pt x="0" y="16"/>
                  </a:cubicBezTo>
                  <a:cubicBezTo>
                    <a:pt x="0" y="138"/>
                    <a:pt x="0" y="138"/>
                    <a:pt x="0" y="138"/>
                  </a:cubicBezTo>
                  <a:cubicBezTo>
                    <a:pt x="0" y="149"/>
                    <a:pt x="8" y="161"/>
                    <a:pt x="17" y="167"/>
                  </a:cubicBezTo>
                  <a:cubicBezTo>
                    <a:pt x="30" y="174"/>
                    <a:pt x="30" y="174"/>
                    <a:pt x="30" y="174"/>
                  </a:cubicBezTo>
                  <a:cubicBezTo>
                    <a:pt x="34" y="177"/>
                    <a:pt x="40" y="178"/>
                    <a:pt x="46" y="178"/>
                  </a:cubicBezTo>
                  <a:cubicBezTo>
                    <a:pt x="46" y="178"/>
                    <a:pt x="46" y="178"/>
                    <a:pt x="46" y="178"/>
                  </a:cubicBezTo>
                  <a:cubicBezTo>
                    <a:pt x="51" y="178"/>
                    <a:pt x="55" y="177"/>
                    <a:pt x="59" y="176"/>
                  </a:cubicBezTo>
                  <a:cubicBezTo>
                    <a:pt x="58" y="176"/>
                    <a:pt x="57" y="177"/>
                    <a:pt x="55" y="177"/>
                  </a:cubicBezTo>
                  <a:cubicBezTo>
                    <a:pt x="50" y="177"/>
                    <a:pt x="46" y="172"/>
                    <a:pt x="46" y="165"/>
                  </a:cubicBezTo>
                  <a:cubicBezTo>
                    <a:pt x="46" y="43"/>
                    <a:pt x="46" y="43"/>
                    <a:pt x="46" y="43"/>
                  </a:cubicBezTo>
                  <a:cubicBezTo>
                    <a:pt x="46" y="43"/>
                    <a:pt x="46" y="43"/>
                    <a:pt x="46" y="43"/>
                  </a:cubicBezTo>
                  <a:cubicBezTo>
                    <a:pt x="46" y="43"/>
                    <a:pt x="46" y="43"/>
                    <a:pt x="46" y="43"/>
                  </a:cubicBezTo>
                  <a:cubicBezTo>
                    <a:pt x="46" y="37"/>
                    <a:pt x="48" y="32"/>
                    <a:pt x="51" y="26"/>
                  </a:cubicBezTo>
                  <a:cubicBezTo>
                    <a:pt x="5" y="0"/>
                    <a:pt x="5" y="0"/>
                    <a:pt x="5" y="0"/>
                  </a:cubicBezTo>
                </a:path>
              </a:pathLst>
            </a:custGeom>
            <a:solidFill>
              <a:srgbClr val="23C7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1" name="ïŝḷïḋ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3E62AFEE-CDAD-4A6A-9322-75DB8E4B7635}"/>
                </a:ext>
              </a:extLst>
            </p:cNvPr>
            <p:cNvSpPr/>
            <p:nvPr/>
          </p:nvSpPr>
          <p:spPr bwMode="auto">
            <a:xfrm>
              <a:off x="4370388" y="3965575"/>
              <a:ext cx="352425" cy="585788"/>
            </a:xfrm>
            <a:custGeom>
              <a:avLst/>
              <a:gdLst>
                <a:gd name="T0" fmla="*/ 139 w 139"/>
                <a:gd name="T1" fmla="*/ 15 h 232"/>
                <a:gd name="T2" fmla="*/ 123 w 139"/>
                <a:gd name="T3" fmla="*/ 5 h 232"/>
                <a:gd name="T4" fmla="*/ 17 w 139"/>
                <a:gd name="T5" fmla="*/ 66 h 232"/>
                <a:gd name="T6" fmla="*/ 0 w 139"/>
                <a:gd name="T7" fmla="*/ 95 h 232"/>
                <a:gd name="T8" fmla="*/ 0 w 139"/>
                <a:gd name="T9" fmla="*/ 217 h 232"/>
                <a:gd name="T10" fmla="*/ 17 w 139"/>
                <a:gd name="T11" fmla="*/ 226 h 232"/>
                <a:gd name="T12" fmla="*/ 123 w 139"/>
                <a:gd name="T13" fmla="*/ 165 h 232"/>
                <a:gd name="T14" fmla="*/ 139 w 139"/>
                <a:gd name="T15" fmla="*/ 137 h 232"/>
                <a:gd name="T16" fmla="*/ 139 w 139"/>
                <a:gd name="T17" fmla="*/ 15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232">
                  <a:moveTo>
                    <a:pt x="139" y="15"/>
                  </a:moveTo>
                  <a:cubicBezTo>
                    <a:pt x="139" y="4"/>
                    <a:pt x="132" y="0"/>
                    <a:pt x="123" y="5"/>
                  </a:cubicBezTo>
                  <a:cubicBezTo>
                    <a:pt x="17" y="66"/>
                    <a:pt x="17" y="66"/>
                    <a:pt x="17" y="66"/>
                  </a:cubicBezTo>
                  <a:cubicBezTo>
                    <a:pt x="8" y="71"/>
                    <a:pt x="0" y="84"/>
                    <a:pt x="0" y="95"/>
                  </a:cubicBezTo>
                  <a:cubicBezTo>
                    <a:pt x="0" y="217"/>
                    <a:pt x="0" y="217"/>
                    <a:pt x="0" y="217"/>
                  </a:cubicBezTo>
                  <a:cubicBezTo>
                    <a:pt x="0" y="227"/>
                    <a:pt x="8" y="232"/>
                    <a:pt x="17" y="226"/>
                  </a:cubicBezTo>
                  <a:cubicBezTo>
                    <a:pt x="123" y="165"/>
                    <a:pt x="123" y="165"/>
                    <a:pt x="123" y="165"/>
                  </a:cubicBezTo>
                  <a:cubicBezTo>
                    <a:pt x="132" y="160"/>
                    <a:pt x="139" y="147"/>
                    <a:pt x="139" y="137"/>
                  </a:cubicBezTo>
                  <a:cubicBezTo>
                    <a:pt x="139" y="15"/>
                    <a:pt x="139" y="15"/>
                    <a:pt x="139" y="15"/>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chemeClr val="accent1">
                    <a:lumMod val="75000"/>
                    <a:lumOff val="25000"/>
                  </a:schemeClr>
                </a:solidFill>
              </a:endParaRPr>
            </a:p>
          </p:txBody>
        </p:sp>
        <p:sp>
          <p:nvSpPr>
            <p:cNvPr id="92" name="ïslîḑ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996B0CA2-AF52-4C6C-8FE8-F2A65B3945F8}"/>
                </a:ext>
              </a:extLst>
            </p:cNvPr>
            <p:cNvSpPr/>
            <p:nvPr/>
          </p:nvSpPr>
          <p:spPr bwMode="auto">
            <a:xfrm>
              <a:off x="4570413" y="3898900"/>
              <a:ext cx="88900" cy="17463"/>
            </a:xfrm>
            <a:custGeom>
              <a:avLst/>
              <a:gdLst>
                <a:gd name="T0" fmla="*/ 0 w 35"/>
                <a:gd name="T1" fmla="*/ 3 h 7"/>
                <a:gd name="T2" fmla="*/ 0 w 35"/>
                <a:gd name="T3" fmla="*/ 3 h 7"/>
                <a:gd name="T4" fmla="*/ 0 w 35"/>
                <a:gd name="T5" fmla="*/ 3 h 7"/>
                <a:gd name="T6" fmla="*/ 14 w 35"/>
                <a:gd name="T7" fmla="*/ 0 h 7"/>
                <a:gd name="T8" fmla="*/ 0 w 35"/>
                <a:gd name="T9" fmla="*/ 3 h 7"/>
                <a:gd name="T10" fmla="*/ 14 w 35"/>
                <a:gd name="T11" fmla="*/ 0 h 7"/>
                <a:gd name="T12" fmla="*/ 30 w 35"/>
                <a:gd name="T13" fmla="*/ 4 h 7"/>
                <a:gd name="T14" fmla="*/ 35 w 35"/>
                <a:gd name="T15" fmla="*/ 7 h 7"/>
                <a:gd name="T16" fmla="*/ 30 w 35"/>
                <a:gd name="T17" fmla="*/ 4 h 7"/>
                <a:gd name="T18" fmla="*/ 14 w 35"/>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7">
                  <a:moveTo>
                    <a:pt x="0" y="3"/>
                  </a:moveTo>
                  <a:cubicBezTo>
                    <a:pt x="0" y="3"/>
                    <a:pt x="0" y="3"/>
                    <a:pt x="0" y="3"/>
                  </a:cubicBezTo>
                  <a:cubicBezTo>
                    <a:pt x="0" y="3"/>
                    <a:pt x="0" y="3"/>
                    <a:pt x="0" y="3"/>
                  </a:cubicBezTo>
                  <a:moveTo>
                    <a:pt x="14" y="0"/>
                  </a:moveTo>
                  <a:cubicBezTo>
                    <a:pt x="9" y="0"/>
                    <a:pt x="4" y="1"/>
                    <a:pt x="0" y="3"/>
                  </a:cubicBezTo>
                  <a:cubicBezTo>
                    <a:pt x="4" y="1"/>
                    <a:pt x="9" y="0"/>
                    <a:pt x="14" y="0"/>
                  </a:cubicBezTo>
                  <a:cubicBezTo>
                    <a:pt x="20" y="0"/>
                    <a:pt x="26" y="2"/>
                    <a:pt x="30" y="4"/>
                  </a:cubicBezTo>
                  <a:cubicBezTo>
                    <a:pt x="35" y="7"/>
                    <a:pt x="35" y="7"/>
                    <a:pt x="35" y="7"/>
                  </a:cubicBezTo>
                  <a:cubicBezTo>
                    <a:pt x="30" y="4"/>
                    <a:pt x="30" y="4"/>
                    <a:pt x="30" y="4"/>
                  </a:cubicBezTo>
                  <a:cubicBezTo>
                    <a:pt x="26" y="2"/>
                    <a:pt x="20" y="0"/>
                    <a:pt x="14" y="0"/>
                  </a:cubicBezTo>
                </a:path>
              </a:pathLst>
            </a:custGeom>
            <a:solidFill>
              <a:srgbClr val="F9F9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3" name="iṩľíď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8054BA4F-1643-4924-BDF4-E5D259A62DD5}"/>
                </a:ext>
              </a:extLst>
            </p:cNvPr>
            <p:cNvSpPr/>
            <p:nvPr/>
          </p:nvSpPr>
          <p:spPr bwMode="auto">
            <a:xfrm>
              <a:off x="4267200" y="3898900"/>
              <a:ext cx="455613" cy="263525"/>
            </a:xfrm>
            <a:custGeom>
              <a:avLst/>
              <a:gdLst>
                <a:gd name="T0" fmla="*/ 134 w 180"/>
                <a:gd name="T1" fmla="*/ 0 h 104"/>
                <a:gd name="T2" fmla="*/ 120 w 180"/>
                <a:gd name="T3" fmla="*/ 3 h 104"/>
                <a:gd name="T4" fmla="*/ 120 w 180"/>
                <a:gd name="T5" fmla="*/ 3 h 104"/>
                <a:gd name="T6" fmla="*/ 120 w 180"/>
                <a:gd name="T7" fmla="*/ 3 h 104"/>
                <a:gd name="T8" fmla="*/ 117 w 180"/>
                <a:gd name="T9" fmla="*/ 4 h 104"/>
                <a:gd name="T10" fmla="*/ 12 w 180"/>
                <a:gd name="T11" fmla="*/ 66 h 104"/>
                <a:gd name="T12" fmla="*/ 0 w 180"/>
                <a:gd name="T13" fmla="*/ 78 h 104"/>
                <a:gd name="T14" fmla="*/ 46 w 180"/>
                <a:gd name="T15" fmla="*/ 104 h 104"/>
                <a:gd name="T16" fmla="*/ 58 w 180"/>
                <a:gd name="T17" fmla="*/ 92 h 104"/>
                <a:gd name="T18" fmla="*/ 164 w 180"/>
                <a:gd name="T19" fmla="*/ 31 h 104"/>
                <a:gd name="T20" fmla="*/ 171 w 180"/>
                <a:gd name="T21" fmla="*/ 29 h 104"/>
                <a:gd name="T22" fmla="*/ 179 w 180"/>
                <a:gd name="T23" fmla="*/ 35 h 104"/>
                <a:gd name="T24" fmla="*/ 179 w 180"/>
                <a:gd name="T25" fmla="*/ 35 h 104"/>
                <a:gd name="T26" fmla="*/ 179 w 180"/>
                <a:gd name="T27" fmla="*/ 35 h 104"/>
                <a:gd name="T28" fmla="*/ 179 w 180"/>
                <a:gd name="T29" fmla="*/ 35 h 104"/>
                <a:gd name="T30" fmla="*/ 179 w 180"/>
                <a:gd name="T31" fmla="*/ 35 h 104"/>
                <a:gd name="T32" fmla="*/ 179 w 180"/>
                <a:gd name="T33" fmla="*/ 35 h 104"/>
                <a:gd name="T34" fmla="*/ 179 w 180"/>
                <a:gd name="T35" fmla="*/ 35 h 104"/>
                <a:gd name="T36" fmla="*/ 179 w 180"/>
                <a:gd name="T37" fmla="*/ 35 h 104"/>
                <a:gd name="T38" fmla="*/ 179 w 180"/>
                <a:gd name="T39" fmla="*/ 35 h 104"/>
                <a:gd name="T40" fmla="*/ 179 w 180"/>
                <a:gd name="T41" fmla="*/ 35 h 104"/>
                <a:gd name="T42" fmla="*/ 180 w 180"/>
                <a:gd name="T43" fmla="*/ 38 h 104"/>
                <a:gd name="T44" fmla="*/ 164 w 180"/>
                <a:gd name="T45" fmla="*/ 12 h 104"/>
                <a:gd name="T46" fmla="*/ 155 w 180"/>
                <a:gd name="T47" fmla="*/ 7 h 104"/>
                <a:gd name="T48" fmla="*/ 150 w 180"/>
                <a:gd name="T49" fmla="*/ 4 h 104"/>
                <a:gd name="T50" fmla="*/ 134 w 180"/>
                <a:gd name="T51"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0" h="104">
                  <a:moveTo>
                    <a:pt x="134" y="0"/>
                  </a:moveTo>
                  <a:cubicBezTo>
                    <a:pt x="129" y="0"/>
                    <a:pt x="124" y="1"/>
                    <a:pt x="120" y="3"/>
                  </a:cubicBezTo>
                  <a:cubicBezTo>
                    <a:pt x="120" y="3"/>
                    <a:pt x="120" y="3"/>
                    <a:pt x="120" y="3"/>
                  </a:cubicBezTo>
                  <a:cubicBezTo>
                    <a:pt x="120" y="3"/>
                    <a:pt x="120" y="3"/>
                    <a:pt x="120" y="3"/>
                  </a:cubicBezTo>
                  <a:cubicBezTo>
                    <a:pt x="119" y="4"/>
                    <a:pt x="118" y="4"/>
                    <a:pt x="117" y="4"/>
                  </a:cubicBezTo>
                  <a:cubicBezTo>
                    <a:pt x="12" y="66"/>
                    <a:pt x="12" y="66"/>
                    <a:pt x="12" y="66"/>
                  </a:cubicBezTo>
                  <a:cubicBezTo>
                    <a:pt x="7" y="68"/>
                    <a:pt x="3" y="73"/>
                    <a:pt x="0" y="78"/>
                  </a:cubicBezTo>
                  <a:cubicBezTo>
                    <a:pt x="46" y="104"/>
                    <a:pt x="46" y="104"/>
                    <a:pt x="46" y="104"/>
                  </a:cubicBezTo>
                  <a:cubicBezTo>
                    <a:pt x="49" y="99"/>
                    <a:pt x="53" y="95"/>
                    <a:pt x="58" y="92"/>
                  </a:cubicBezTo>
                  <a:cubicBezTo>
                    <a:pt x="164" y="31"/>
                    <a:pt x="164" y="31"/>
                    <a:pt x="164" y="31"/>
                  </a:cubicBezTo>
                  <a:cubicBezTo>
                    <a:pt x="166" y="30"/>
                    <a:pt x="169" y="29"/>
                    <a:pt x="171" y="29"/>
                  </a:cubicBezTo>
                  <a:cubicBezTo>
                    <a:pt x="175" y="29"/>
                    <a:pt x="178" y="31"/>
                    <a:pt x="179" y="35"/>
                  </a:cubicBezTo>
                  <a:cubicBezTo>
                    <a:pt x="179" y="35"/>
                    <a:pt x="179" y="35"/>
                    <a:pt x="179" y="35"/>
                  </a:cubicBezTo>
                  <a:cubicBezTo>
                    <a:pt x="179" y="35"/>
                    <a:pt x="179" y="35"/>
                    <a:pt x="179" y="35"/>
                  </a:cubicBezTo>
                  <a:cubicBezTo>
                    <a:pt x="179" y="35"/>
                    <a:pt x="179" y="35"/>
                    <a:pt x="179" y="35"/>
                  </a:cubicBezTo>
                  <a:cubicBezTo>
                    <a:pt x="179" y="35"/>
                    <a:pt x="179" y="35"/>
                    <a:pt x="179" y="35"/>
                  </a:cubicBezTo>
                  <a:cubicBezTo>
                    <a:pt x="179" y="35"/>
                    <a:pt x="179" y="35"/>
                    <a:pt x="179" y="35"/>
                  </a:cubicBezTo>
                  <a:cubicBezTo>
                    <a:pt x="179" y="35"/>
                    <a:pt x="179" y="35"/>
                    <a:pt x="179" y="35"/>
                  </a:cubicBezTo>
                  <a:cubicBezTo>
                    <a:pt x="179" y="35"/>
                    <a:pt x="179" y="35"/>
                    <a:pt x="179" y="35"/>
                  </a:cubicBezTo>
                  <a:cubicBezTo>
                    <a:pt x="179" y="35"/>
                    <a:pt x="179" y="35"/>
                    <a:pt x="179" y="35"/>
                  </a:cubicBezTo>
                  <a:cubicBezTo>
                    <a:pt x="179" y="35"/>
                    <a:pt x="179" y="35"/>
                    <a:pt x="179" y="35"/>
                  </a:cubicBezTo>
                  <a:cubicBezTo>
                    <a:pt x="180" y="36"/>
                    <a:pt x="180" y="37"/>
                    <a:pt x="180" y="38"/>
                  </a:cubicBezTo>
                  <a:cubicBezTo>
                    <a:pt x="179" y="28"/>
                    <a:pt x="172" y="17"/>
                    <a:pt x="164" y="12"/>
                  </a:cubicBezTo>
                  <a:cubicBezTo>
                    <a:pt x="155" y="7"/>
                    <a:pt x="155" y="7"/>
                    <a:pt x="155" y="7"/>
                  </a:cubicBezTo>
                  <a:cubicBezTo>
                    <a:pt x="150" y="4"/>
                    <a:pt x="150" y="4"/>
                    <a:pt x="150" y="4"/>
                  </a:cubicBezTo>
                  <a:cubicBezTo>
                    <a:pt x="146" y="2"/>
                    <a:pt x="140" y="0"/>
                    <a:pt x="134" y="0"/>
                  </a:cubicBezTo>
                </a:path>
              </a:pathLst>
            </a:custGeom>
            <a:solidFill>
              <a:srgbClr val="7DE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chemeClr val="accent1">
                    <a:lumMod val="75000"/>
                    <a:lumOff val="25000"/>
                  </a:schemeClr>
                </a:solidFill>
              </a:endParaRPr>
            </a:p>
          </p:txBody>
        </p:sp>
        <p:sp>
          <p:nvSpPr>
            <p:cNvPr id="94" name="iṩļíd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0FE6BB49-4B52-407D-8A0C-57E4826F6293}"/>
                </a:ext>
              </a:extLst>
            </p:cNvPr>
            <p:cNvSpPr/>
            <p:nvPr/>
          </p:nvSpPr>
          <p:spPr bwMode="auto">
            <a:xfrm>
              <a:off x="4721225" y="3987800"/>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7DE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5" name="îṥ1îḋ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4F2D4004-1A7D-4E1C-8F45-24EE732FBA19}"/>
                </a:ext>
              </a:extLst>
            </p:cNvPr>
            <p:cNvSpPr/>
            <p:nvPr/>
          </p:nvSpPr>
          <p:spPr bwMode="auto">
            <a:xfrm>
              <a:off x="4445000" y="4089400"/>
              <a:ext cx="204788" cy="334963"/>
            </a:xfrm>
            <a:custGeom>
              <a:avLst/>
              <a:gdLst>
                <a:gd name="T0" fmla="*/ 41 w 81"/>
                <a:gd name="T1" fmla="*/ 22 h 133"/>
                <a:gd name="T2" fmla="*/ 57 w 81"/>
                <a:gd name="T3" fmla="*/ 13 h 133"/>
                <a:gd name="T4" fmla="*/ 65 w 81"/>
                <a:gd name="T5" fmla="*/ 11 h 133"/>
                <a:gd name="T6" fmla="*/ 69 w 81"/>
                <a:gd name="T7" fmla="*/ 12 h 133"/>
                <a:gd name="T8" fmla="*/ 72 w 81"/>
                <a:gd name="T9" fmla="*/ 17 h 133"/>
                <a:gd name="T10" fmla="*/ 74 w 81"/>
                <a:gd name="T11" fmla="*/ 26 h 133"/>
                <a:gd name="T12" fmla="*/ 74 w 81"/>
                <a:gd name="T13" fmla="*/ 48 h 133"/>
                <a:gd name="T14" fmla="*/ 74 w 81"/>
                <a:gd name="T15" fmla="*/ 70 h 133"/>
                <a:gd name="T16" fmla="*/ 72 w 81"/>
                <a:gd name="T17" fmla="*/ 80 h 133"/>
                <a:gd name="T18" fmla="*/ 69 w 81"/>
                <a:gd name="T19" fmla="*/ 88 h 133"/>
                <a:gd name="T20" fmla="*/ 65 w 81"/>
                <a:gd name="T21" fmla="*/ 95 h 133"/>
                <a:gd name="T22" fmla="*/ 57 w 81"/>
                <a:gd name="T23" fmla="*/ 101 h 133"/>
                <a:gd name="T24" fmla="*/ 41 w 81"/>
                <a:gd name="T25" fmla="*/ 111 h 133"/>
                <a:gd name="T26" fmla="*/ 24 w 81"/>
                <a:gd name="T27" fmla="*/ 120 h 133"/>
                <a:gd name="T28" fmla="*/ 17 w 81"/>
                <a:gd name="T29" fmla="*/ 123 h 133"/>
                <a:gd name="T30" fmla="*/ 12 w 81"/>
                <a:gd name="T31" fmla="*/ 121 h 133"/>
                <a:gd name="T32" fmla="*/ 9 w 81"/>
                <a:gd name="T33" fmla="*/ 117 h 133"/>
                <a:gd name="T34" fmla="*/ 8 w 81"/>
                <a:gd name="T35" fmla="*/ 108 h 133"/>
                <a:gd name="T36" fmla="*/ 7 w 81"/>
                <a:gd name="T37" fmla="*/ 86 h 133"/>
                <a:gd name="T38" fmla="*/ 8 w 81"/>
                <a:gd name="T39" fmla="*/ 64 h 133"/>
                <a:gd name="T40" fmla="*/ 9 w 81"/>
                <a:gd name="T41" fmla="*/ 53 h 133"/>
                <a:gd name="T42" fmla="*/ 12 w 81"/>
                <a:gd name="T43" fmla="*/ 45 h 133"/>
                <a:gd name="T44" fmla="*/ 17 w 81"/>
                <a:gd name="T45" fmla="*/ 38 h 133"/>
                <a:gd name="T46" fmla="*/ 24 w 81"/>
                <a:gd name="T47" fmla="*/ 32 h 133"/>
                <a:gd name="T48" fmla="*/ 41 w 81"/>
                <a:gd name="T49" fmla="*/ 22 h 133"/>
                <a:gd name="T50" fmla="*/ 41 w 81"/>
                <a:gd name="T51" fmla="*/ 13 h 133"/>
                <a:gd name="T52" fmla="*/ 24 w 81"/>
                <a:gd name="T53" fmla="*/ 23 h 133"/>
                <a:gd name="T54" fmla="*/ 14 w 81"/>
                <a:gd name="T55" fmla="*/ 31 h 133"/>
                <a:gd name="T56" fmla="*/ 7 w 81"/>
                <a:gd name="T57" fmla="*/ 41 h 133"/>
                <a:gd name="T58" fmla="*/ 2 w 81"/>
                <a:gd name="T59" fmla="*/ 53 h 133"/>
                <a:gd name="T60" fmla="*/ 0 w 81"/>
                <a:gd name="T61" fmla="*/ 68 h 133"/>
                <a:gd name="T62" fmla="*/ 0 w 81"/>
                <a:gd name="T63" fmla="*/ 90 h 133"/>
                <a:gd name="T64" fmla="*/ 0 w 81"/>
                <a:gd name="T65" fmla="*/ 112 h 133"/>
                <a:gd name="T66" fmla="*/ 2 w 81"/>
                <a:gd name="T67" fmla="*/ 124 h 133"/>
                <a:gd name="T68" fmla="*/ 7 w 81"/>
                <a:gd name="T69" fmla="*/ 131 h 133"/>
                <a:gd name="T70" fmla="*/ 14 w 81"/>
                <a:gd name="T71" fmla="*/ 133 h 133"/>
                <a:gd name="T72" fmla="*/ 24 w 81"/>
                <a:gd name="T73" fmla="*/ 130 h 133"/>
                <a:gd name="T74" fmla="*/ 41 w 81"/>
                <a:gd name="T75" fmla="*/ 121 h 133"/>
                <a:gd name="T76" fmla="*/ 57 w 81"/>
                <a:gd name="T77" fmla="*/ 111 h 133"/>
                <a:gd name="T78" fmla="*/ 67 w 81"/>
                <a:gd name="T79" fmla="*/ 103 h 133"/>
                <a:gd name="T80" fmla="*/ 74 w 81"/>
                <a:gd name="T81" fmla="*/ 92 h 133"/>
                <a:gd name="T82" fmla="*/ 79 w 81"/>
                <a:gd name="T83" fmla="*/ 80 h 133"/>
                <a:gd name="T84" fmla="*/ 81 w 81"/>
                <a:gd name="T85" fmla="*/ 66 h 133"/>
                <a:gd name="T86" fmla="*/ 81 w 81"/>
                <a:gd name="T87" fmla="*/ 43 h 133"/>
                <a:gd name="T88" fmla="*/ 81 w 81"/>
                <a:gd name="T89" fmla="*/ 21 h 133"/>
                <a:gd name="T90" fmla="*/ 79 w 81"/>
                <a:gd name="T91" fmla="*/ 9 h 133"/>
                <a:gd name="T92" fmla="*/ 74 w 81"/>
                <a:gd name="T93" fmla="*/ 2 h 133"/>
                <a:gd name="T94" fmla="*/ 67 w 81"/>
                <a:gd name="T95" fmla="*/ 0 h 133"/>
                <a:gd name="T96" fmla="*/ 57 w 81"/>
                <a:gd name="T97" fmla="*/ 3 h 133"/>
                <a:gd name="T98" fmla="*/ 41 w 81"/>
                <a:gd name="T99" fmla="*/ 1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1" h="133">
                  <a:moveTo>
                    <a:pt x="41" y="22"/>
                  </a:moveTo>
                  <a:cubicBezTo>
                    <a:pt x="52" y="16"/>
                    <a:pt x="53" y="15"/>
                    <a:pt x="57" y="13"/>
                  </a:cubicBezTo>
                  <a:cubicBezTo>
                    <a:pt x="61" y="11"/>
                    <a:pt x="63" y="11"/>
                    <a:pt x="65" y="11"/>
                  </a:cubicBezTo>
                  <a:cubicBezTo>
                    <a:pt x="67" y="11"/>
                    <a:pt x="68" y="11"/>
                    <a:pt x="69" y="12"/>
                  </a:cubicBezTo>
                  <a:cubicBezTo>
                    <a:pt x="71" y="13"/>
                    <a:pt x="72" y="14"/>
                    <a:pt x="72" y="17"/>
                  </a:cubicBezTo>
                  <a:cubicBezTo>
                    <a:pt x="73" y="18"/>
                    <a:pt x="74" y="21"/>
                    <a:pt x="74" y="26"/>
                  </a:cubicBezTo>
                  <a:cubicBezTo>
                    <a:pt x="74" y="31"/>
                    <a:pt x="74" y="33"/>
                    <a:pt x="74" y="48"/>
                  </a:cubicBezTo>
                  <a:cubicBezTo>
                    <a:pt x="74" y="62"/>
                    <a:pt x="74" y="64"/>
                    <a:pt x="74" y="70"/>
                  </a:cubicBezTo>
                  <a:cubicBezTo>
                    <a:pt x="74" y="75"/>
                    <a:pt x="73" y="78"/>
                    <a:pt x="72" y="80"/>
                  </a:cubicBezTo>
                  <a:cubicBezTo>
                    <a:pt x="72" y="83"/>
                    <a:pt x="71" y="86"/>
                    <a:pt x="69" y="88"/>
                  </a:cubicBezTo>
                  <a:cubicBezTo>
                    <a:pt x="68" y="91"/>
                    <a:pt x="67" y="93"/>
                    <a:pt x="65" y="95"/>
                  </a:cubicBezTo>
                  <a:cubicBezTo>
                    <a:pt x="63" y="97"/>
                    <a:pt x="61" y="99"/>
                    <a:pt x="57" y="101"/>
                  </a:cubicBezTo>
                  <a:cubicBezTo>
                    <a:pt x="53" y="104"/>
                    <a:pt x="52" y="105"/>
                    <a:pt x="41" y="111"/>
                  </a:cubicBezTo>
                  <a:cubicBezTo>
                    <a:pt x="30" y="117"/>
                    <a:pt x="29" y="118"/>
                    <a:pt x="24" y="120"/>
                  </a:cubicBezTo>
                  <a:cubicBezTo>
                    <a:pt x="20" y="122"/>
                    <a:pt x="18" y="123"/>
                    <a:pt x="17" y="123"/>
                  </a:cubicBezTo>
                  <a:cubicBezTo>
                    <a:pt x="15" y="123"/>
                    <a:pt x="14" y="122"/>
                    <a:pt x="12" y="121"/>
                  </a:cubicBezTo>
                  <a:cubicBezTo>
                    <a:pt x="11" y="120"/>
                    <a:pt x="10" y="119"/>
                    <a:pt x="9" y="117"/>
                  </a:cubicBezTo>
                  <a:cubicBezTo>
                    <a:pt x="9" y="115"/>
                    <a:pt x="8" y="113"/>
                    <a:pt x="8" y="108"/>
                  </a:cubicBezTo>
                  <a:cubicBezTo>
                    <a:pt x="8" y="102"/>
                    <a:pt x="7" y="100"/>
                    <a:pt x="7" y="86"/>
                  </a:cubicBezTo>
                  <a:cubicBezTo>
                    <a:pt x="7" y="71"/>
                    <a:pt x="8" y="70"/>
                    <a:pt x="8" y="64"/>
                  </a:cubicBezTo>
                  <a:cubicBezTo>
                    <a:pt x="8" y="59"/>
                    <a:pt x="9" y="55"/>
                    <a:pt x="9" y="53"/>
                  </a:cubicBezTo>
                  <a:cubicBezTo>
                    <a:pt x="10" y="50"/>
                    <a:pt x="11" y="48"/>
                    <a:pt x="12" y="45"/>
                  </a:cubicBezTo>
                  <a:cubicBezTo>
                    <a:pt x="14" y="42"/>
                    <a:pt x="15" y="40"/>
                    <a:pt x="17" y="38"/>
                  </a:cubicBezTo>
                  <a:cubicBezTo>
                    <a:pt x="18" y="37"/>
                    <a:pt x="20" y="35"/>
                    <a:pt x="24" y="32"/>
                  </a:cubicBezTo>
                  <a:cubicBezTo>
                    <a:pt x="29" y="29"/>
                    <a:pt x="30" y="29"/>
                    <a:pt x="41" y="22"/>
                  </a:cubicBezTo>
                  <a:moveTo>
                    <a:pt x="41" y="13"/>
                  </a:moveTo>
                  <a:cubicBezTo>
                    <a:pt x="30" y="19"/>
                    <a:pt x="28" y="20"/>
                    <a:pt x="24" y="23"/>
                  </a:cubicBezTo>
                  <a:cubicBezTo>
                    <a:pt x="20" y="25"/>
                    <a:pt x="17" y="28"/>
                    <a:pt x="14" y="31"/>
                  </a:cubicBezTo>
                  <a:cubicBezTo>
                    <a:pt x="12" y="34"/>
                    <a:pt x="9" y="37"/>
                    <a:pt x="7" y="41"/>
                  </a:cubicBezTo>
                  <a:cubicBezTo>
                    <a:pt x="5" y="46"/>
                    <a:pt x="3" y="49"/>
                    <a:pt x="2" y="53"/>
                  </a:cubicBezTo>
                  <a:cubicBezTo>
                    <a:pt x="1" y="58"/>
                    <a:pt x="1" y="62"/>
                    <a:pt x="0" y="68"/>
                  </a:cubicBezTo>
                  <a:cubicBezTo>
                    <a:pt x="0" y="74"/>
                    <a:pt x="0" y="75"/>
                    <a:pt x="0" y="90"/>
                  </a:cubicBezTo>
                  <a:cubicBezTo>
                    <a:pt x="0" y="105"/>
                    <a:pt x="0" y="107"/>
                    <a:pt x="0" y="112"/>
                  </a:cubicBezTo>
                  <a:cubicBezTo>
                    <a:pt x="1" y="118"/>
                    <a:pt x="1" y="121"/>
                    <a:pt x="2" y="124"/>
                  </a:cubicBezTo>
                  <a:cubicBezTo>
                    <a:pt x="3" y="127"/>
                    <a:pt x="5" y="129"/>
                    <a:pt x="7" y="131"/>
                  </a:cubicBezTo>
                  <a:cubicBezTo>
                    <a:pt x="9" y="133"/>
                    <a:pt x="12" y="133"/>
                    <a:pt x="14" y="133"/>
                  </a:cubicBezTo>
                  <a:cubicBezTo>
                    <a:pt x="17" y="133"/>
                    <a:pt x="20" y="132"/>
                    <a:pt x="24" y="130"/>
                  </a:cubicBezTo>
                  <a:cubicBezTo>
                    <a:pt x="28" y="128"/>
                    <a:pt x="30" y="127"/>
                    <a:pt x="41" y="121"/>
                  </a:cubicBezTo>
                  <a:cubicBezTo>
                    <a:pt x="52" y="114"/>
                    <a:pt x="53" y="114"/>
                    <a:pt x="57" y="111"/>
                  </a:cubicBezTo>
                  <a:cubicBezTo>
                    <a:pt x="62" y="108"/>
                    <a:pt x="65" y="105"/>
                    <a:pt x="67" y="103"/>
                  </a:cubicBezTo>
                  <a:cubicBezTo>
                    <a:pt x="70" y="100"/>
                    <a:pt x="72" y="97"/>
                    <a:pt x="74" y="92"/>
                  </a:cubicBezTo>
                  <a:cubicBezTo>
                    <a:pt x="77" y="88"/>
                    <a:pt x="78" y="84"/>
                    <a:pt x="79" y="80"/>
                  </a:cubicBezTo>
                  <a:cubicBezTo>
                    <a:pt x="80" y="76"/>
                    <a:pt x="81" y="72"/>
                    <a:pt x="81" y="66"/>
                  </a:cubicBezTo>
                  <a:cubicBezTo>
                    <a:pt x="81" y="60"/>
                    <a:pt x="81" y="58"/>
                    <a:pt x="81" y="43"/>
                  </a:cubicBezTo>
                  <a:cubicBezTo>
                    <a:pt x="81" y="29"/>
                    <a:pt x="81" y="27"/>
                    <a:pt x="81" y="21"/>
                  </a:cubicBezTo>
                  <a:cubicBezTo>
                    <a:pt x="81" y="16"/>
                    <a:pt x="80" y="12"/>
                    <a:pt x="79" y="9"/>
                  </a:cubicBezTo>
                  <a:cubicBezTo>
                    <a:pt x="78" y="6"/>
                    <a:pt x="77" y="4"/>
                    <a:pt x="74" y="2"/>
                  </a:cubicBezTo>
                  <a:cubicBezTo>
                    <a:pt x="72" y="1"/>
                    <a:pt x="70" y="0"/>
                    <a:pt x="67" y="0"/>
                  </a:cubicBezTo>
                  <a:cubicBezTo>
                    <a:pt x="65" y="0"/>
                    <a:pt x="62" y="1"/>
                    <a:pt x="57" y="3"/>
                  </a:cubicBezTo>
                  <a:cubicBezTo>
                    <a:pt x="53" y="6"/>
                    <a:pt x="52" y="6"/>
                    <a:pt x="41" y="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chemeClr val="accent1">
                    <a:lumMod val="75000"/>
                    <a:lumOff val="25000"/>
                  </a:schemeClr>
                </a:solidFill>
              </a:endParaRPr>
            </a:p>
          </p:txBody>
        </p:sp>
        <p:sp>
          <p:nvSpPr>
            <p:cNvPr id="96" name="íśḷïḓ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A1C8C6AF-94A8-4150-8EB4-B00B6C6AE0EC}"/>
                </a:ext>
              </a:extLst>
            </p:cNvPr>
            <p:cNvSpPr/>
            <p:nvPr/>
          </p:nvSpPr>
          <p:spPr bwMode="auto">
            <a:xfrm>
              <a:off x="4495800" y="4170363"/>
              <a:ext cx="106363" cy="173038"/>
            </a:xfrm>
            <a:custGeom>
              <a:avLst/>
              <a:gdLst>
                <a:gd name="T0" fmla="*/ 21 w 42"/>
                <a:gd name="T1" fmla="*/ 7 h 69"/>
                <a:gd name="T2" fmla="*/ 0 w 42"/>
                <a:gd name="T3" fmla="*/ 47 h 69"/>
                <a:gd name="T4" fmla="*/ 21 w 42"/>
                <a:gd name="T5" fmla="*/ 62 h 69"/>
                <a:gd name="T6" fmla="*/ 42 w 42"/>
                <a:gd name="T7" fmla="*/ 23 h 69"/>
                <a:gd name="T8" fmla="*/ 21 w 42"/>
                <a:gd name="T9" fmla="*/ 7 h 69"/>
                <a:gd name="T10" fmla="*/ 21 w 42"/>
                <a:gd name="T11" fmla="*/ 53 h 69"/>
                <a:gd name="T12" fmla="*/ 7 w 42"/>
                <a:gd name="T13" fmla="*/ 43 h 69"/>
                <a:gd name="T14" fmla="*/ 21 w 42"/>
                <a:gd name="T15" fmla="*/ 17 h 69"/>
                <a:gd name="T16" fmla="*/ 34 w 42"/>
                <a:gd name="T17" fmla="*/ 27 h 69"/>
                <a:gd name="T18" fmla="*/ 21 w 42"/>
                <a:gd name="T19" fmla="*/ 5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69">
                  <a:moveTo>
                    <a:pt x="21" y="7"/>
                  </a:moveTo>
                  <a:cubicBezTo>
                    <a:pt x="9" y="14"/>
                    <a:pt x="0" y="31"/>
                    <a:pt x="0" y="47"/>
                  </a:cubicBezTo>
                  <a:cubicBezTo>
                    <a:pt x="0" y="62"/>
                    <a:pt x="9" y="69"/>
                    <a:pt x="21" y="62"/>
                  </a:cubicBezTo>
                  <a:cubicBezTo>
                    <a:pt x="32" y="56"/>
                    <a:pt x="42" y="38"/>
                    <a:pt x="42" y="23"/>
                  </a:cubicBezTo>
                  <a:cubicBezTo>
                    <a:pt x="42" y="7"/>
                    <a:pt x="32" y="0"/>
                    <a:pt x="21" y="7"/>
                  </a:cubicBezTo>
                  <a:moveTo>
                    <a:pt x="21" y="53"/>
                  </a:moveTo>
                  <a:cubicBezTo>
                    <a:pt x="13" y="57"/>
                    <a:pt x="7" y="52"/>
                    <a:pt x="7" y="43"/>
                  </a:cubicBezTo>
                  <a:cubicBezTo>
                    <a:pt x="7" y="33"/>
                    <a:pt x="13" y="21"/>
                    <a:pt x="21" y="17"/>
                  </a:cubicBezTo>
                  <a:cubicBezTo>
                    <a:pt x="28" y="12"/>
                    <a:pt x="34" y="17"/>
                    <a:pt x="34" y="27"/>
                  </a:cubicBezTo>
                  <a:cubicBezTo>
                    <a:pt x="34" y="37"/>
                    <a:pt x="28" y="48"/>
                    <a:pt x="21"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7" name="îş1ïḍ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6F697F8F-908B-4A94-9403-FE281D79DFE7}"/>
                </a:ext>
              </a:extLst>
            </p:cNvPr>
            <p:cNvSpPr/>
            <p:nvPr/>
          </p:nvSpPr>
          <p:spPr bwMode="auto">
            <a:xfrm>
              <a:off x="4591050" y="4132263"/>
              <a:ext cx="23813" cy="39688"/>
            </a:xfrm>
            <a:custGeom>
              <a:avLst/>
              <a:gdLst>
                <a:gd name="T0" fmla="*/ 9 w 9"/>
                <a:gd name="T1" fmla="*/ 6 h 16"/>
                <a:gd name="T2" fmla="*/ 4 w 9"/>
                <a:gd name="T3" fmla="*/ 15 h 16"/>
                <a:gd name="T4" fmla="*/ 0 w 9"/>
                <a:gd name="T5" fmla="*/ 11 h 16"/>
                <a:gd name="T6" fmla="*/ 4 w 9"/>
                <a:gd name="T7" fmla="*/ 2 h 16"/>
                <a:gd name="T8" fmla="*/ 9 w 9"/>
                <a:gd name="T9" fmla="*/ 6 h 16"/>
              </a:gdLst>
              <a:ahLst/>
              <a:cxnLst>
                <a:cxn ang="0">
                  <a:pos x="T0" y="T1"/>
                </a:cxn>
                <a:cxn ang="0">
                  <a:pos x="T2" y="T3"/>
                </a:cxn>
                <a:cxn ang="0">
                  <a:pos x="T4" y="T5"/>
                </a:cxn>
                <a:cxn ang="0">
                  <a:pos x="T6" y="T7"/>
                </a:cxn>
                <a:cxn ang="0">
                  <a:pos x="T8" y="T9"/>
                </a:cxn>
              </a:cxnLst>
              <a:rect l="0" t="0" r="r" b="b"/>
              <a:pathLst>
                <a:path w="9" h="16">
                  <a:moveTo>
                    <a:pt x="9" y="6"/>
                  </a:moveTo>
                  <a:cubicBezTo>
                    <a:pt x="9" y="9"/>
                    <a:pt x="7" y="13"/>
                    <a:pt x="4" y="15"/>
                  </a:cubicBezTo>
                  <a:cubicBezTo>
                    <a:pt x="2" y="16"/>
                    <a:pt x="0" y="15"/>
                    <a:pt x="0" y="11"/>
                  </a:cubicBezTo>
                  <a:cubicBezTo>
                    <a:pt x="0" y="8"/>
                    <a:pt x="2" y="3"/>
                    <a:pt x="4" y="2"/>
                  </a:cubicBezTo>
                  <a:cubicBezTo>
                    <a:pt x="7" y="0"/>
                    <a:pt x="9" y="2"/>
                    <a:pt x="9"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 name="işļîḋ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C74AEDAA-65EA-4D35-A61E-EA8F653FAD81}"/>
                </a:ext>
              </a:extLst>
            </p:cNvPr>
            <p:cNvSpPr/>
            <p:nvPr/>
          </p:nvSpPr>
          <p:spPr bwMode="auto">
            <a:xfrm>
              <a:off x="4940300" y="3254375"/>
              <a:ext cx="469900" cy="652463"/>
            </a:xfrm>
            <a:custGeom>
              <a:avLst/>
              <a:gdLst>
                <a:gd name="T0" fmla="*/ 185 w 185"/>
                <a:gd name="T1" fmla="*/ 41 h 258"/>
                <a:gd name="T2" fmla="*/ 168 w 185"/>
                <a:gd name="T3" fmla="*/ 13 h 258"/>
                <a:gd name="T4" fmla="*/ 155 w 185"/>
                <a:gd name="T5" fmla="*/ 5 h 258"/>
                <a:gd name="T6" fmla="*/ 122 w 185"/>
                <a:gd name="T7" fmla="*/ 5 h 258"/>
                <a:gd name="T8" fmla="*/ 16 w 185"/>
                <a:gd name="T9" fmla="*/ 66 h 258"/>
                <a:gd name="T10" fmla="*/ 0 w 185"/>
                <a:gd name="T11" fmla="*/ 95 h 258"/>
                <a:gd name="T12" fmla="*/ 0 w 185"/>
                <a:gd name="T13" fmla="*/ 217 h 258"/>
                <a:gd name="T14" fmla="*/ 16 w 185"/>
                <a:gd name="T15" fmla="*/ 245 h 258"/>
                <a:gd name="T16" fmla="*/ 29 w 185"/>
                <a:gd name="T17" fmla="*/ 253 h 258"/>
                <a:gd name="T18" fmla="*/ 62 w 185"/>
                <a:gd name="T19" fmla="*/ 253 h 258"/>
                <a:gd name="T20" fmla="*/ 168 w 185"/>
                <a:gd name="T21" fmla="*/ 192 h 258"/>
                <a:gd name="T22" fmla="*/ 185 w 185"/>
                <a:gd name="T23" fmla="*/ 164 h 258"/>
                <a:gd name="T24" fmla="*/ 185 w 185"/>
                <a:gd name="T25" fmla="*/ 41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5" h="258">
                  <a:moveTo>
                    <a:pt x="185" y="41"/>
                  </a:moveTo>
                  <a:cubicBezTo>
                    <a:pt x="185" y="31"/>
                    <a:pt x="177" y="18"/>
                    <a:pt x="168" y="13"/>
                  </a:cubicBezTo>
                  <a:cubicBezTo>
                    <a:pt x="155" y="5"/>
                    <a:pt x="155" y="5"/>
                    <a:pt x="155" y="5"/>
                  </a:cubicBezTo>
                  <a:cubicBezTo>
                    <a:pt x="146" y="0"/>
                    <a:pt x="131" y="0"/>
                    <a:pt x="122" y="5"/>
                  </a:cubicBezTo>
                  <a:cubicBezTo>
                    <a:pt x="16" y="66"/>
                    <a:pt x="16" y="66"/>
                    <a:pt x="16" y="66"/>
                  </a:cubicBezTo>
                  <a:cubicBezTo>
                    <a:pt x="7" y="72"/>
                    <a:pt x="0" y="84"/>
                    <a:pt x="0" y="95"/>
                  </a:cubicBezTo>
                  <a:cubicBezTo>
                    <a:pt x="0" y="217"/>
                    <a:pt x="0" y="217"/>
                    <a:pt x="0" y="217"/>
                  </a:cubicBezTo>
                  <a:cubicBezTo>
                    <a:pt x="0" y="227"/>
                    <a:pt x="7" y="240"/>
                    <a:pt x="16" y="245"/>
                  </a:cubicBezTo>
                  <a:cubicBezTo>
                    <a:pt x="29" y="253"/>
                    <a:pt x="29" y="253"/>
                    <a:pt x="29" y="253"/>
                  </a:cubicBezTo>
                  <a:cubicBezTo>
                    <a:pt x="39" y="258"/>
                    <a:pt x="53" y="258"/>
                    <a:pt x="62" y="253"/>
                  </a:cubicBezTo>
                  <a:cubicBezTo>
                    <a:pt x="168" y="192"/>
                    <a:pt x="168" y="192"/>
                    <a:pt x="168" y="192"/>
                  </a:cubicBezTo>
                  <a:cubicBezTo>
                    <a:pt x="177" y="187"/>
                    <a:pt x="185" y="174"/>
                    <a:pt x="185" y="164"/>
                  </a:cubicBezTo>
                  <a:cubicBezTo>
                    <a:pt x="185" y="41"/>
                    <a:pt x="185" y="41"/>
                    <a:pt x="185" y="41"/>
                  </a:cubicBezTo>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9" name="iṩlíḍ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1BA04F44-B0F9-4013-81CA-D9CC1EF85BE4}"/>
                </a:ext>
              </a:extLst>
            </p:cNvPr>
            <p:cNvSpPr/>
            <p:nvPr/>
          </p:nvSpPr>
          <p:spPr bwMode="auto">
            <a:xfrm>
              <a:off x="4940300" y="3481388"/>
              <a:ext cx="117475" cy="422275"/>
            </a:xfrm>
            <a:custGeom>
              <a:avLst/>
              <a:gdLst>
                <a:gd name="T0" fmla="*/ 0 w 46"/>
                <a:gd name="T1" fmla="*/ 0 h 167"/>
                <a:gd name="T2" fmla="*/ 0 w 46"/>
                <a:gd name="T3" fmla="*/ 5 h 167"/>
                <a:gd name="T4" fmla="*/ 0 w 46"/>
                <a:gd name="T5" fmla="*/ 127 h 167"/>
                <a:gd name="T6" fmla="*/ 16 w 46"/>
                <a:gd name="T7" fmla="*/ 155 h 167"/>
                <a:gd name="T8" fmla="*/ 29 w 46"/>
                <a:gd name="T9" fmla="*/ 163 h 167"/>
                <a:gd name="T10" fmla="*/ 46 w 46"/>
                <a:gd name="T11" fmla="*/ 167 h 167"/>
                <a:gd name="T12" fmla="*/ 46 w 46"/>
                <a:gd name="T13" fmla="*/ 167 h 167"/>
                <a:gd name="T14" fmla="*/ 46 w 46"/>
                <a:gd name="T15" fmla="*/ 167 h 167"/>
                <a:gd name="T16" fmla="*/ 29 w 46"/>
                <a:gd name="T17" fmla="*/ 163 h 167"/>
                <a:gd name="T18" fmla="*/ 16 w 46"/>
                <a:gd name="T19" fmla="*/ 155 h 167"/>
                <a:gd name="T20" fmla="*/ 0 w 46"/>
                <a:gd name="T21" fmla="*/ 127 h 167"/>
                <a:gd name="T22" fmla="*/ 0 w 46"/>
                <a:gd name="T23" fmla="*/ 5 h 167"/>
                <a:gd name="T24" fmla="*/ 0 w 46"/>
                <a:gd name="T25"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167">
                  <a:moveTo>
                    <a:pt x="0" y="0"/>
                  </a:moveTo>
                  <a:cubicBezTo>
                    <a:pt x="0" y="2"/>
                    <a:pt x="0" y="3"/>
                    <a:pt x="0" y="5"/>
                  </a:cubicBezTo>
                  <a:cubicBezTo>
                    <a:pt x="0" y="127"/>
                    <a:pt x="0" y="127"/>
                    <a:pt x="0" y="127"/>
                  </a:cubicBezTo>
                  <a:cubicBezTo>
                    <a:pt x="0" y="137"/>
                    <a:pt x="7" y="150"/>
                    <a:pt x="16" y="155"/>
                  </a:cubicBezTo>
                  <a:cubicBezTo>
                    <a:pt x="29" y="163"/>
                    <a:pt x="29" y="163"/>
                    <a:pt x="29" y="163"/>
                  </a:cubicBezTo>
                  <a:cubicBezTo>
                    <a:pt x="34" y="166"/>
                    <a:pt x="40" y="167"/>
                    <a:pt x="46" y="167"/>
                  </a:cubicBezTo>
                  <a:cubicBezTo>
                    <a:pt x="46" y="167"/>
                    <a:pt x="46" y="167"/>
                    <a:pt x="46" y="167"/>
                  </a:cubicBezTo>
                  <a:cubicBezTo>
                    <a:pt x="46" y="167"/>
                    <a:pt x="46" y="167"/>
                    <a:pt x="46" y="167"/>
                  </a:cubicBezTo>
                  <a:cubicBezTo>
                    <a:pt x="40" y="167"/>
                    <a:pt x="34" y="166"/>
                    <a:pt x="29" y="163"/>
                  </a:cubicBezTo>
                  <a:cubicBezTo>
                    <a:pt x="16" y="155"/>
                    <a:pt x="16" y="155"/>
                    <a:pt x="16" y="155"/>
                  </a:cubicBezTo>
                  <a:cubicBezTo>
                    <a:pt x="7" y="150"/>
                    <a:pt x="0" y="137"/>
                    <a:pt x="0" y="127"/>
                  </a:cubicBezTo>
                  <a:cubicBezTo>
                    <a:pt x="0" y="5"/>
                    <a:pt x="0" y="5"/>
                    <a:pt x="0" y="5"/>
                  </a:cubicBezTo>
                  <a:cubicBezTo>
                    <a:pt x="0" y="3"/>
                    <a:pt x="0" y="2"/>
                    <a:pt x="0" y="0"/>
                  </a:cubicBezTo>
                </a:path>
              </a:pathLst>
            </a:custGeom>
            <a:solidFill>
              <a:srgbClr val="6E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0" name="iṥḷïḋ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C9265AB7-1285-45CD-AF23-6BCD52A22AA4}"/>
                </a:ext>
              </a:extLst>
            </p:cNvPr>
            <p:cNvSpPr/>
            <p:nvPr/>
          </p:nvSpPr>
          <p:spPr bwMode="auto">
            <a:xfrm>
              <a:off x="4940300" y="3454400"/>
              <a:ext cx="152400" cy="449263"/>
            </a:xfrm>
            <a:custGeom>
              <a:avLst/>
              <a:gdLst>
                <a:gd name="T0" fmla="*/ 4 w 60"/>
                <a:gd name="T1" fmla="*/ 0 h 178"/>
                <a:gd name="T2" fmla="*/ 0 w 60"/>
                <a:gd name="T3" fmla="*/ 11 h 178"/>
                <a:gd name="T4" fmla="*/ 0 w 60"/>
                <a:gd name="T5" fmla="*/ 16 h 178"/>
                <a:gd name="T6" fmla="*/ 0 w 60"/>
                <a:gd name="T7" fmla="*/ 138 h 178"/>
                <a:gd name="T8" fmla="*/ 16 w 60"/>
                <a:gd name="T9" fmla="*/ 166 h 178"/>
                <a:gd name="T10" fmla="*/ 29 w 60"/>
                <a:gd name="T11" fmla="*/ 174 h 178"/>
                <a:gd name="T12" fmla="*/ 46 w 60"/>
                <a:gd name="T13" fmla="*/ 178 h 178"/>
                <a:gd name="T14" fmla="*/ 46 w 60"/>
                <a:gd name="T15" fmla="*/ 178 h 178"/>
                <a:gd name="T16" fmla="*/ 60 w 60"/>
                <a:gd name="T17" fmla="*/ 176 h 178"/>
                <a:gd name="T18" fmla="*/ 58 w 60"/>
                <a:gd name="T19" fmla="*/ 176 h 178"/>
                <a:gd name="T20" fmla="*/ 58 w 60"/>
                <a:gd name="T21" fmla="*/ 176 h 178"/>
                <a:gd name="T22" fmla="*/ 58 w 60"/>
                <a:gd name="T23" fmla="*/ 176 h 178"/>
                <a:gd name="T24" fmla="*/ 58 w 60"/>
                <a:gd name="T25" fmla="*/ 176 h 178"/>
                <a:gd name="T26" fmla="*/ 58 w 60"/>
                <a:gd name="T27" fmla="*/ 176 h 178"/>
                <a:gd name="T28" fmla="*/ 55 w 60"/>
                <a:gd name="T29" fmla="*/ 176 h 178"/>
                <a:gd name="T30" fmla="*/ 46 w 60"/>
                <a:gd name="T31" fmla="*/ 165 h 178"/>
                <a:gd name="T32" fmla="*/ 46 w 60"/>
                <a:gd name="T33" fmla="*/ 43 h 178"/>
                <a:gd name="T34" fmla="*/ 46 w 60"/>
                <a:gd name="T35" fmla="*/ 37 h 178"/>
                <a:gd name="T36" fmla="*/ 51 w 60"/>
                <a:gd name="T37" fmla="*/ 26 h 178"/>
                <a:gd name="T38" fmla="*/ 4 w 60"/>
                <a:gd name="T39"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0" h="178">
                  <a:moveTo>
                    <a:pt x="4" y="0"/>
                  </a:moveTo>
                  <a:cubicBezTo>
                    <a:pt x="2" y="3"/>
                    <a:pt x="1" y="7"/>
                    <a:pt x="0" y="11"/>
                  </a:cubicBezTo>
                  <a:cubicBezTo>
                    <a:pt x="0" y="13"/>
                    <a:pt x="0" y="14"/>
                    <a:pt x="0" y="16"/>
                  </a:cubicBezTo>
                  <a:cubicBezTo>
                    <a:pt x="0" y="138"/>
                    <a:pt x="0" y="138"/>
                    <a:pt x="0" y="138"/>
                  </a:cubicBezTo>
                  <a:cubicBezTo>
                    <a:pt x="0" y="148"/>
                    <a:pt x="7" y="161"/>
                    <a:pt x="16" y="166"/>
                  </a:cubicBezTo>
                  <a:cubicBezTo>
                    <a:pt x="29" y="174"/>
                    <a:pt x="29" y="174"/>
                    <a:pt x="29" y="174"/>
                  </a:cubicBezTo>
                  <a:cubicBezTo>
                    <a:pt x="34" y="177"/>
                    <a:pt x="40" y="178"/>
                    <a:pt x="46" y="178"/>
                  </a:cubicBezTo>
                  <a:cubicBezTo>
                    <a:pt x="46" y="178"/>
                    <a:pt x="46" y="178"/>
                    <a:pt x="46" y="178"/>
                  </a:cubicBezTo>
                  <a:cubicBezTo>
                    <a:pt x="51" y="178"/>
                    <a:pt x="55" y="177"/>
                    <a:pt x="60" y="176"/>
                  </a:cubicBezTo>
                  <a:cubicBezTo>
                    <a:pt x="59" y="176"/>
                    <a:pt x="58" y="176"/>
                    <a:pt x="58" y="176"/>
                  </a:cubicBezTo>
                  <a:cubicBezTo>
                    <a:pt x="58" y="176"/>
                    <a:pt x="58" y="176"/>
                    <a:pt x="58" y="176"/>
                  </a:cubicBezTo>
                  <a:cubicBezTo>
                    <a:pt x="58" y="176"/>
                    <a:pt x="58" y="176"/>
                    <a:pt x="58" y="176"/>
                  </a:cubicBezTo>
                  <a:cubicBezTo>
                    <a:pt x="58" y="176"/>
                    <a:pt x="58" y="176"/>
                    <a:pt x="58" y="176"/>
                  </a:cubicBezTo>
                  <a:cubicBezTo>
                    <a:pt x="58" y="176"/>
                    <a:pt x="58" y="176"/>
                    <a:pt x="58" y="176"/>
                  </a:cubicBezTo>
                  <a:cubicBezTo>
                    <a:pt x="57" y="176"/>
                    <a:pt x="56" y="176"/>
                    <a:pt x="55" y="176"/>
                  </a:cubicBezTo>
                  <a:cubicBezTo>
                    <a:pt x="50" y="176"/>
                    <a:pt x="46" y="172"/>
                    <a:pt x="46" y="165"/>
                  </a:cubicBezTo>
                  <a:cubicBezTo>
                    <a:pt x="46" y="43"/>
                    <a:pt x="46" y="43"/>
                    <a:pt x="46" y="43"/>
                  </a:cubicBezTo>
                  <a:cubicBezTo>
                    <a:pt x="46" y="41"/>
                    <a:pt x="46" y="39"/>
                    <a:pt x="46" y="37"/>
                  </a:cubicBezTo>
                  <a:cubicBezTo>
                    <a:pt x="47" y="34"/>
                    <a:pt x="49" y="30"/>
                    <a:pt x="51" y="26"/>
                  </a:cubicBezTo>
                  <a:cubicBezTo>
                    <a:pt x="4" y="0"/>
                    <a:pt x="4" y="0"/>
                    <a:pt x="4" y="0"/>
                  </a:cubicBezTo>
                </a:path>
              </a:pathLst>
            </a:custGeom>
            <a:solidFill>
              <a:srgbClr val="1264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1" name="ïṡḻíḋè">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7493F362-BC0F-4615-84AF-CC34633909B4}"/>
                </a:ext>
              </a:extLst>
            </p:cNvPr>
            <p:cNvSpPr/>
            <p:nvPr/>
          </p:nvSpPr>
          <p:spPr bwMode="auto">
            <a:xfrm>
              <a:off x="5095875" y="3355975"/>
              <a:ext cx="314325" cy="541338"/>
            </a:xfrm>
            <a:custGeom>
              <a:avLst/>
              <a:gdLst>
                <a:gd name="T0" fmla="*/ 124 w 124"/>
                <a:gd name="T1" fmla="*/ 0 h 214"/>
                <a:gd name="T2" fmla="*/ 124 w 124"/>
                <a:gd name="T3" fmla="*/ 1 h 214"/>
                <a:gd name="T4" fmla="*/ 124 w 124"/>
                <a:gd name="T5" fmla="*/ 124 h 214"/>
                <a:gd name="T6" fmla="*/ 107 w 124"/>
                <a:gd name="T7" fmla="*/ 152 h 214"/>
                <a:gd name="T8" fmla="*/ 1 w 124"/>
                <a:gd name="T9" fmla="*/ 213 h 214"/>
                <a:gd name="T10" fmla="*/ 0 w 124"/>
                <a:gd name="T11" fmla="*/ 214 h 214"/>
                <a:gd name="T12" fmla="*/ 1 w 124"/>
                <a:gd name="T13" fmla="*/ 213 h 214"/>
                <a:gd name="T14" fmla="*/ 107 w 124"/>
                <a:gd name="T15" fmla="*/ 152 h 214"/>
                <a:gd name="T16" fmla="*/ 124 w 124"/>
                <a:gd name="T17" fmla="*/ 124 h 214"/>
                <a:gd name="T18" fmla="*/ 124 w 124"/>
                <a:gd name="T19" fmla="*/ 1 h 214"/>
                <a:gd name="T20" fmla="*/ 124 w 124"/>
                <a:gd name="T21" fmla="*/ 0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4" h="214">
                  <a:moveTo>
                    <a:pt x="124" y="0"/>
                  </a:moveTo>
                  <a:cubicBezTo>
                    <a:pt x="124" y="0"/>
                    <a:pt x="124" y="1"/>
                    <a:pt x="124" y="1"/>
                  </a:cubicBezTo>
                  <a:cubicBezTo>
                    <a:pt x="124" y="124"/>
                    <a:pt x="124" y="124"/>
                    <a:pt x="124" y="124"/>
                  </a:cubicBezTo>
                  <a:cubicBezTo>
                    <a:pt x="124" y="134"/>
                    <a:pt x="116" y="147"/>
                    <a:pt x="107" y="152"/>
                  </a:cubicBezTo>
                  <a:cubicBezTo>
                    <a:pt x="1" y="213"/>
                    <a:pt x="1" y="213"/>
                    <a:pt x="1" y="213"/>
                  </a:cubicBezTo>
                  <a:cubicBezTo>
                    <a:pt x="1" y="213"/>
                    <a:pt x="1" y="213"/>
                    <a:pt x="0" y="214"/>
                  </a:cubicBezTo>
                  <a:cubicBezTo>
                    <a:pt x="1" y="213"/>
                    <a:pt x="1" y="213"/>
                    <a:pt x="1" y="213"/>
                  </a:cubicBezTo>
                  <a:cubicBezTo>
                    <a:pt x="107" y="152"/>
                    <a:pt x="107" y="152"/>
                    <a:pt x="107" y="152"/>
                  </a:cubicBezTo>
                  <a:cubicBezTo>
                    <a:pt x="116" y="147"/>
                    <a:pt x="124" y="134"/>
                    <a:pt x="124" y="124"/>
                  </a:cubicBezTo>
                  <a:cubicBezTo>
                    <a:pt x="124" y="1"/>
                    <a:pt x="124" y="1"/>
                    <a:pt x="124" y="1"/>
                  </a:cubicBezTo>
                  <a:cubicBezTo>
                    <a:pt x="124" y="1"/>
                    <a:pt x="124" y="0"/>
                    <a:pt x="124" y="0"/>
                  </a:cubicBezTo>
                </a:path>
              </a:pathLst>
            </a:custGeom>
            <a:solidFill>
              <a:srgbClr val="878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2" name="íśḷiḑ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5A01DEF1-8792-4C0C-A666-2CF04393079C}"/>
                </a:ext>
              </a:extLst>
            </p:cNvPr>
            <p:cNvSpPr/>
            <p:nvPr/>
          </p:nvSpPr>
          <p:spPr bwMode="auto">
            <a:xfrm>
              <a:off x="5057775" y="3330575"/>
              <a:ext cx="352425" cy="568325"/>
            </a:xfrm>
            <a:custGeom>
              <a:avLst/>
              <a:gdLst>
                <a:gd name="T0" fmla="*/ 129 w 139"/>
                <a:gd name="T1" fmla="*/ 0 h 225"/>
                <a:gd name="T2" fmla="*/ 122 w 139"/>
                <a:gd name="T3" fmla="*/ 2 h 225"/>
                <a:gd name="T4" fmla="*/ 52 w 139"/>
                <a:gd name="T5" fmla="*/ 42 h 225"/>
                <a:gd name="T6" fmla="*/ 16 w 139"/>
                <a:gd name="T7" fmla="*/ 63 h 225"/>
                <a:gd name="T8" fmla="*/ 5 w 139"/>
                <a:gd name="T9" fmla="*/ 75 h 225"/>
                <a:gd name="T10" fmla="*/ 5 w 139"/>
                <a:gd name="T11" fmla="*/ 75 h 225"/>
                <a:gd name="T12" fmla="*/ 0 w 139"/>
                <a:gd name="T13" fmla="*/ 86 h 225"/>
                <a:gd name="T14" fmla="*/ 0 w 139"/>
                <a:gd name="T15" fmla="*/ 91 h 225"/>
                <a:gd name="T16" fmla="*/ 0 w 139"/>
                <a:gd name="T17" fmla="*/ 214 h 225"/>
                <a:gd name="T18" fmla="*/ 9 w 139"/>
                <a:gd name="T19" fmla="*/ 225 h 225"/>
                <a:gd name="T20" fmla="*/ 12 w 139"/>
                <a:gd name="T21" fmla="*/ 225 h 225"/>
                <a:gd name="T22" fmla="*/ 12 w 139"/>
                <a:gd name="T23" fmla="*/ 225 h 225"/>
                <a:gd name="T24" fmla="*/ 12 w 139"/>
                <a:gd name="T25" fmla="*/ 225 h 225"/>
                <a:gd name="T26" fmla="*/ 12 w 139"/>
                <a:gd name="T27" fmla="*/ 225 h 225"/>
                <a:gd name="T28" fmla="*/ 12 w 139"/>
                <a:gd name="T29" fmla="*/ 225 h 225"/>
                <a:gd name="T30" fmla="*/ 14 w 139"/>
                <a:gd name="T31" fmla="*/ 225 h 225"/>
                <a:gd name="T32" fmla="*/ 14 w 139"/>
                <a:gd name="T33" fmla="*/ 225 h 225"/>
                <a:gd name="T34" fmla="*/ 15 w 139"/>
                <a:gd name="T35" fmla="*/ 224 h 225"/>
                <a:gd name="T36" fmla="*/ 16 w 139"/>
                <a:gd name="T37" fmla="*/ 223 h 225"/>
                <a:gd name="T38" fmla="*/ 122 w 139"/>
                <a:gd name="T39" fmla="*/ 162 h 225"/>
                <a:gd name="T40" fmla="*/ 139 w 139"/>
                <a:gd name="T41" fmla="*/ 134 h 225"/>
                <a:gd name="T42" fmla="*/ 139 w 139"/>
                <a:gd name="T43" fmla="*/ 11 h 225"/>
                <a:gd name="T44" fmla="*/ 139 w 139"/>
                <a:gd name="T45" fmla="*/ 10 h 225"/>
                <a:gd name="T46" fmla="*/ 138 w 139"/>
                <a:gd name="T47" fmla="*/ 8 h 225"/>
                <a:gd name="T48" fmla="*/ 138 w 139"/>
                <a:gd name="T49" fmla="*/ 9 h 225"/>
                <a:gd name="T50" fmla="*/ 129 w 139"/>
                <a:gd name="T51"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9" h="225">
                  <a:moveTo>
                    <a:pt x="129" y="0"/>
                  </a:moveTo>
                  <a:cubicBezTo>
                    <a:pt x="127" y="0"/>
                    <a:pt x="125" y="0"/>
                    <a:pt x="122" y="2"/>
                  </a:cubicBezTo>
                  <a:cubicBezTo>
                    <a:pt x="52" y="42"/>
                    <a:pt x="52" y="42"/>
                    <a:pt x="52" y="42"/>
                  </a:cubicBezTo>
                  <a:cubicBezTo>
                    <a:pt x="16" y="63"/>
                    <a:pt x="16" y="63"/>
                    <a:pt x="16" y="63"/>
                  </a:cubicBezTo>
                  <a:cubicBezTo>
                    <a:pt x="12" y="66"/>
                    <a:pt x="8" y="70"/>
                    <a:pt x="5" y="75"/>
                  </a:cubicBezTo>
                  <a:cubicBezTo>
                    <a:pt x="5" y="75"/>
                    <a:pt x="5" y="75"/>
                    <a:pt x="5" y="75"/>
                  </a:cubicBezTo>
                  <a:cubicBezTo>
                    <a:pt x="3" y="79"/>
                    <a:pt x="1" y="83"/>
                    <a:pt x="0" y="86"/>
                  </a:cubicBezTo>
                  <a:cubicBezTo>
                    <a:pt x="0" y="88"/>
                    <a:pt x="0" y="90"/>
                    <a:pt x="0" y="91"/>
                  </a:cubicBezTo>
                  <a:cubicBezTo>
                    <a:pt x="0" y="214"/>
                    <a:pt x="0" y="214"/>
                    <a:pt x="0" y="214"/>
                  </a:cubicBezTo>
                  <a:cubicBezTo>
                    <a:pt x="0" y="221"/>
                    <a:pt x="4" y="225"/>
                    <a:pt x="9" y="225"/>
                  </a:cubicBezTo>
                  <a:cubicBezTo>
                    <a:pt x="10" y="225"/>
                    <a:pt x="11" y="225"/>
                    <a:pt x="12" y="225"/>
                  </a:cubicBezTo>
                  <a:cubicBezTo>
                    <a:pt x="12" y="225"/>
                    <a:pt x="12" y="225"/>
                    <a:pt x="12" y="225"/>
                  </a:cubicBezTo>
                  <a:cubicBezTo>
                    <a:pt x="12" y="225"/>
                    <a:pt x="12" y="225"/>
                    <a:pt x="12" y="225"/>
                  </a:cubicBezTo>
                  <a:cubicBezTo>
                    <a:pt x="12" y="225"/>
                    <a:pt x="12" y="225"/>
                    <a:pt x="12" y="225"/>
                  </a:cubicBezTo>
                  <a:cubicBezTo>
                    <a:pt x="12" y="225"/>
                    <a:pt x="12" y="225"/>
                    <a:pt x="12" y="225"/>
                  </a:cubicBezTo>
                  <a:cubicBezTo>
                    <a:pt x="12" y="225"/>
                    <a:pt x="13" y="225"/>
                    <a:pt x="14" y="225"/>
                  </a:cubicBezTo>
                  <a:cubicBezTo>
                    <a:pt x="14" y="225"/>
                    <a:pt x="14" y="225"/>
                    <a:pt x="14" y="225"/>
                  </a:cubicBezTo>
                  <a:cubicBezTo>
                    <a:pt x="14" y="224"/>
                    <a:pt x="15" y="224"/>
                    <a:pt x="15" y="224"/>
                  </a:cubicBezTo>
                  <a:cubicBezTo>
                    <a:pt x="16" y="223"/>
                    <a:pt x="16" y="223"/>
                    <a:pt x="16" y="223"/>
                  </a:cubicBezTo>
                  <a:cubicBezTo>
                    <a:pt x="122" y="162"/>
                    <a:pt x="122" y="162"/>
                    <a:pt x="122" y="162"/>
                  </a:cubicBezTo>
                  <a:cubicBezTo>
                    <a:pt x="131" y="157"/>
                    <a:pt x="139" y="144"/>
                    <a:pt x="139" y="134"/>
                  </a:cubicBezTo>
                  <a:cubicBezTo>
                    <a:pt x="139" y="11"/>
                    <a:pt x="139" y="11"/>
                    <a:pt x="139" y="11"/>
                  </a:cubicBezTo>
                  <a:cubicBezTo>
                    <a:pt x="139" y="11"/>
                    <a:pt x="139" y="10"/>
                    <a:pt x="139" y="10"/>
                  </a:cubicBezTo>
                  <a:cubicBezTo>
                    <a:pt x="138" y="9"/>
                    <a:pt x="138" y="9"/>
                    <a:pt x="138" y="8"/>
                  </a:cubicBezTo>
                  <a:cubicBezTo>
                    <a:pt x="138" y="8"/>
                    <a:pt x="138" y="9"/>
                    <a:pt x="138" y="9"/>
                  </a:cubicBezTo>
                  <a:cubicBezTo>
                    <a:pt x="138" y="3"/>
                    <a:pt x="134" y="0"/>
                    <a:pt x="129" y="0"/>
                  </a:cubicBezTo>
                </a:path>
              </a:pathLst>
            </a:custGeom>
            <a:solidFill>
              <a:srgbClr val="157A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3" name="ïś1íḍ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164FA0E7-5A24-4FEE-B958-48E412331B54}"/>
                </a:ext>
              </a:extLst>
            </p:cNvPr>
            <p:cNvSpPr/>
            <p:nvPr/>
          </p:nvSpPr>
          <p:spPr bwMode="auto">
            <a:xfrm>
              <a:off x="5057775" y="3519488"/>
              <a:ext cx="34925" cy="379413"/>
            </a:xfrm>
            <a:custGeom>
              <a:avLst/>
              <a:gdLst>
                <a:gd name="T0" fmla="*/ 12 w 14"/>
                <a:gd name="T1" fmla="*/ 150 h 150"/>
                <a:gd name="T2" fmla="*/ 12 w 14"/>
                <a:gd name="T3" fmla="*/ 150 h 150"/>
                <a:gd name="T4" fmla="*/ 12 w 14"/>
                <a:gd name="T5" fmla="*/ 150 h 150"/>
                <a:gd name="T6" fmla="*/ 12 w 14"/>
                <a:gd name="T7" fmla="*/ 150 h 150"/>
                <a:gd name="T8" fmla="*/ 12 w 14"/>
                <a:gd name="T9" fmla="*/ 150 h 150"/>
                <a:gd name="T10" fmla="*/ 12 w 14"/>
                <a:gd name="T11" fmla="*/ 150 h 150"/>
                <a:gd name="T12" fmla="*/ 14 w 14"/>
                <a:gd name="T13" fmla="*/ 150 h 150"/>
                <a:gd name="T14" fmla="*/ 12 w 14"/>
                <a:gd name="T15" fmla="*/ 150 h 150"/>
                <a:gd name="T16" fmla="*/ 14 w 14"/>
                <a:gd name="T17" fmla="*/ 150 h 150"/>
                <a:gd name="T18" fmla="*/ 14 w 14"/>
                <a:gd name="T19" fmla="*/ 150 h 150"/>
                <a:gd name="T20" fmla="*/ 5 w 14"/>
                <a:gd name="T21" fmla="*/ 0 h 150"/>
                <a:gd name="T22" fmla="*/ 0 w 14"/>
                <a:gd name="T23" fmla="*/ 11 h 150"/>
                <a:gd name="T24" fmla="*/ 5 w 14"/>
                <a:gd name="T25" fmla="*/ 0 h 150"/>
                <a:gd name="T26" fmla="*/ 5 w 14"/>
                <a:gd name="T27"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 h="150">
                  <a:moveTo>
                    <a:pt x="12" y="150"/>
                  </a:moveTo>
                  <a:cubicBezTo>
                    <a:pt x="12" y="150"/>
                    <a:pt x="12" y="150"/>
                    <a:pt x="12" y="150"/>
                  </a:cubicBezTo>
                  <a:cubicBezTo>
                    <a:pt x="12" y="150"/>
                    <a:pt x="12" y="150"/>
                    <a:pt x="12" y="150"/>
                  </a:cubicBezTo>
                  <a:moveTo>
                    <a:pt x="12" y="150"/>
                  </a:moveTo>
                  <a:cubicBezTo>
                    <a:pt x="12" y="150"/>
                    <a:pt x="12" y="150"/>
                    <a:pt x="12" y="150"/>
                  </a:cubicBezTo>
                  <a:cubicBezTo>
                    <a:pt x="12" y="150"/>
                    <a:pt x="12" y="150"/>
                    <a:pt x="12" y="150"/>
                  </a:cubicBezTo>
                  <a:moveTo>
                    <a:pt x="14" y="150"/>
                  </a:moveTo>
                  <a:cubicBezTo>
                    <a:pt x="13" y="150"/>
                    <a:pt x="12" y="150"/>
                    <a:pt x="12" y="150"/>
                  </a:cubicBezTo>
                  <a:cubicBezTo>
                    <a:pt x="12" y="150"/>
                    <a:pt x="13" y="150"/>
                    <a:pt x="14" y="150"/>
                  </a:cubicBezTo>
                  <a:cubicBezTo>
                    <a:pt x="14" y="150"/>
                    <a:pt x="14" y="150"/>
                    <a:pt x="14" y="150"/>
                  </a:cubicBezTo>
                  <a:moveTo>
                    <a:pt x="5" y="0"/>
                  </a:moveTo>
                  <a:cubicBezTo>
                    <a:pt x="3" y="4"/>
                    <a:pt x="1" y="8"/>
                    <a:pt x="0" y="11"/>
                  </a:cubicBezTo>
                  <a:cubicBezTo>
                    <a:pt x="1" y="8"/>
                    <a:pt x="3" y="4"/>
                    <a:pt x="5" y="0"/>
                  </a:cubicBezTo>
                  <a:cubicBezTo>
                    <a:pt x="5" y="0"/>
                    <a:pt x="5" y="0"/>
                    <a:pt x="5" y="0"/>
                  </a:cubicBezTo>
                </a:path>
              </a:pathLst>
            </a:custGeom>
            <a:solidFill>
              <a:srgbClr val="0A37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4" name="işliḑ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A1BFE5B1-DAB4-4B07-8181-67482F875921}"/>
                </a:ext>
              </a:extLst>
            </p:cNvPr>
            <p:cNvSpPr/>
            <p:nvPr/>
          </p:nvSpPr>
          <p:spPr bwMode="auto">
            <a:xfrm>
              <a:off x="5181600" y="3444875"/>
              <a:ext cx="101600" cy="341313"/>
            </a:xfrm>
            <a:custGeom>
              <a:avLst/>
              <a:gdLst>
                <a:gd name="T0" fmla="*/ 9 w 40"/>
                <a:gd name="T1" fmla="*/ 135 h 135"/>
                <a:gd name="T2" fmla="*/ 27 w 40"/>
                <a:gd name="T3" fmla="*/ 125 h 135"/>
                <a:gd name="T4" fmla="*/ 27 w 40"/>
                <a:gd name="T5" fmla="*/ 66 h 135"/>
                <a:gd name="T6" fmla="*/ 39 w 40"/>
                <a:gd name="T7" fmla="*/ 59 h 135"/>
                <a:gd name="T8" fmla="*/ 40 w 40"/>
                <a:gd name="T9" fmla="*/ 38 h 135"/>
                <a:gd name="T10" fmla="*/ 27 w 40"/>
                <a:gd name="T11" fmla="*/ 46 h 135"/>
                <a:gd name="T12" fmla="*/ 27 w 40"/>
                <a:gd name="T13" fmla="*/ 35 h 135"/>
                <a:gd name="T14" fmla="*/ 31 w 40"/>
                <a:gd name="T15" fmla="*/ 26 h 135"/>
                <a:gd name="T16" fmla="*/ 40 w 40"/>
                <a:gd name="T17" fmla="*/ 21 h 135"/>
                <a:gd name="T18" fmla="*/ 40 w 40"/>
                <a:gd name="T19" fmla="*/ 0 h 135"/>
                <a:gd name="T20" fmla="*/ 28 w 40"/>
                <a:gd name="T21" fmla="*/ 7 h 135"/>
                <a:gd name="T22" fmla="*/ 9 w 40"/>
                <a:gd name="T23" fmla="*/ 41 h 135"/>
                <a:gd name="T24" fmla="*/ 9 w 40"/>
                <a:gd name="T25" fmla="*/ 56 h 135"/>
                <a:gd name="T26" fmla="*/ 0 w 40"/>
                <a:gd name="T27" fmla="*/ 62 h 135"/>
                <a:gd name="T28" fmla="*/ 0 w 40"/>
                <a:gd name="T29" fmla="*/ 82 h 135"/>
                <a:gd name="T30" fmla="*/ 9 w 40"/>
                <a:gd name="T31" fmla="*/ 76 h 135"/>
                <a:gd name="T32" fmla="*/ 9 w 40"/>
                <a:gd name="T33"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135">
                  <a:moveTo>
                    <a:pt x="9" y="135"/>
                  </a:moveTo>
                  <a:cubicBezTo>
                    <a:pt x="27" y="125"/>
                    <a:pt x="27" y="125"/>
                    <a:pt x="27" y="125"/>
                  </a:cubicBezTo>
                  <a:cubicBezTo>
                    <a:pt x="27" y="66"/>
                    <a:pt x="27" y="66"/>
                    <a:pt x="27" y="66"/>
                  </a:cubicBezTo>
                  <a:cubicBezTo>
                    <a:pt x="39" y="59"/>
                    <a:pt x="39" y="59"/>
                    <a:pt x="39" y="59"/>
                  </a:cubicBezTo>
                  <a:cubicBezTo>
                    <a:pt x="40" y="38"/>
                    <a:pt x="40" y="38"/>
                    <a:pt x="40" y="38"/>
                  </a:cubicBezTo>
                  <a:cubicBezTo>
                    <a:pt x="27" y="46"/>
                    <a:pt x="27" y="46"/>
                    <a:pt x="27" y="46"/>
                  </a:cubicBezTo>
                  <a:cubicBezTo>
                    <a:pt x="27" y="46"/>
                    <a:pt x="27" y="39"/>
                    <a:pt x="27" y="35"/>
                  </a:cubicBezTo>
                  <a:cubicBezTo>
                    <a:pt x="27" y="30"/>
                    <a:pt x="28" y="28"/>
                    <a:pt x="31" y="26"/>
                  </a:cubicBezTo>
                  <a:cubicBezTo>
                    <a:pt x="34" y="25"/>
                    <a:pt x="40" y="21"/>
                    <a:pt x="40" y="21"/>
                  </a:cubicBezTo>
                  <a:cubicBezTo>
                    <a:pt x="40" y="0"/>
                    <a:pt x="40" y="0"/>
                    <a:pt x="40" y="0"/>
                  </a:cubicBezTo>
                  <a:cubicBezTo>
                    <a:pt x="40" y="0"/>
                    <a:pt x="30" y="6"/>
                    <a:pt x="28" y="7"/>
                  </a:cubicBezTo>
                  <a:cubicBezTo>
                    <a:pt x="15" y="15"/>
                    <a:pt x="9" y="26"/>
                    <a:pt x="9" y="41"/>
                  </a:cubicBezTo>
                  <a:cubicBezTo>
                    <a:pt x="9" y="53"/>
                    <a:pt x="9" y="56"/>
                    <a:pt x="9" y="56"/>
                  </a:cubicBezTo>
                  <a:cubicBezTo>
                    <a:pt x="0" y="62"/>
                    <a:pt x="0" y="62"/>
                    <a:pt x="0" y="62"/>
                  </a:cubicBezTo>
                  <a:cubicBezTo>
                    <a:pt x="0" y="82"/>
                    <a:pt x="0" y="82"/>
                    <a:pt x="0" y="82"/>
                  </a:cubicBezTo>
                  <a:cubicBezTo>
                    <a:pt x="9" y="76"/>
                    <a:pt x="9" y="76"/>
                    <a:pt x="9" y="76"/>
                  </a:cubicBezTo>
                  <a:lnTo>
                    <a:pt x="9"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5" name="îSḻîḓè">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03D7E53D-D2B2-452E-93A3-C51079FF9F52}"/>
                </a:ext>
              </a:extLst>
            </p:cNvPr>
            <p:cNvSpPr/>
            <p:nvPr/>
          </p:nvSpPr>
          <p:spPr bwMode="auto">
            <a:xfrm>
              <a:off x="5297488" y="3257550"/>
              <a:ext cx="46038" cy="17463"/>
            </a:xfrm>
            <a:custGeom>
              <a:avLst/>
              <a:gdLst>
                <a:gd name="T0" fmla="*/ 0 w 18"/>
                <a:gd name="T1" fmla="*/ 0 h 7"/>
                <a:gd name="T2" fmla="*/ 14 w 18"/>
                <a:gd name="T3" fmla="*/ 4 h 7"/>
                <a:gd name="T4" fmla="*/ 18 w 18"/>
                <a:gd name="T5" fmla="*/ 7 h 7"/>
                <a:gd name="T6" fmla="*/ 14 w 18"/>
                <a:gd name="T7" fmla="*/ 4 h 7"/>
                <a:gd name="T8" fmla="*/ 0 w 18"/>
                <a:gd name="T9" fmla="*/ 0 h 7"/>
              </a:gdLst>
              <a:ahLst/>
              <a:cxnLst>
                <a:cxn ang="0">
                  <a:pos x="T0" y="T1"/>
                </a:cxn>
                <a:cxn ang="0">
                  <a:pos x="T2" y="T3"/>
                </a:cxn>
                <a:cxn ang="0">
                  <a:pos x="T4" y="T5"/>
                </a:cxn>
                <a:cxn ang="0">
                  <a:pos x="T6" y="T7"/>
                </a:cxn>
                <a:cxn ang="0">
                  <a:pos x="T8" y="T9"/>
                </a:cxn>
              </a:cxnLst>
              <a:rect l="0" t="0" r="r" b="b"/>
              <a:pathLst>
                <a:path w="18" h="7">
                  <a:moveTo>
                    <a:pt x="0" y="0"/>
                  </a:moveTo>
                  <a:cubicBezTo>
                    <a:pt x="5" y="1"/>
                    <a:pt x="10" y="2"/>
                    <a:pt x="14" y="4"/>
                  </a:cubicBezTo>
                  <a:cubicBezTo>
                    <a:pt x="18" y="7"/>
                    <a:pt x="18" y="7"/>
                    <a:pt x="18" y="7"/>
                  </a:cubicBezTo>
                  <a:cubicBezTo>
                    <a:pt x="14" y="4"/>
                    <a:pt x="14" y="4"/>
                    <a:pt x="14" y="4"/>
                  </a:cubicBezTo>
                  <a:cubicBezTo>
                    <a:pt x="10" y="2"/>
                    <a:pt x="5" y="1"/>
                    <a:pt x="0" y="0"/>
                  </a:cubicBezTo>
                </a:path>
              </a:pathLst>
            </a:custGeom>
            <a:solidFill>
              <a:srgbClr val="9F9F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6" name="íŝļíd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994260A2-A01E-40A0-9F41-AC0C3C9CDF3E}"/>
                </a:ext>
              </a:extLst>
            </p:cNvPr>
            <p:cNvSpPr/>
            <p:nvPr/>
          </p:nvSpPr>
          <p:spPr bwMode="auto">
            <a:xfrm>
              <a:off x="4953000" y="3257550"/>
              <a:ext cx="454025" cy="261938"/>
            </a:xfrm>
            <a:custGeom>
              <a:avLst/>
              <a:gdLst>
                <a:gd name="T0" fmla="*/ 133 w 179"/>
                <a:gd name="T1" fmla="*/ 0 h 104"/>
                <a:gd name="T2" fmla="*/ 117 w 179"/>
                <a:gd name="T3" fmla="*/ 4 h 104"/>
                <a:gd name="T4" fmla="*/ 11 w 179"/>
                <a:gd name="T5" fmla="*/ 65 h 104"/>
                <a:gd name="T6" fmla="*/ 0 w 179"/>
                <a:gd name="T7" fmla="*/ 78 h 104"/>
                <a:gd name="T8" fmla="*/ 46 w 179"/>
                <a:gd name="T9" fmla="*/ 104 h 104"/>
                <a:gd name="T10" fmla="*/ 57 w 179"/>
                <a:gd name="T11" fmla="*/ 92 h 104"/>
                <a:gd name="T12" fmla="*/ 93 w 179"/>
                <a:gd name="T13" fmla="*/ 71 h 104"/>
                <a:gd name="T14" fmla="*/ 163 w 179"/>
                <a:gd name="T15" fmla="*/ 31 h 104"/>
                <a:gd name="T16" fmla="*/ 170 w 179"/>
                <a:gd name="T17" fmla="*/ 29 h 104"/>
                <a:gd name="T18" fmla="*/ 179 w 179"/>
                <a:gd name="T19" fmla="*/ 37 h 104"/>
                <a:gd name="T20" fmla="*/ 163 w 179"/>
                <a:gd name="T21" fmla="*/ 12 h 104"/>
                <a:gd name="T22" fmla="*/ 154 w 179"/>
                <a:gd name="T23" fmla="*/ 7 h 104"/>
                <a:gd name="T24" fmla="*/ 150 w 179"/>
                <a:gd name="T25" fmla="*/ 4 h 104"/>
                <a:gd name="T26" fmla="*/ 136 w 179"/>
                <a:gd name="T27" fmla="*/ 0 h 104"/>
                <a:gd name="T28" fmla="*/ 133 w 179"/>
                <a:gd name="T29"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104">
                  <a:moveTo>
                    <a:pt x="133" y="0"/>
                  </a:moveTo>
                  <a:cubicBezTo>
                    <a:pt x="127" y="0"/>
                    <a:pt x="121" y="2"/>
                    <a:pt x="117" y="4"/>
                  </a:cubicBezTo>
                  <a:cubicBezTo>
                    <a:pt x="11" y="65"/>
                    <a:pt x="11" y="65"/>
                    <a:pt x="11" y="65"/>
                  </a:cubicBezTo>
                  <a:cubicBezTo>
                    <a:pt x="7" y="68"/>
                    <a:pt x="2" y="72"/>
                    <a:pt x="0" y="78"/>
                  </a:cubicBezTo>
                  <a:cubicBezTo>
                    <a:pt x="46" y="104"/>
                    <a:pt x="46" y="104"/>
                    <a:pt x="46" y="104"/>
                  </a:cubicBezTo>
                  <a:cubicBezTo>
                    <a:pt x="49" y="99"/>
                    <a:pt x="53" y="95"/>
                    <a:pt x="57" y="92"/>
                  </a:cubicBezTo>
                  <a:cubicBezTo>
                    <a:pt x="93" y="71"/>
                    <a:pt x="93" y="71"/>
                    <a:pt x="93" y="71"/>
                  </a:cubicBezTo>
                  <a:cubicBezTo>
                    <a:pt x="163" y="31"/>
                    <a:pt x="163" y="31"/>
                    <a:pt x="163" y="31"/>
                  </a:cubicBezTo>
                  <a:cubicBezTo>
                    <a:pt x="166" y="29"/>
                    <a:pt x="168" y="29"/>
                    <a:pt x="170" y="29"/>
                  </a:cubicBezTo>
                  <a:cubicBezTo>
                    <a:pt x="175" y="29"/>
                    <a:pt x="178" y="32"/>
                    <a:pt x="179" y="37"/>
                  </a:cubicBezTo>
                  <a:cubicBezTo>
                    <a:pt x="178" y="28"/>
                    <a:pt x="171" y="17"/>
                    <a:pt x="163" y="12"/>
                  </a:cubicBezTo>
                  <a:cubicBezTo>
                    <a:pt x="154" y="7"/>
                    <a:pt x="154" y="7"/>
                    <a:pt x="154" y="7"/>
                  </a:cubicBezTo>
                  <a:cubicBezTo>
                    <a:pt x="150" y="4"/>
                    <a:pt x="150" y="4"/>
                    <a:pt x="150" y="4"/>
                  </a:cubicBezTo>
                  <a:cubicBezTo>
                    <a:pt x="146" y="2"/>
                    <a:pt x="141" y="1"/>
                    <a:pt x="136" y="0"/>
                  </a:cubicBezTo>
                  <a:cubicBezTo>
                    <a:pt x="135" y="0"/>
                    <a:pt x="134" y="0"/>
                    <a:pt x="133" y="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chemeClr val="accent1">
                    <a:lumMod val="75000"/>
                    <a:lumOff val="25000"/>
                  </a:schemeClr>
                </a:solidFill>
              </a:endParaRPr>
            </a:p>
          </p:txBody>
        </p:sp>
        <p:sp>
          <p:nvSpPr>
            <p:cNvPr id="107" name="íŝḷiḍ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A2F03276-9D23-4ACC-AA4B-174DAFF67013}"/>
                </a:ext>
              </a:extLst>
            </p:cNvPr>
            <p:cNvSpPr/>
            <p:nvPr/>
          </p:nvSpPr>
          <p:spPr bwMode="auto">
            <a:xfrm>
              <a:off x="5189538" y="3330575"/>
              <a:ext cx="217488" cy="106363"/>
            </a:xfrm>
            <a:custGeom>
              <a:avLst/>
              <a:gdLst>
                <a:gd name="T0" fmla="*/ 77 w 86"/>
                <a:gd name="T1" fmla="*/ 0 h 42"/>
                <a:gd name="T2" fmla="*/ 70 w 86"/>
                <a:gd name="T3" fmla="*/ 2 h 42"/>
                <a:gd name="T4" fmla="*/ 0 w 86"/>
                <a:gd name="T5" fmla="*/ 42 h 42"/>
                <a:gd name="T6" fmla="*/ 70 w 86"/>
                <a:gd name="T7" fmla="*/ 2 h 42"/>
                <a:gd name="T8" fmla="*/ 77 w 86"/>
                <a:gd name="T9" fmla="*/ 0 h 42"/>
                <a:gd name="T10" fmla="*/ 86 w 86"/>
                <a:gd name="T11" fmla="*/ 9 h 42"/>
                <a:gd name="T12" fmla="*/ 86 w 86"/>
                <a:gd name="T13" fmla="*/ 8 h 42"/>
                <a:gd name="T14" fmla="*/ 77 w 86"/>
                <a:gd name="T15" fmla="*/ 0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42">
                  <a:moveTo>
                    <a:pt x="77" y="0"/>
                  </a:moveTo>
                  <a:cubicBezTo>
                    <a:pt x="75" y="0"/>
                    <a:pt x="73" y="0"/>
                    <a:pt x="70" y="2"/>
                  </a:cubicBezTo>
                  <a:cubicBezTo>
                    <a:pt x="0" y="42"/>
                    <a:pt x="0" y="42"/>
                    <a:pt x="0" y="42"/>
                  </a:cubicBezTo>
                  <a:cubicBezTo>
                    <a:pt x="70" y="2"/>
                    <a:pt x="70" y="2"/>
                    <a:pt x="70" y="2"/>
                  </a:cubicBezTo>
                  <a:cubicBezTo>
                    <a:pt x="73" y="0"/>
                    <a:pt x="75" y="0"/>
                    <a:pt x="77" y="0"/>
                  </a:cubicBezTo>
                  <a:cubicBezTo>
                    <a:pt x="82" y="0"/>
                    <a:pt x="86" y="3"/>
                    <a:pt x="86" y="9"/>
                  </a:cubicBezTo>
                  <a:cubicBezTo>
                    <a:pt x="86" y="9"/>
                    <a:pt x="86" y="8"/>
                    <a:pt x="86" y="8"/>
                  </a:cubicBezTo>
                  <a:cubicBezTo>
                    <a:pt x="85" y="3"/>
                    <a:pt x="82" y="0"/>
                    <a:pt x="77" y="0"/>
                  </a:cubicBezTo>
                </a:path>
              </a:pathLst>
            </a:custGeom>
            <a:solidFill>
              <a:srgbClr val="0E4F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8" name="íṧḷíḍ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9137ADE7-29F7-479B-8CE3-26E25207DA95}"/>
                </a:ext>
              </a:extLst>
            </p:cNvPr>
            <p:cNvSpPr/>
            <p:nvPr/>
          </p:nvSpPr>
          <p:spPr bwMode="auto">
            <a:xfrm>
              <a:off x="7326313" y="2552700"/>
              <a:ext cx="331788" cy="420688"/>
            </a:xfrm>
            <a:custGeom>
              <a:avLst/>
              <a:gdLst>
                <a:gd name="T0" fmla="*/ 0 w 131"/>
                <a:gd name="T1" fmla="*/ 0 h 167"/>
                <a:gd name="T2" fmla="*/ 51 w 131"/>
                <a:gd name="T3" fmla="*/ 21 h 167"/>
                <a:gd name="T4" fmla="*/ 131 w 131"/>
                <a:gd name="T5" fmla="*/ 134 h 167"/>
                <a:gd name="T6" fmla="*/ 94 w 131"/>
                <a:gd name="T7" fmla="*/ 164 h 167"/>
                <a:gd name="T8" fmla="*/ 43 w 131"/>
                <a:gd name="T9" fmla="*/ 103 h 167"/>
                <a:gd name="T10" fmla="*/ 0 w 131"/>
                <a:gd name="T11" fmla="*/ 0 h 167"/>
              </a:gdLst>
              <a:ahLst/>
              <a:cxnLst>
                <a:cxn ang="0">
                  <a:pos x="T0" y="T1"/>
                </a:cxn>
                <a:cxn ang="0">
                  <a:pos x="T2" y="T3"/>
                </a:cxn>
                <a:cxn ang="0">
                  <a:pos x="T4" y="T5"/>
                </a:cxn>
                <a:cxn ang="0">
                  <a:pos x="T6" y="T7"/>
                </a:cxn>
                <a:cxn ang="0">
                  <a:pos x="T8" y="T9"/>
                </a:cxn>
                <a:cxn ang="0">
                  <a:pos x="T10" y="T11"/>
                </a:cxn>
              </a:cxnLst>
              <a:rect l="0" t="0" r="r" b="b"/>
              <a:pathLst>
                <a:path w="131" h="167">
                  <a:moveTo>
                    <a:pt x="0" y="0"/>
                  </a:moveTo>
                  <a:cubicBezTo>
                    <a:pt x="26" y="2"/>
                    <a:pt x="38" y="6"/>
                    <a:pt x="51" y="21"/>
                  </a:cubicBezTo>
                  <a:cubicBezTo>
                    <a:pt x="64" y="37"/>
                    <a:pt x="131" y="134"/>
                    <a:pt x="131" y="134"/>
                  </a:cubicBezTo>
                  <a:cubicBezTo>
                    <a:pt x="131" y="134"/>
                    <a:pt x="120" y="167"/>
                    <a:pt x="94" y="164"/>
                  </a:cubicBezTo>
                  <a:cubicBezTo>
                    <a:pt x="43" y="103"/>
                    <a:pt x="43" y="103"/>
                    <a:pt x="43" y="103"/>
                  </a:cubicBezTo>
                  <a:cubicBezTo>
                    <a:pt x="0" y="0"/>
                    <a:pt x="0" y="0"/>
                    <a:pt x="0" y="0"/>
                  </a:cubicBezTo>
                </a:path>
              </a:pathLst>
            </a:custGeom>
            <a:solidFill>
              <a:srgbClr val="FFA8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9" name="iṧ1îḓè">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171252D6-F196-4793-B576-9CB2AF678AE9}"/>
                </a:ext>
              </a:extLst>
            </p:cNvPr>
            <p:cNvSpPr/>
            <p:nvPr/>
          </p:nvSpPr>
          <p:spPr bwMode="auto">
            <a:xfrm>
              <a:off x="7319963" y="2546350"/>
              <a:ext cx="217488" cy="276225"/>
            </a:xfrm>
            <a:custGeom>
              <a:avLst/>
              <a:gdLst>
                <a:gd name="T0" fmla="*/ 0 w 86"/>
                <a:gd name="T1" fmla="*/ 2 h 109"/>
                <a:gd name="T2" fmla="*/ 31 w 86"/>
                <a:gd name="T3" fmla="*/ 5 h 109"/>
                <a:gd name="T4" fmla="*/ 62 w 86"/>
                <a:gd name="T5" fmla="*/ 31 h 109"/>
                <a:gd name="T6" fmla="*/ 86 w 86"/>
                <a:gd name="T7" fmla="*/ 64 h 109"/>
                <a:gd name="T8" fmla="*/ 41 w 86"/>
                <a:gd name="T9" fmla="*/ 109 h 109"/>
                <a:gd name="T10" fmla="*/ 0 w 86"/>
                <a:gd name="T11" fmla="*/ 2 h 109"/>
              </a:gdLst>
              <a:ahLst/>
              <a:cxnLst>
                <a:cxn ang="0">
                  <a:pos x="T0" y="T1"/>
                </a:cxn>
                <a:cxn ang="0">
                  <a:pos x="T2" y="T3"/>
                </a:cxn>
                <a:cxn ang="0">
                  <a:pos x="T4" y="T5"/>
                </a:cxn>
                <a:cxn ang="0">
                  <a:pos x="T6" y="T7"/>
                </a:cxn>
                <a:cxn ang="0">
                  <a:pos x="T8" y="T9"/>
                </a:cxn>
                <a:cxn ang="0">
                  <a:pos x="T10" y="T11"/>
                </a:cxn>
              </a:cxnLst>
              <a:rect l="0" t="0" r="r" b="b"/>
              <a:pathLst>
                <a:path w="86" h="109">
                  <a:moveTo>
                    <a:pt x="0" y="2"/>
                  </a:moveTo>
                  <a:cubicBezTo>
                    <a:pt x="0" y="2"/>
                    <a:pt x="18" y="0"/>
                    <a:pt x="31" y="5"/>
                  </a:cubicBezTo>
                  <a:cubicBezTo>
                    <a:pt x="44" y="10"/>
                    <a:pt x="55" y="20"/>
                    <a:pt x="62" y="31"/>
                  </a:cubicBezTo>
                  <a:cubicBezTo>
                    <a:pt x="70" y="41"/>
                    <a:pt x="86" y="64"/>
                    <a:pt x="86" y="64"/>
                  </a:cubicBezTo>
                  <a:cubicBezTo>
                    <a:pt x="86" y="64"/>
                    <a:pt x="74" y="89"/>
                    <a:pt x="41" y="109"/>
                  </a:cubicBezTo>
                  <a:lnTo>
                    <a:pt x="0" y="2"/>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0" name="îšḷiḓ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0B31A989-F987-46DB-9941-E4C812F5BD39}"/>
                </a:ext>
              </a:extLst>
            </p:cNvPr>
            <p:cNvSpPr/>
            <p:nvPr/>
          </p:nvSpPr>
          <p:spPr bwMode="auto">
            <a:xfrm>
              <a:off x="7013575" y="2076450"/>
              <a:ext cx="434975" cy="407988"/>
            </a:xfrm>
            <a:custGeom>
              <a:avLst/>
              <a:gdLst>
                <a:gd name="T0" fmla="*/ 90 w 172"/>
                <a:gd name="T1" fmla="*/ 161 h 161"/>
                <a:gd name="T2" fmla="*/ 82 w 172"/>
                <a:gd name="T3" fmla="*/ 161 h 161"/>
                <a:gd name="T4" fmla="*/ 0 w 172"/>
                <a:gd name="T5" fmla="*/ 79 h 161"/>
                <a:gd name="T6" fmla="*/ 0 w 172"/>
                <a:gd name="T7" fmla="*/ 79 h 161"/>
                <a:gd name="T8" fmla="*/ 79 w 172"/>
                <a:gd name="T9" fmla="*/ 0 h 161"/>
                <a:gd name="T10" fmla="*/ 93 w 172"/>
                <a:gd name="T11" fmla="*/ 0 h 161"/>
                <a:gd name="T12" fmla="*/ 172 w 172"/>
                <a:gd name="T13" fmla="*/ 79 h 161"/>
                <a:gd name="T14" fmla="*/ 90 w 172"/>
                <a:gd name="T15" fmla="*/ 161 h 1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161">
                  <a:moveTo>
                    <a:pt x="90" y="161"/>
                  </a:moveTo>
                  <a:cubicBezTo>
                    <a:pt x="82" y="161"/>
                    <a:pt x="82" y="161"/>
                    <a:pt x="82" y="161"/>
                  </a:cubicBezTo>
                  <a:cubicBezTo>
                    <a:pt x="37" y="161"/>
                    <a:pt x="0" y="124"/>
                    <a:pt x="0" y="79"/>
                  </a:cubicBezTo>
                  <a:cubicBezTo>
                    <a:pt x="0" y="79"/>
                    <a:pt x="0" y="79"/>
                    <a:pt x="0" y="79"/>
                  </a:cubicBezTo>
                  <a:cubicBezTo>
                    <a:pt x="0" y="35"/>
                    <a:pt x="35" y="0"/>
                    <a:pt x="79" y="0"/>
                  </a:cubicBezTo>
                  <a:cubicBezTo>
                    <a:pt x="93" y="0"/>
                    <a:pt x="93" y="0"/>
                    <a:pt x="93" y="0"/>
                  </a:cubicBezTo>
                  <a:cubicBezTo>
                    <a:pt x="137" y="0"/>
                    <a:pt x="172" y="35"/>
                    <a:pt x="172" y="79"/>
                  </a:cubicBezTo>
                  <a:cubicBezTo>
                    <a:pt x="172" y="124"/>
                    <a:pt x="136" y="161"/>
                    <a:pt x="90" y="161"/>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1" name="íṧļíḓ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3624E1E5-618B-4963-AA1B-D1FB31F522C2}"/>
                </a:ext>
              </a:extLst>
            </p:cNvPr>
            <p:cNvSpPr/>
            <p:nvPr/>
          </p:nvSpPr>
          <p:spPr bwMode="auto">
            <a:xfrm>
              <a:off x="7026275" y="2438400"/>
              <a:ext cx="133350" cy="268288"/>
            </a:xfrm>
            <a:custGeom>
              <a:avLst/>
              <a:gdLst>
                <a:gd name="T0" fmla="*/ 0 w 53"/>
                <a:gd name="T1" fmla="*/ 106 h 106"/>
                <a:gd name="T2" fmla="*/ 0 w 53"/>
                <a:gd name="T3" fmla="*/ 106 h 106"/>
                <a:gd name="T4" fmla="*/ 53 w 53"/>
                <a:gd name="T5" fmla="*/ 53 h 106"/>
                <a:gd name="T6" fmla="*/ 53 w 53"/>
                <a:gd name="T7" fmla="*/ 0 h 106"/>
                <a:gd name="T8" fmla="*/ 0 w 53"/>
                <a:gd name="T9" fmla="*/ 53 h 106"/>
                <a:gd name="T10" fmla="*/ 0 w 53"/>
                <a:gd name="T11" fmla="*/ 106 h 106"/>
              </a:gdLst>
              <a:ahLst/>
              <a:cxnLst>
                <a:cxn ang="0">
                  <a:pos x="T0" y="T1"/>
                </a:cxn>
                <a:cxn ang="0">
                  <a:pos x="T2" y="T3"/>
                </a:cxn>
                <a:cxn ang="0">
                  <a:pos x="T4" y="T5"/>
                </a:cxn>
                <a:cxn ang="0">
                  <a:pos x="T6" y="T7"/>
                </a:cxn>
                <a:cxn ang="0">
                  <a:pos x="T8" y="T9"/>
                </a:cxn>
                <a:cxn ang="0">
                  <a:pos x="T10" y="T11"/>
                </a:cxn>
              </a:cxnLst>
              <a:rect l="0" t="0" r="r" b="b"/>
              <a:pathLst>
                <a:path w="53" h="106">
                  <a:moveTo>
                    <a:pt x="0" y="106"/>
                  </a:moveTo>
                  <a:cubicBezTo>
                    <a:pt x="0" y="106"/>
                    <a:pt x="0" y="106"/>
                    <a:pt x="0" y="106"/>
                  </a:cubicBezTo>
                  <a:cubicBezTo>
                    <a:pt x="30" y="106"/>
                    <a:pt x="53" y="83"/>
                    <a:pt x="53" y="53"/>
                  </a:cubicBezTo>
                  <a:cubicBezTo>
                    <a:pt x="53" y="0"/>
                    <a:pt x="53" y="0"/>
                    <a:pt x="53" y="0"/>
                  </a:cubicBezTo>
                  <a:cubicBezTo>
                    <a:pt x="24" y="0"/>
                    <a:pt x="0" y="24"/>
                    <a:pt x="0" y="53"/>
                  </a:cubicBezTo>
                  <a:lnTo>
                    <a:pt x="0" y="106"/>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2" name="íṥlidé">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0F1C66B8-FE84-40D4-B5C3-EE0F60EF767D}"/>
                </a:ext>
              </a:extLst>
            </p:cNvPr>
            <p:cNvSpPr/>
            <p:nvPr/>
          </p:nvSpPr>
          <p:spPr bwMode="auto">
            <a:xfrm>
              <a:off x="6975475" y="4635500"/>
              <a:ext cx="288925" cy="257175"/>
            </a:xfrm>
            <a:custGeom>
              <a:avLst/>
              <a:gdLst>
                <a:gd name="T0" fmla="*/ 48 w 114"/>
                <a:gd name="T1" fmla="*/ 6 h 102"/>
                <a:gd name="T2" fmla="*/ 48 w 114"/>
                <a:gd name="T3" fmla="*/ 0 h 102"/>
                <a:gd name="T4" fmla="*/ 76 w 114"/>
                <a:gd name="T5" fmla="*/ 49 h 102"/>
                <a:gd name="T6" fmla="*/ 109 w 114"/>
                <a:gd name="T7" fmla="*/ 85 h 102"/>
                <a:gd name="T8" fmla="*/ 75 w 114"/>
                <a:gd name="T9" fmla="*/ 100 h 102"/>
                <a:gd name="T10" fmla="*/ 35 w 114"/>
                <a:gd name="T11" fmla="*/ 79 h 102"/>
                <a:gd name="T12" fmla="*/ 20 w 114"/>
                <a:gd name="T13" fmla="*/ 55 h 102"/>
                <a:gd name="T14" fmla="*/ 1 w 114"/>
                <a:gd name="T15" fmla="*/ 34 h 102"/>
                <a:gd name="T16" fmla="*/ 4 w 114"/>
                <a:gd name="T17" fmla="*/ 14 h 102"/>
                <a:gd name="T18" fmla="*/ 10 w 114"/>
                <a:gd name="T19" fmla="*/ 0 h 102"/>
                <a:gd name="T20" fmla="*/ 10 w 114"/>
                <a:gd name="T21" fmla="*/ 5 h 102"/>
                <a:gd name="T22" fmla="*/ 29 w 114"/>
                <a:gd name="T23" fmla="*/ 11 h 102"/>
                <a:gd name="T24" fmla="*/ 48 w 114"/>
                <a:gd name="T25" fmla="*/ 6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102">
                  <a:moveTo>
                    <a:pt x="48" y="6"/>
                  </a:moveTo>
                  <a:cubicBezTo>
                    <a:pt x="48" y="0"/>
                    <a:pt x="48" y="0"/>
                    <a:pt x="48" y="0"/>
                  </a:cubicBezTo>
                  <a:cubicBezTo>
                    <a:pt x="51" y="7"/>
                    <a:pt x="61" y="35"/>
                    <a:pt x="76" y="49"/>
                  </a:cubicBezTo>
                  <a:cubicBezTo>
                    <a:pt x="88" y="60"/>
                    <a:pt x="105" y="73"/>
                    <a:pt x="109" y="85"/>
                  </a:cubicBezTo>
                  <a:cubicBezTo>
                    <a:pt x="114" y="98"/>
                    <a:pt x="86" y="102"/>
                    <a:pt x="75" y="100"/>
                  </a:cubicBezTo>
                  <a:cubicBezTo>
                    <a:pt x="61" y="98"/>
                    <a:pt x="44" y="91"/>
                    <a:pt x="35" y="79"/>
                  </a:cubicBezTo>
                  <a:cubicBezTo>
                    <a:pt x="28" y="71"/>
                    <a:pt x="24" y="62"/>
                    <a:pt x="20" y="55"/>
                  </a:cubicBezTo>
                  <a:cubicBezTo>
                    <a:pt x="15" y="49"/>
                    <a:pt x="4" y="42"/>
                    <a:pt x="1" y="34"/>
                  </a:cubicBezTo>
                  <a:cubicBezTo>
                    <a:pt x="0" y="30"/>
                    <a:pt x="2" y="22"/>
                    <a:pt x="4" y="14"/>
                  </a:cubicBezTo>
                  <a:cubicBezTo>
                    <a:pt x="6" y="7"/>
                    <a:pt x="7" y="0"/>
                    <a:pt x="10" y="0"/>
                  </a:cubicBezTo>
                  <a:cubicBezTo>
                    <a:pt x="10" y="1"/>
                    <a:pt x="10" y="5"/>
                    <a:pt x="10" y="5"/>
                  </a:cubicBezTo>
                  <a:cubicBezTo>
                    <a:pt x="13" y="8"/>
                    <a:pt x="20" y="11"/>
                    <a:pt x="29" y="11"/>
                  </a:cubicBezTo>
                  <a:cubicBezTo>
                    <a:pt x="35" y="11"/>
                    <a:pt x="49" y="10"/>
                    <a:pt x="48" y="6"/>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3" name="íSļíḓ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D1C872E6-C420-4CE7-A999-F9BC07AB2A74}"/>
                </a:ext>
              </a:extLst>
            </p:cNvPr>
            <p:cNvSpPr/>
            <p:nvPr/>
          </p:nvSpPr>
          <p:spPr bwMode="auto">
            <a:xfrm>
              <a:off x="7000875" y="4556125"/>
              <a:ext cx="219075" cy="265113"/>
            </a:xfrm>
            <a:custGeom>
              <a:avLst/>
              <a:gdLst>
                <a:gd name="T0" fmla="*/ 77 w 87"/>
                <a:gd name="T1" fmla="*/ 90 h 105"/>
                <a:gd name="T2" fmla="*/ 66 w 87"/>
                <a:gd name="T3" fmla="*/ 80 h 105"/>
                <a:gd name="T4" fmla="*/ 43 w 87"/>
                <a:gd name="T5" fmla="*/ 42 h 105"/>
                <a:gd name="T6" fmla="*/ 38 w 87"/>
                <a:gd name="T7" fmla="*/ 22 h 105"/>
                <a:gd name="T8" fmla="*/ 38 w 87"/>
                <a:gd name="T9" fmla="*/ 0 h 105"/>
                <a:gd name="T10" fmla="*/ 0 w 87"/>
                <a:gd name="T11" fmla="*/ 0 h 105"/>
                <a:gd name="T12" fmla="*/ 0 w 87"/>
                <a:gd name="T13" fmla="*/ 36 h 105"/>
                <a:gd name="T14" fmla="*/ 0 w 87"/>
                <a:gd name="T15" fmla="*/ 36 h 105"/>
                <a:gd name="T16" fmla="*/ 0 w 87"/>
                <a:gd name="T17" fmla="*/ 37 h 105"/>
                <a:gd name="T18" fmla="*/ 0 w 87"/>
                <a:gd name="T19" fmla="*/ 37 h 105"/>
                <a:gd name="T20" fmla="*/ 30 w 87"/>
                <a:gd name="T21" fmla="*/ 80 h 105"/>
                <a:gd name="T22" fmla="*/ 65 w 87"/>
                <a:gd name="T23" fmla="*/ 103 h 105"/>
                <a:gd name="T24" fmla="*/ 77 w 87"/>
                <a:gd name="T25" fmla="*/ 9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7" h="105">
                  <a:moveTo>
                    <a:pt x="77" y="90"/>
                  </a:moveTo>
                  <a:cubicBezTo>
                    <a:pt x="73" y="86"/>
                    <a:pt x="70" y="83"/>
                    <a:pt x="66" y="80"/>
                  </a:cubicBezTo>
                  <a:cubicBezTo>
                    <a:pt x="55" y="70"/>
                    <a:pt x="47" y="53"/>
                    <a:pt x="43" y="42"/>
                  </a:cubicBezTo>
                  <a:cubicBezTo>
                    <a:pt x="40" y="36"/>
                    <a:pt x="38" y="29"/>
                    <a:pt x="38" y="22"/>
                  </a:cubicBezTo>
                  <a:cubicBezTo>
                    <a:pt x="38" y="0"/>
                    <a:pt x="38" y="0"/>
                    <a:pt x="38" y="0"/>
                  </a:cubicBezTo>
                  <a:cubicBezTo>
                    <a:pt x="0" y="0"/>
                    <a:pt x="0" y="0"/>
                    <a:pt x="0" y="0"/>
                  </a:cubicBezTo>
                  <a:cubicBezTo>
                    <a:pt x="0" y="36"/>
                    <a:pt x="0" y="36"/>
                    <a:pt x="0" y="36"/>
                  </a:cubicBezTo>
                  <a:cubicBezTo>
                    <a:pt x="0" y="36"/>
                    <a:pt x="0" y="36"/>
                    <a:pt x="0" y="36"/>
                  </a:cubicBezTo>
                  <a:cubicBezTo>
                    <a:pt x="0" y="37"/>
                    <a:pt x="0" y="37"/>
                    <a:pt x="0" y="37"/>
                  </a:cubicBezTo>
                  <a:cubicBezTo>
                    <a:pt x="0" y="37"/>
                    <a:pt x="0" y="37"/>
                    <a:pt x="0" y="37"/>
                  </a:cubicBezTo>
                  <a:cubicBezTo>
                    <a:pt x="2" y="45"/>
                    <a:pt x="20" y="66"/>
                    <a:pt x="30" y="80"/>
                  </a:cubicBezTo>
                  <a:cubicBezTo>
                    <a:pt x="36" y="89"/>
                    <a:pt x="49" y="101"/>
                    <a:pt x="65" y="103"/>
                  </a:cubicBezTo>
                  <a:cubicBezTo>
                    <a:pt x="79" y="105"/>
                    <a:pt x="87" y="101"/>
                    <a:pt x="77" y="90"/>
                  </a:cubicBezTo>
                </a:path>
              </a:pathLst>
            </a:custGeom>
            <a:solidFill>
              <a:srgbClr val="FFA8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4" name="ïśļîḍ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198AE659-EB93-4091-A287-EF72FB165DE2}"/>
                </a:ext>
              </a:extLst>
            </p:cNvPr>
            <p:cNvSpPr/>
            <p:nvPr/>
          </p:nvSpPr>
          <p:spPr bwMode="auto">
            <a:xfrm>
              <a:off x="7321550" y="4538663"/>
              <a:ext cx="287338" cy="258763"/>
            </a:xfrm>
            <a:custGeom>
              <a:avLst/>
              <a:gdLst>
                <a:gd name="T0" fmla="*/ 48 w 113"/>
                <a:gd name="T1" fmla="*/ 6 h 102"/>
                <a:gd name="T2" fmla="*/ 48 w 113"/>
                <a:gd name="T3" fmla="*/ 0 h 102"/>
                <a:gd name="T4" fmla="*/ 76 w 113"/>
                <a:gd name="T5" fmla="*/ 49 h 102"/>
                <a:gd name="T6" fmla="*/ 109 w 113"/>
                <a:gd name="T7" fmla="*/ 85 h 102"/>
                <a:gd name="T8" fmla="*/ 74 w 113"/>
                <a:gd name="T9" fmla="*/ 100 h 102"/>
                <a:gd name="T10" fmla="*/ 34 w 113"/>
                <a:gd name="T11" fmla="*/ 79 h 102"/>
                <a:gd name="T12" fmla="*/ 19 w 113"/>
                <a:gd name="T13" fmla="*/ 55 h 102"/>
                <a:gd name="T14" fmla="*/ 1 w 113"/>
                <a:gd name="T15" fmla="*/ 34 h 102"/>
                <a:gd name="T16" fmla="*/ 3 w 113"/>
                <a:gd name="T17" fmla="*/ 14 h 102"/>
                <a:gd name="T18" fmla="*/ 9 w 113"/>
                <a:gd name="T19" fmla="*/ 0 h 102"/>
                <a:gd name="T20" fmla="*/ 9 w 113"/>
                <a:gd name="T21" fmla="*/ 5 h 102"/>
                <a:gd name="T22" fmla="*/ 29 w 113"/>
                <a:gd name="T23" fmla="*/ 11 h 102"/>
                <a:gd name="T24" fmla="*/ 48 w 113"/>
                <a:gd name="T25" fmla="*/ 6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3" h="102">
                  <a:moveTo>
                    <a:pt x="48" y="6"/>
                  </a:moveTo>
                  <a:cubicBezTo>
                    <a:pt x="48" y="0"/>
                    <a:pt x="48" y="0"/>
                    <a:pt x="48" y="0"/>
                  </a:cubicBezTo>
                  <a:cubicBezTo>
                    <a:pt x="50" y="7"/>
                    <a:pt x="60" y="35"/>
                    <a:pt x="76" y="49"/>
                  </a:cubicBezTo>
                  <a:cubicBezTo>
                    <a:pt x="88" y="60"/>
                    <a:pt x="104" y="73"/>
                    <a:pt x="109" y="85"/>
                  </a:cubicBezTo>
                  <a:cubicBezTo>
                    <a:pt x="113" y="98"/>
                    <a:pt x="86" y="102"/>
                    <a:pt x="74" y="100"/>
                  </a:cubicBezTo>
                  <a:cubicBezTo>
                    <a:pt x="61" y="98"/>
                    <a:pt x="44" y="90"/>
                    <a:pt x="34" y="79"/>
                  </a:cubicBezTo>
                  <a:cubicBezTo>
                    <a:pt x="28" y="71"/>
                    <a:pt x="24" y="61"/>
                    <a:pt x="19" y="55"/>
                  </a:cubicBezTo>
                  <a:cubicBezTo>
                    <a:pt x="14" y="49"/>
                    <a:pt x="4" y="42"/>
                    <a:pt x="1" y="34"/>
                  </a:cubicBezTo>
                  <a:cubicBezTo>
                    <a:pt x="0" y="30"/>
                    <a:pt x="1" y="21"/>
                    <a:pt x="3" y="14"/>
                  </a:cubicBezTo>
                  <a:cubicBezTo>
                    <a:pt x="5" y="7"/>
                    <a:pt x="7" y="0"/>
                    <a:pt x="9" y="0"/>
                  </a:cubicBezTo>
                  <a:cubicBezTo>
                    <a:pt x="9" y="1"/>
                    <a:pt x="9" y="5"/>
                    <a:pt x="9" y="5"/>
                  </a:cubicBezTo>
                  <a:cubicBezTo>
                    <a:pt x="12" y="8"/>
                    <a:pt x="20" y="11"/>
                    <a:pt x="29" y="11"/>
                  </a:cubicBezTo>
                  <a:cubicBezTo>
                    <a:pt x="34" y="11"/>
                    <a:pt x="48" y="10"/>
                    <a:pt x="48" y="6"/>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 name="iṧ1íḓ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545C8AC1-B41A-4859-8F34-4E34AEAA2680}"/>
                </a:ext>
              </a:extLst>
            </p:cNvPr>
            <p:cNvSpPr/>
            <p:nvPr/>
          </p:nvSpPr>
          <p:spPr bwMode="auto">
            <a:xfrm>
              <a:off x="7345363" y="4460875"/>
              <a:ext cx="219075" cy="265113"/>
            </a:xfrm>
            <a:custGeom>
              <a:avLst/>
              <a:gdLst>
                <a:gd name="T0" fmla="*/ 78 w 87"/>
                <a:gd name="T1" fmla="*/ 90 h 105"/>
                <a:gd name="T2" fmla="*/ 67 w 87"/>
                <a:gd name="T3" fmla="*/ 80 h 105"/>
                <a:gd name="T4" fmla="*/ 43 w 87"/>
                <a:gd name="T5" fmla="*/ 42 h 105"/>
                <a:gd name="T6" fmla="*/ 39 w 87"/>
                <a:gd name="T7" fmla="*/ 22 h 105"/>
                <a:gd name="T8" fmla="*/ 39 w 87"/>
                <a:gd name="T9" fmla="*/ 0 h 105"/>
                <a:gd name="T10" fmla="*/ 0 w 87"/>
                <a:gd name="T11" fmla="*/ 0 h 105"/>
                <a:gd name="T12" fmla="*/ 0 w 87"/>
                <a:gd name="T13" fmla="*/ 35 h 105"/>
                <a:gd name="T14" fmla="*/ 0 w 87"/>
                <a:gd name="T15" fmla="*/ 35 h 105"/>
                <a:gd name="T16" fmla="*/ 0 w 87"/>
                <a:gd name="T17" fmla="*/ 35 h 105"/>
                <a:gd name="T18" fmla="*/ 0 w 87"/>
                <a:gd name="T19" fmla="*/ 36 h 105"/>
                <a:gd name="T20" fmla="*/ 0 w 87"/>
                <a:gd name="T21" fmla="*/ 37 h 105"/>
                <a:gd name="T22" fmla="*/ 30 w 87"/>
                <a:gd name="T23" fmla="*/ 80 h 105"/>
                <a:gd name="T24" fmla="*/ 65 w 87"/>
                <a:gd name="T25" fmla="*/ 103 h 105"/>
                <a:gd name="T26" fmla="*/ 78 w 87"/>
                <a:gd name="T27" fmla="*/ 9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 h="105">
                  <a:moveTo>
                    <a:pt x="78" y="90"/>
                  </a:moveTo>
                  <a:cubicBezTo>
                    <a:pt x="74" y="86"/>
                    <a:pt x="70" y="83"/>
                    <a:pt x="67" y="80"/>
                  </a:cubicBezTo>
                  <a:cubicBezTo>
                    <a:pt x="56" y="70"/>
                    <a:pt x="48" y="53"/>
                    <a:pt x="43" y="42"/>
                  </a:cubicBezTo>
                  <a:cubicBezTo>
                    <a:pt x="40" y="36"/>
                    <a:pt x="39" y="29"/>
                    <a:pt x="39" y="22"/>
                  </a:cubicBezTo>
                  <a:cubicBezTo>
                    <a:pt x="39" y="0"/>
                    <a:pt x="39" y="0"/>
                    <a:pt x="39" y="0"/>
                  </a:cubicBezTo>
                  <a:cubicBezTo>
                    <a:pt x="0" y="0"/>
                    <a:pt x="0" y="0"/>
                    <a:pt x="0" y="0"/>
                  </a:cubicBezTo>
                  <a:cubicBezTo>
                    <a:pt x="0" y="35"/>
                    <a:pt x="0" y="35"/>
                    <a:pt x="0" y="35"/>
                  </a:cubicBezTo>
                  <a:cubicBezTo>
                    <a:pt x="0" y="35"/>
                    <a:pt x="0" y="35"/>
                    <a:pt x="0" y="35"/>
                  </a:cubicBezTo>
                  <a:cubicBezTo>
                    <a:pt x="0" y="35"/>
                    <a:pt x="0" y="35"/>
                    <a:pt x="0" y="35"/>
                  </a:cubicBezTo>
                  <a:cubicBezTo>
                    <a:pt x="0" y="36"/>
                    <a:pt x="0" y="36"/>
                    <a:pt x="0" y="36"/>
                  </a:cubicBezTo>
                  <a:cubicBezTo>
                    <a:pt x="0" y="37"/>
                    <a:pt x="0" y="37"/>
                    <a:pt x="0" y="37"/>
                  </a:cubicBezTo>
                  <a:cubicBezTo>
                    <a:pt x="2" y="45"/>
                    <a:pt x="20" y="66"/>
                    <a:pt x="30" y="80"/>
                  </a:cubicBezTo>
                  <a:cubicBezTo>
                    <a:pt x="37" y="89"/>
                    <a:pt x="50" y="101"/>
                    <a:pt x="65" y="103"/>
                  </a:cubicBezTo>
                  <a:cubicBezTo>
                    <a:pt x="80" y="105"/>
                    <a:pt x="87" y="101"/>
                    <a:pt x="78" y="90"/>
                  </a:cubicBezTo>
                </a:path>
              </a:pathLst>
            </a:custGeom>
            <a:solidFill>
              <a:srgbClr val="FFA8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 name="is1îḓé">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30D35800-7719-41EA-81ED-D706EC3585E5}"/>
                </a:ext>
              </a:extLst>
            </p:cNvPr>
            <p:cNvSpPr/>
            <p:nvPr/>
          </p:nvSpPr>
          <p:spPr bwMode="auto">
            <a:xfrm>
              <a:off x="6942138" y="3105150"/>
              <a:ext cx="549275" cy="1492250"/>
            </a:xfrm>
            <a:custGeom>
              <a:avLst/>
              <a:gdLst>
                <a:gd name="T0" fmla="*/ 30 w 217"/>
                <a:gd name="T1" fmla="*/ 10 h 590"/>
                <a:gd name="T2" fmla="*/ 32 w 217"/>
                <a:gd name="T3" fmla="*/ 306 h 590"/>
                <a:gd name="T4" fmla="*/ 14 w 217"/>
                <a:gd name="T5" fmla="*/ 384 h 590"/>
                <a:gd name="T6" fmla="*/ 22 w 217"/>
                <a:gd name="T7" fmla="*/ 578 h 590"/>
                <a:gd name="T8" fmla="*/ 61 w 217"/>
                <a:gd name="T9" fmla="*/ 580 h 590"/>
                <a:gd name="T10" fmla="*/ 105 w 217"/>
                <a:gd name="T11" fmla="*/ 316 h 590"/>
                <a:gd name="T12" fmla="*/ 123 w 217"/>
                <a:gd name="T13" fmla="*/ 163 h 590"/>
                <a:gd name="T14" fmla="*/ 142 w 217"/>
                <a:gd name="T15" fmla="*/ 316 h 590"/>
                <a:gd name="T16" fmla="*/ 131 w 217"/>
                <a:gd name="T17" fmla="*/ 363 h 590"/>
                <a:gd name="T18" fmla="*/ 159 w 217"/>
                <a:gd name="T19" fmla="*/ 546 h 590"/>
                <a:gd name="T20" fmla="*/ 198 w 217"/>
                <a:gd name="T21" fmla="*/ 547 h 590"/>
                <a:gd name="T22" fmla="*/ 212 w 217"/>
                <a:gd name="T23" fmla="*/ 308 h 590"/>
                <a:gd name="T24" fmla="*/ 202 w 217"/>
                <a:gd name="T25" fmla="*/ 0 h 590"/>
                <a:gd name="T26" fmla="*/ 30 w 217"/>
                <a:gd name="T27" fmla="*/ 10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7" h="590">
                  <a:moveTo>
                    <a:pt x="30" y="10"/>
                  </a:moveTo>
                  <a:cubicBezTo>
                    <a:pt x="0" y="75"/>
                    <a:pt x="32" y="306"/>
                    <a:pt x="32" y="306"/>
                  </a:cubicBezTo>
                  <a:cubicBezTo>
                    <a:pt x="31" y="317"/>
                    <a:pt x="19" y="338"/>
                    <a:pt x="14" y="384"/>
                  </a:cubicBezTo>
                  <a:cubicBezTo>
                    <a:pt x="9" y="440"/>
                    <a:pt x="22" y="578"/>
                    <a:pt x="22" y="578"/>
                  </a:cubicBezTo>
                  <a:cubicBezTo>
                    <a:pt x="22" y="578"/>
                    <a:pt x="40" y="590"/>
                    <a:pt x="61" y="580"/>
                  </a:cubicBezTo>
                  <a:cubicBezTo>
                    <a:pt x="61" y="580"/>
                    <a:pt x="98" y="371"/>
                    <a:pt x="105" y="316"/>
                  </a:cubicBezTo>
                  <a:cubicBezTo>
                    <a:pt x="111" y="268"/>
                    <a:pt x="123" y="163"/>
                    <a:pt x="123" y="163"/>
                  </a:cubicBezTo>
                  <a:cubicBezTo>
                    <a:pt x="142" y="316"/>
                    <a:pt x="142" y="316"/>
                    <a:pt x="142" y="316"/>
                  </a:cubicBezTo>
                  <a:cubicBezTo>
                    <a:pt x="142" y="316"/>
                    <a:pt x="133" y="343"/>
                    <a:pt x="131" y="363"/>
                  </a:cubicBezTo>
                  <a:cubicBezTo>
                    <a:pt x="128" y="395"/>
                    <a:pt x="159" y="546"/>
                    <a:pt x="159" y="546"/>
                  </a:cubicBezTo>
                  <a:cubicBezTo>
                    <a:pt x="159" y="546"/>
                    <a:pt x="173" y="551"/>
                    <a:pt x="198" y="547"/>
                  </a:cubicBezTo>
                  <a:cubicBezTo>
                    <a:pt x="198" y="547"/>
                    <a:pt x="209" y="347"/>
                    <a:pt x="212" y="308"/>
                  </a:cubicBezTo>
                  <a:cubicBezTo>
                    <a:pt x="217" y="243"/>
                    <a:pt x="214" y="39"/>
                    <a:pt x="202" y="0"/>
                  </a:cubicBezTo>
                  <a:cubicBezTo>
                    <a:pt x="30" y="10"/>
                    <a:pt x="30" y="10"/>
                    <a:pt x="30" y="10"/>
                  </a:cubicBezTo>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7" name="íš1ïd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EDC5F0B4-0B5F-4AFB-8F25-1AA3F19E4B4A}"/>
                </a:ext>
              </a:extLst>
            </p:cNvPr>
            <p:cNvSpPr/>
            <p:nvPr/>
          </p:nvSpPr>
          <p:spPr bwMode="auto">
            <a:xfrm>
              <a:off x="6975475" y="3113088"/>
              <a:ext cx="508000" cy="1468438"/>
            </a:xfrm>
            <a:custGeom>
              <a:avLst/>
              <a:gdLst>
                <a:gd name="T0" fmla="*/ 127 w 201"/>
                <a:gd name="T1" fmla="*/ 303 h 581"/>
                <a:gd name="T2" fmla="*/ 110 w 201"/>
                <a:gd name="T3" fmla="*/ 160 h 581"/>
                <a:gd name="T4" fmla="*/ 120 w 201"/>
                <a:gd name="T5" fmla="*/ 99 h 581"/>
                <a:gd name="T6" fmla="*/ 179 w 201"/>
                <a:gd name="T7" fmla="*/ 73 h 581"/>
                <a:gd name="T8" fmla="*/ 131 w 201"/>
                <a:gd name="T9" fmla="*/ 105 h 581"/>
                <a:gd name="T10" fmla="*/ 120 w 201"/>
                <a:gd name="T11" fmla="*/ 152 h 581"/>
                <a:gd name="T12" fmla="*/ 127 w 201"/>
                <a:gd name="T13" fmla="*/ 303 h 581"/>
                <a:gd name="T14" fmla="*/ 187 w 201"/>
                <a:gd name="T15" fmla="*/ 0 h 581"/>
                <a:gd name="T16" fmla="*/ 100 w 201"/>
                <a:gd name="T17" fmla="*/ 28 h 581"/>
                <a:gd name="T18" fmla="*/ 17 w 201"/>
                <a:gd name="T19" fmla="*/ 7 h 581"/>
                <a:gd name="T20" fmla="*/ 17 w 201"/>
                <a:gd name="T21" fmla="*/ 7 h 581"/>
                <a:gd name="T22" fmla="*/ 14 w 201"/>
                <a:gd name="T23" fmla="*/ 18 h 581"/>
                <a:gd name="T24" fmla="*/ 4 w 201"/>
                <a:gd name="T25" fmla="*/ 110 h 581"/>
                <a:gd name="T26" fmla="*/ 19 w 201"/>
                <a:gd name="T27" fmla="*/ 303 h 581"/>
                <a:gd name="T28" fmla="*/ 19 w 201"/>
                <a:gd name="T29" fmla="*/ 303 h 581"/>
                <a:gd name="T30" fmla="*/ 19 w 201"/>
                <a:gd name="T31" fmla="*/ 303 h 581"/>
                <a:gd name="T32" fmla="*/ 1 w 201"/>
                <a:gd name="T33" fmla="*/ 381 h 581"/>
                <a:gd name="T34" fmla="*/ 0 w 201"/>
                <a:gd name="T35" fmla="*/ 414 h 581"/>
                <a:gd name="T36" fmla="*/ 9 w 201"/>
                <a:gd name="T37" fmla="*/ 575 h 581"/>
                <a:gd name="T38" fmla="*/ 31 w 201"/>
                <a:gd name="T39" fmla="*/ 581 h 581"/>
                <a:gd name="T40" fmla="*/ 48 w 201"/>
                <a:gd name="T41" fmla="*/ 577 h 581"/>
                <a:gd name="T42" fmla="*/ 92 w 201"/>
                <a:gd name="T43" fmla="*/ 313 h 581"/>
                <a:gd name="T44" fmla="*/ 110 w 201"/>
                <a:gd name="T45" fmla="*/ 160 h 581"/>
                <a:gd name="T46" fmla="*/ 129 w 201"/>
                <a:gd name="T47" fmla="*/ 313 h 581"/>
                <a:gd name="T48" fmla="*/ 129 w 201"/>
                <a:gd name="T49" fmla="*/ 313 h 581"/>
                <a:gd name="T50" fmla="*/ 118 w 201"/>
                <a:gd name="T51" fmla="*/ 360 h 581"/>
                <a:gd name="T52" fmla="*/ 118 w 201"/>
                <a:gd name="T53" fmla="*/ 366 h 581"/>
                <a:gd name="T54" fmla="*/ 146 w 201"/>
                <a:gd name="T55" fmla="*/ 543 h 581"/>
                <a:gd name="T56" fmla="*/ 167 w 201"/>
                <a:gd name="T57" fmla="*/ 545 h 581"/>
                <a:gd name="T58" fmla="*/ 185 w 201"/>
                <a:gd name="T59" fmla="*/ 544 h 581"/>
                <a:gd name="T60" fmla="*/ 199 w 201"/>
                <a:gd name="T61" fmla="*/ 305 h 581"/>
                <a:gd name="T62" fmla="*/ 201 w 201"/>
                <a:gd name="T63" fmla="*/ 216 h 581"/>
                <a:gd name="T64" fmla="*/ 196 w 201"/>
                <a:gd name="T65" fmla="*/ 54 h 581"/>
                <a:gd name="T66" fmla="*/ 172 w 201"/>
                <a:gd name="T67" fmla="*/ 62 h 581"/>
                <a:gd name="T68" fmla="*/ 187 w 201"/>
                <a:gd name="T69" fmla="*/ 0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1" h="581">
                  <a:moveTo>
                    <a:pt x="127" y="303"/>
                  </a:moveTo>
                  <a:cubicBezTo>
                    <a:pt x="110" y="160"/>
                    <a:pt x="110" y="160"/>
                    <a:pt x="110" y="160"/>
                  </a:cubicBezTo>
                  <a:cubicBezTo>
                    <a:pt x="120" y="99"/>
                    <a:pt x="120" y="99"/>
                    <a:pt x="120" y="99"/>
                  </a:cubicBezTo>
                  <a:cubicBezTo>
                    <a:pt x="120" y="99"/>
                    <a:pt x="161" y="90"/>
                    <a:pt x="179" y="73"/>
                  </a:cubicBezTo>
                  <a:cubicBezTo>
                    <a:pt x="179" y="73"/>
                    <a:pt x="160" y="97"/>
                    <a:pt x="131" y="105"/>
                  </a:cubicBezTo>
                  <a:cubicBezTo>
                    <a:pt x="120" y="152"/>
                    <a:pt x="120" y="152"/>
                    <a:pt x="120" y="152"/>
                  </a:cubicBezTo>
                  <a:cubicBezTo>
                    <a:pt x="127" y="303"/>
                    <a:pt x="127" y="303"/>
                    <a:pt x="127" y="303"/>
                  </a:cubicBezTo>
                  <a:moveTo>
                    <a:pt x="187" y="0"/>
                  </a:moveTo>
                  <a:cubicBezTo>
                    <a:pt x="173" y="15"/>
                    <a:pt x="139" y="28"/>
                    <a:pt x="100" y="28"/>
                  </a:cubicBezTo>
                  <a:cubicBezTo>
                    <a:pt x="73" y="28"/>
                    <a:pt x="44" y="22"/>
                    <a:pt x="17" y="7"/>
                  </a:cubicBezTo>
                  <a:cubicBezTo>
                    <a:pt x="17" y="7"/>
                    <a:pt x="17" y="7"/>
                    <a:pt x="17" y="7"/>
                  </a:cubicBezTo>
                  <a:cubicBezTo>
                    <a:pt x="16" y="10"/>
                    <a:pt x="15" y="14"/>
                    <a:pt x="14" y="18"/>
                  </a:cubicBezTo>
                  <a:cubicBezTo>
                    <a:pt x="7" y="40"/>
                    <a:pt x="4" y="73"/>
                    <a:pt x="4" y="110"/>
                  </a:cubicBezTo>
                  <a:cubicBezTo>
                    <a:pt x="4" y="198"/>
                    <a:pt x="19" y="303"/>
                    <a:pt x="19" y="303"/>
                  </a:cubicBezTo>
                  <a:cubicBezTo>
                    <a:pt x="19" y="303"/>
                    <a:pt x="19" y="303"/>
                    <a:pt x="19" y="303"/>
                  </a:cubicBezTo>
                  <a:cubicBezTo>
                    <a:pt x="19" y="303"/>
                    <a:pt x="19" y="303"/>
                    <a:pt x="19" y="303"/>
                  </a:cubicBezTo>
                  <a:cubicBezTo>
                    <a:pt x="18" y="314"/>
                    <a:pt x="6" y="335"/>
                    <a:pt x="1" y="381"/>
                  </a:cubicBezTo>
                  <a:cubicBezTo>
                    <a:pt x="0" y="390"/>
                    <a:pt x="0" y="402"/>
                    <a:pt x="0" y="414"/>
                  </a:cubicBezTo>
                  <a:cubicBezTo>
                    <a:pt x="0" y="478"/>
                    <a:pt x="9" y="575"/>
                    <a:pt x="9" y="575"/>
                  </a:cubicBezTo>
                  <a:cubicBezTo>
                    <a:pt x="9" y="575"/>
                    <a:pt x="18" y="581"/>
                    <a:pt x="31" y="581"/>
                  </a:cubicBezTo>
                  <a:cubicBezTo>
                    <a:pt x="36" y="581"/>
                    <a:pt x="42" y="580"/>
                    <a:pt x="48" y="577"/>
                  </a:cubicBezTo>
                  <a:cubicBezTo>
                    <a:pt x="48" y="577"/>
                    <a:pt x="85" y="368"/>
                    <a:pt x="92" y="313"/>
                  </a:cubicBezTo>
                  <a:cubicBezTo>
                    <a:pt x="98" y="265"/>
                    <a:pt x="110" y="160"/>
                    <a:pt x="110" y="160"/>
                  </a:cubicBezTo>
                  <a:cubicBezTo>
                    <a:pt x="129" y="313"/>
                    <a:pt x="129" y="313"/>
                    <a:pt x="129" y="313"/>
                  </a:cubicBezTo>
                  <a:cubicBezTo>
                    <a:pt x="129" y="313"/>
                    <a:pt x="129" y="313"/>
                    <a:pt x="129" y="313"/>
                  </a:cubicBezTo>
                  <a:cubicBezTo>
                    <a:pt x="129" y="313"/>
                    <a:pt x="120" y="340"/>
                    <a:pt x="118" y="360"/>
                  </a:cubicBezTo>
                  <a:cubicBezTo>
                    <a:pt x="118" y="362"/>
                    <a:pt x="118" y="363"/>
                    <a:pt x="118" y="366"/>
                  </a:cubicBezTo>
                  <a:cubicBezTo>
                    <a:pt x="118" y="406"/>
                    <a:pt x="146" y="543"/>
                    <a:pt x="146" y="543"/>
                  </a:cubicBezTo>
                  <a:cubicBezTo>
                    <a:pt x="146" y="543"/>
                    <a:pt x="153" y="545"/>
                    <a:pt x="167" y="545"/>
                  </a:cubicBezTo>
                  <a:cubicBezTo>
                    <a:pt x="172" y="545"/>
                    <a:pt x="178" y="545"/>
                    <a:pt x="185" y="544"/>
                  </a:cubicBezTo>
                  <a:cubicBezTo>
                    <a:pt x="185" y="544"/>
                    <a:pt x="196" y="344"/>
                    <a:pt x="199" y="305"/>
                  </a:cubicBezTo>
                  <a:cubicBezTo>
                    <a:pt x="200" y="286"/>
                    <a:pt x="201" y="253"/>
                    <a:pt x="201" y="216"/>
                  </a:cubicBezTo>
                  <a:cubicBezTo>
                    <a:pt x="201" y="163"/>
                    <a:pt x="200" y="100"/>
                    <a:pt x="196" y="54"/>
                  </a:cubicBezTo>
                  <a:cubicBezTo>
                    <a:pt x="172" y="62"/>
                    <a:pt x="172" y="62"/>
                    <a:pt x="172" y="62"/>
                  </a:cubicBezTo>
                  <a:cubicBezTo>
                    <a:pt x="187" y="0"/>
                    <a:pt x="187" y="0"/>
                    <a:pt x="187" y="0"/>
                  </a:cubicBezTo>
                </a:path>
              </a:pathLst>
            </a:custGeom>
            <a:solidFill>
              <a:srgbClr val="0C4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8" name="ïsḷîḍé">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B55BE83B-A5D7-467C-A7EE-08CF6407E537}"/>
                </a:ext>
              </a:extLst>
            </p:cNvPr>
            <p:cNvSpPr/>
            <p:nvPr/>
          </p:nvSpPr>
          <p:spPr bwMode="auto">
            <a:xfrm>
              <a:off x="7253288" y="3297238"/>
              <a:ext cx="174625" cy="581025"/>
            </a:xfrm>
            <a:custGeom>
              <a:avLst/>
              <a:gdLst>
                <a:gd name="T0" fmla="*/ 69 w 69"/>
                <a:gd name="T1" fmla="*/ 0 h 230"/>
                <a:gd name="T2" fmla="*/ 10 w 69"/>
                <a:gd name="T3" fmla="*/ 26 h 230"/>
                <a:gd name="T4" fmla="*/ 0 w 69"/>
                <a:gd name="T5" fmla="*/ 87 h 230"/>
                <a:gd name="T6" fmla="*/ 17 w 69"/>
                <a:gd name="T7" fmla="*/ 230 h 230"/>
                <a:gd name="T8" fmla="*/ 10 w 69"/>
                <a:gd name="T9" fmla="*/ 79 h 230"/>
                <a:gd name="T10" fmla="*/ 21 w 69"/>
                <a:gd name="T11" fmla="*/ 32 h 230"/>
                <a:gd name="T12" fmla="*/ 69 w 69"/>
                <a:gd name="T13" fmla="*/ 0 h 230"/>
              </a:gdLst>
              <a:ahLst/>
              <a:cxnLst>
                <a:cxn ang="0">
                  <a:pos x="T0" y="T1"/>
                </a:cxn>
                <a:cxn ang="0">
                  <a:pos x="T2" y="T3"/>
                </a:cxn>
                <a:cxn ang="0">
                  <a:pos x="T4" y="T5"/>
                </a:cxn>
                <a:cxn ang="0">
                  <a:pos x="T6" y="T7"/>
                </a:cxn>
                <a:cxn ang="0">
                  <a:pos x="T8" y="T9"/>
                </a:cxn>
                <a:cxn ang="0">
                  <a:pos x="T10" y="T11"/>
                </a:cxn>
                <a:cxn ang="0">
                  <a:pos x="T12" y="T13"/>
                </a:cxn>
              </a:cxnLst>
              <a:rect l="0" t="0" r="r" b="b"/>
              <a:pathLst>
                <a:path w="69" h="230">
                  <a:moveTo>
                    <a:pt x="69" y="0"/>
                  </a:moveTo>
                  <a:cubicBezTo>
                    <a:pt x="51" y="17"/>
                    <a:pt x="10" y="26"/>
                    <a:pt x="10" y="26"/>
                  </a:cubicBezTo>
                  <a:cubicBezTo>
                    <a:pt x="0" y="87"/>
                    <a:pt x="0" y="87"/>
                    <a:pt x="0" y="87"/>
                  </a:cubicBezTo>
                  <a:cubicBezTo>
                    <a:pt x="17" y="230"/>
                    <a:pt x="17" y="230"/>
                    <a:pt x="17" y="230"/>
                  </a:cubicBezTo>
                  <a:cubicBezTo>
                    <a:pt x="10" y="79"/>
                    <a:pt x="10" y="79"/>
                    <a:pt x="10" y="79"/>
                  </a:cubicBezTo>
                  <a:cubicBezTo>
                    <a:pt x="21" y="32"/>
                    <a:pt x="21" y="32"/>
                    <a:pt x="21" y="32"/>
                  </a:cubicBezTo>
                  <a:cubicBezTo>
                    <a:pt x="50" y="24"/>
                    <a:pt x="69" y="0"/>
                    <a:pt x="69" y="0"/>
                  </a:cubicBezTo>
                </a:path>
              </a:pathLst>
            </a:custGeom>
            <a:solidFill>
              <a:srgbClr val="082E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9" name="ïś1iḋè">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F7D30018-FAFB-4EF3-B1EA-ED2ACB002B55}"/>
                </a:ext>
              </a:extLst>
            </p:cNvPr>
            <p:cNvSpPr/>
            <p:nvPr/>
          </p:nvSpPr>
          <p:spPr bwMode="auto">
            <a:xfrm>
              <a:off x="7005638" y="2552700"/>
              <a:ext cx="465138" cy="671513"/>
            </a:xfrm>
            <a:custGeom>
              <a:avLst/>
              <a:gdLst>
                <a:gd name="T0" fmla="*/ 58 w 184"/>
                <a:gd name="T1" fmla="*/ 1 h 266"/>
                <a:gd name="T2" fmla="*/ 35 w 184"/>
                <a:gd name="T3" fmla="*/ 3 h 266"/>
                <a:gd name="T4" fmla="*/ 8 w 184"/>
                <a:gd name="T5" fmla="*/ 43 h 266"/>
                <a:gd name="T6" fmla="*/ 6 w 184"/>
                <a:gd name="T7" fmla="*/ 92 h 266"/>
                <a:gd name="T8" fmla="*/ 33 w 184"/>
                <a:gd name="T9" fmla="*/ 170 h 266"/>
                <a:gd name="T10" fmla="*/ 5 w 184"/>
                <a:gd name="T11" fmla="*/ 229 h 266"/>
                <a:gd name="T12" fmla="*/ 177 w 184"/>
                <a:gd name="T13" fmla="*/ 219 h 266"/>
                <a:gd name="T14" fmla="*/ 169 w 184"/>
                <a:gd name="T15" fmla="*/ 138 h 266"/>
                <a:gd name="T16" fmla="*/ 179 w 184"/>
                <a:gd name="T17" fmla="*/ 70 h 266"/>
                <a:gd name="T18" fmla="*/ 127 w 184"/>
                <a:gd name="T19" fmla="*/ 0 h 266"/>
                <a:gd name="T20" fmla="*/ 58 w 184"/>
                <a:gd name="T21" fmla="*/ 1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4" h="266">
                  <a:moveTo>
                    <a:pt x="58" y="1"/>
                  </a:moveTo>
                  <a:cubicBezTo>
                    <a:pt x="47" y="2"/>
                    <a:pt x="43" y="2"/>
                    <a:pt x="35" y="3"/>
                  </a:cubicBezTo>
                  <a:cubicBezTo>
                    <a:pt x="18" y="4"/>
                    <a:pt x="14" y="29"/>
                    <a:pt x="8" y="43"/>
                  </a:cubicBezTo>
                  <a:cubicBezTo>
                    <a:pt x="0" y="58"/>
                    <a:pt x="0" y="76"/>
                    <a:pt x="6" y="92"/>
                  </a:cubicBezTo>
                  <a:cubicBezTo>
                    <a:pt x="33" y="170"/>
                    <a:pt x="33" y="170"/>
                    <a:pt x="33" y="170"/>
                  </a:cubicBezTo>
                  <a:cubicBezTo>
                    <a:pt x="33" y="170"/>
                    <a:pt x="20" y="200"/>
                    <a:pt x="5" y="229"/>
                  </a:cubicBezTo>
                  <a:cubicBezTo>
                    <a:pt x="73" y="266"/>
                    <a:pt x="157" y="247"/>
                    <a:pt x="177" y="219"/>
                  </a:cubicBezTo>
                  <a:cubicBezTo>
                    <a:pt x="178" y="214"/>
                    <a:pt x="173" y="168"/>
                    <a:pt x="169" y="138"/>
                  </a:cubicBezTo>
                  <a:cubicBezTo>
                    <a:pt x="181" y="109"/>
                    <a:pt x="184" y="90"/>
                    <a:pt x="179" y="70"/>
                  </a:cubicBezTo>
                  <a:cubicBezTo>
                    <a:pt x="170" y="34"/>
                    <a:pt x="137" y="0"/>
                    <a:pt x="127" y="0"/>
                  </a:cubicBezTo>
                  <a:cubicBezTo>
                    <a:pt x="58" y="1"/>
                    <a:pt x="58" y="1"/>
                    <a:pt x="58" y="1"/>
                  </a:cubicBezTo>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0" name="îŝlïḋ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5F20D202-7A54-43A2-86CD-79321E8C5525}"/>
                </a:ext>
              </a:extLst>
            </p:cNvPr>
            <p:cNvSpPr/>
            <p:nvPr/>
          </p:nvSpPr>
          <p:spPr bwMode="auto">
            <a:xfrm>
              <a:off x="6992938" y="2147888"/>
              <a:ext cx="46038" cy="55563"/>
            </a:xfrm>
            <a:custGeom>
              <a:avLst/>
              <a:gdLst>
                <a:gd name="T0" fmla="*/ 6 w 18"/>
                <a:gd name="T1" fmla="*/ 0 h 22"/>
                <a:gd name="T2" fmla="*/ 18 w 18"/>
                <a:gd name="T3" fmla="*/ 18 h 22"/>
                <a:gd name="T4" fmla="*/ 3 w 18"/>
                <a:gd name="T5" fmla="*/ 15 h 22"/>
                <a:gd name="T6" fmla="*/ 6 w 18"/>
                <a:gd name="T7" fmla="*/ 0 h 22"/>
              </a:gdLst>
              <a:ahLst/>
              <a:cxnLst>
                <a:cxn ang="0">
                  <a:pos x="T0" y="T1"/>
                </a:cxn>
                <a:cxn ang="0">
                  <a:pos x="T2" y="T3"/>
                </a:cxn>
                <a:cxn ang="0">
                  <a:pos x="T4" y="T5"/>
                </a:cxn>
                <a:cxn ang="0">
                  <a:pos x="T6" y="T7"/>
                </a:cxn>
              </a:cxnLst>
              <a:rect l="0" t="0" r="r" b="b"/>
              <a:pathLst>
                <a:path w="18" h="22">
                  <a:moveTo>
                    <a:pt x="6" y="0"/>
                  </a:moveTo>
                  <a:cubicBezTo>
                    <a:pt x="18" y="18"/>
                    <a:pt x="18" y="18"/>
                    <a:pt x="18" y="18"/>
                  </a:cubicBezTo>
                  <a:cubicBezTo>
                    <a:pt x="13" y="22"/>
                    <a:pt x="6" y="20"/>
                    <a:pt x="3" y="15"/>
                  </a:cubicBezTo>
                  <a:cubicBezTo>
                    <a:pt x="0" y="10"/>
                    <a:pt x="1" y="3"/>
                    <a:pt x="6"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1" name="ïSḷïḓ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9C994D65-AF0E-45B6-82FA-1D8788B68FA3}"/>
                </a:ext>
              </a:extLst>
            </p:cNvPr>
            <p:cNvSpPr/>
            <p:nvPr/>
          </p:nvSpPr>
          <p:spPr bwMode="auto">
            <a:xfrm>
              <a:off x="6977063" y="2192338"/>
              <a:ext cx="55563" cy="33338"/>
            </a:xfrm>
            <a:custGeom>
              <a:avLst/>
              <a:gdLst>
                <a:gd name="T0" fmla="*/ 0 w 22"/>
                <a:gd name="T1" fmla="*/ 3 h 13"/>
                <a:gd name="T2" fmla="*/ 21 w 22"/>
                <a:gd name="T3" fmla="*/ 0 h 13"/>
                <a:gd name="T4" fmla="*/ 12 w 22"/>
                <a:gd name="T5" fmla="*/ 12 h 13"/>
                <a:gd name="T6" fmla="*/ 0 w 22"/>
                <a:gd name="T7" fmla="*/ 3 h 13"/>
              </a:gdLst>
              <a:ahLst/>
              <a:cxnLst>
                <a:cxn ang="0">
                  <a:pos x="T0" y="T1"/>
                </a:cxn>
                <a:cxn ang="0">
                  <a:pos x="T2" y="T3"/>
                </a:cxn>
                <a:cxn ang="0">
                  <a:pos x="T4" y="T5"/>
                </a:cxn>
                <a:cxn ang="0">
                  <a:pos x="T6" y="T7"/>
                </a:cxn>
              </a:cxnLst>
              <a:rect l="0" t="0" r="r" b="b"/>
              <a:pathLst>
                <a:path w="22" h="13">
                  <a:moveTo>
                    <a:pt x="0" y="3"/>
                  </a:moveTo>
                  <a:cubicBezTo>
                    <a:pt x="21" y="0"/>
                    <a:pt x="21" y="0"/>
                    <a:pt x="21" y="0"/>
                  </a:cubicBezTo>
                  <a:cubicBezTo>
                    <a:pt x="22" y="6"/>
                    <a:pt x="18" y="12"/>
                    <a:pt x="12" y="12"/>
                  </a:cubicBezTo>
                  <a:cubicBezTo>
                    <a:pt x="6" y="13"/>
                    <a:pt x="1" y="9"/>
                    <a:pt x="0" y="3"/>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2" name="îṧľiď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EFE19F70-2903-46E3-A462-463C8E184895}"/>
                </a:ext>
              </a:extLst>
            </p:cNvPr>
            <p:cNvSpPr/>
            <p:nvPr/>
          </p:nvSpPr>
          <p:spPr bwMode="auto">
            <a:xfrm>
              <a:off x="7069138" y="2162175"/>
              <a:ext cx="357188" cy="503238"/>
            </a:xfrm>
            <a:custGeom>
              <a:avLst/>
              <a:gdLst>
                <a:gd name="T0" fmla="*/ 121 w 141"/>
                <a:gd name="T1" fmla="*/ 1 h 199"/>
                <a:gd name="T2" fmla="*/ 140 w 141"/>
                <a:gd name="T3" fmla="*/ 77 h 199"/>
                <a:gd name="T4" fmla="*/ 119 w 141"/>
                <a:gd name="T5" fmla="*/ 130 h 199"/>
                <a:gd name="T6" fmla="*/ 87 w 141"/>
                <a:gd name="T7" fmla="*/ 130 h 199"/>
                <a:gd name="T8" fmla="*/ 87 w 141"/>
                <a:gd name="T9" fmla="*/ 155 h 199"/>
                <a:gd name="T10" fmla="*/ 103 w 141"/>
                <a:gd name="T11" fmla="*/ 185 h 199"/>
                <a:gd name="T12" fmla="*/ 63 w 141"/>
                <a:gd name="T13" fmla="*/ 188 h 199"/>
                <a:gd name="T14" fmla="*/ 36 w 141"/>
                <a:gd name="T15" fmla="*/ 160 h 199"/>
                <a:gd name="T16" fmla="*/ 36 w 141"/>
                <a:gd name="T17" fmla="*/ 101 h 199"/>
                <a:gd name="T18" fmla="*/ 14 w 141"/>
                <a:gd name="T19" fmla="*/ 104 h 199"/>
                <a:gd name="T20" fmla="*/ 8 w 141"/>
                <a:gd name="T21" fmla="*/ 64 h 199"/>
                <a:gd name="T22" fmla="*/ 37 w 141"/>
                <a:gd name="T23" fmla="*/ 69 h 199"/>
                <a:gd name="T24" fmla="*/ 57 w 141"/>
                <a:gd name="T25" fmla="*/ 17 h 199"/>
                <a:gd name="T26" fmla="*/ 121 w 141"/>
                <a:gd name="T27" fmla="*/ 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1" h="199">
                  <a:moveTo>
                    <a:pt x="121" y="1"/>
                  </a:moveTo>
                  <a:cubicBezTo>
                    <a:pt x="130" y="6"/>
                    <a:pt x="141" y="29"/>
                    <a:pt x="140" y="77"/>
                  </a:cubicBezTo>
                  <a:cubicBezTo>
                    <a:pt x="139" y="118"/>
                    <a:pt x="126" y="128"/>
                    <a:pt x="119" y="130"/>
                  </a:cubicBezTo>
                  <a:cubicBezTo>
                    <a:pt x="113" y="133"/>
                    <a:pt x="100" y="132"/>
                    <a:pt x="87" y="130"/>
                  </a:cubicBezTo>
                  <a:cubicBezTo>
                    <a:pt x="87" y="155"/>
                    <a:pt x="87" y="155"/>
                    <a:pt x="87" y="155"/>
                  </a:cubicBezTo>
                  <a:cubicBezTo>
                    <a:pt x="87" y="155"/>
                    <a:pt x="105" y="174"/>
                    <a:pt x="103" y="185"/>
                  </a:cubicBezTo>
                  <a:cubicBezTo>
                    <a:pt x="102" y="196"/>
                    <a:pt x="79" y="199"/>
                    <a:pt x="63" y="188"/>
                  </a:cubicBezTo>
                  <a:cubicBezTo>
                    <a:pt x="47" y="177"/>
                    <a:pt x="36" y="160"/>
                    <a:pt x="36" y="160"/>
                  </a:cubicBezTo>
                  <a:cubicBezTo>
                    <a:pt x="36" y="101"/>
                    <a:pt x="36" y="101"/>
                    <a:pt x="36" y="101"/>
                  </a:cubicBezTo>
                  <a:cubicBezTo>
                    <a:pt x="36" y="101"/>
                    <a:pt x="28" y="113"/>
                    <a:pt x="14" y="104"/>
                  </a:cubicBezTo>
                  <a:cubicBezTo>
                    <a:pt x="1" y="94"/>
                    <a:pt x="0" y="72"/>
                    <a:pt x="8" y="64"/>
                  </a:cubicBezTo>
                  <a:cubicBezTo>
                    <a:pt x="16" y="56"/>
                    <a:pt x="33" y="58"/>
                    <a:pt x="37" y="69"/>
                  </a:cubicBezTo>
                  <a:cubicBezTo>
                    <a:pt x="37" y="69"/>
                    <a:pt x="57" y="54"/>
                    <a:pt x="57" y="17"/>
                  </a:cubicBezTo>
                  <a:cubicBezTo>
                    <a:pt x="57" y="1"/>
                    <a:pt x="99" y="0"/>
                    <a:pt x="121" y="1"/>
                  </a:cubicBezTo>
                </a:path>
              </a:pathLst>
            </a:custGeom>
            <a:solidFill>
              <a:srgbClr val="FFA8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3" name="îşlîďè">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F2125718-9203-40B1-AFCA-6ADABAB545D0}"/>
                </a:ext>
              </a:extLst>
            </p:cNvPr>
            <p:cNvSpPr/>
            <p:nvPr/>
          </p:nvSpPr>
          <p:spPr bwMode="auto">
            <a:xfrm>
              <a:off x="7258050" y="2314575"/>
              <a:ext cx="25400" cy="26988"/>
            </a:xfrm>
            <a:custGeom>
              <a:avLst/>
              <a:gdLst>
                <a:gd name="T0" fmla="*/ 10 w 10"/>
                <a:gd name="T1" fmla="*/ 5 h 11"/>
                <a:gd name="T2" fmla="*/ 5 w 10"/>
                <a:gd name="T3" fmla="*/ 11 h 11"/>
                <a:gd name="T4" fmla="*/ 0 w 10"/>
                <a:gd name="T5" fmla="*/ 6 h 11"/>
                <a:gd name="T6" fmla="*/ 5 w 10"/>
                <a:gd name="T7" fmla="*/ 0 h 11"/>
                <a:gd name="T8" fmla="*/ 10 w 10"/>
                <a:gd name="T9" fmla="*/ 5 h 11"/>
              </a:gdLst>
              <a:ahLst/>
              <a:cxnLst>
                <a:cxn ang="0">
                  <a:pos x="T0" y="T1"/>
                </a:cxn>
                <a:cxn ang="0">
                  <a:pos x="T2" y="T3"/>
                </a:cxn>
                <a:cxn ang="0">
                  <a:pos x="T4" y="T5"/>
                </a:cxn>
                <a:cxn ang="0">
                  <a:pos x="T6" y="T7"/>
                </a:cxn>
                <a:cxn ang="0">
                  <a:pos x="T8" y="T9"/>
                </a:cxn>
              </a:cxnLst>
              <a:rect l="0" t="0" r="r" b="b"/>
              <a:pathLst>
                <a:path w="10" h="11">
                  <a:moveTo>
                    <a:pt x="10" y="5"/>
                  </a:moveTo>
                  <a:cubicBezTo>
                    <a:pt x="10" y="8"/>
                    <a:pt x="8" y="11"/>
                    <a:pt x="5" y="11"/>
                  </a:cubicBezTo>
                  <a:cubicBezTo>
                    <a:pt x="3" y="11"/>
                    <a:pt x="0" y="9"/>
                    <a:pt x="0" y="6"/>
                  </a:cubicBezTo>
                  <a:cubicBezTo>
                    <a:pt x="0" y="3"/>
                    <a:pt x="2" y="0"/>
                    <a:pt x="5" y="0"/>
                  </a:cubicBezTo>
                  <a:cubicBezTo>
                    <a:pt x="8" y="0"/>
                    <a:pt x="10" y="2"/>
                    <a:pt x="10" y="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4" name="iṣľíḑé">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85298A47-80E5-43A7-9D3A-40B6BBCB7856}"/>
                </a:ext>
              </a:extLst>
            </p:cNvPr>
            <p:cNvSpPr/>
            <p:nvPr/>
          </p:nvSpPr>
          <p:spPr bwMode="auto">
            <a:xfrm>
              <a:off x="7296150" y="2420938"/>
              <a:ext cx="38100" cy="25400"/>
            </a:xfrm>
            <a:custGeom>
              <a:avLst/>
              <a:gdLst>
                <a:gd name="T0" fmla="*/ 1 w 15"/>
                <a:gd name="T1" fmla="*/ 0 h 10"/>
                <a:gd name="T2" fmla="*/ 15 w 15"/>
                <a:gd name="T3" fmla="*/ 4 h 10"/>
                <a:gd name="T4" fmla="*/ 6 w 15"/>
                <a:gd name="T5" fmla="*/ 9 h 10"/>
                <a:gd name="T6" fmla="*/ 1 w 15"/>
                <a:gd name="T7" fmla="*/ 0 h 10"/>
              </a:gdLst>
              <a:ahLst/>
              <a:cxnLst>
                <a:cxn ang="0">
                  <a:pos x="T0" y="T1"/>
                </a:cxn>
                <a:cxn ang="0">
                  <a:pos x="T2" y="T3"/>
                </a:cxn>
                <a:cxn ang="0">
                  <a:pos x="T4" y="T5"/>
                </a:cxn>
                <a:cxn ang="0">
                  <a:pos x="T6" y="T7"/>
                </a:cxn>
              </a:cxnLst>
              <a:rect l="0" t="0" r="r" b="b"/>
              <a:pathLst>
                <a:path w="15" h="10">
                  <a:moveTo>
                    <a:pt x="1" y="0"/>
                  </a:moveTo>
                  <a:cubicBezTo>
                    <a:pt x="15" y="4"/>
                    <a:pt x="15" y="4"/>
                    <a:pt x="15" y="4"/>
                  </a:cubicBezTo>
                  <a:cubicBezTo>
                    <a:pt x="14" y="8"/>
                    <a:pt x="10" y="10"/>
                    <a:pt x="6" y="9"/>
                  </a:cubicBezTo>
                  <a:cubicBezTo>
                    <a:pt x="2" y="8"/>
                    <a:pt x="0" y="4"/>
                    <a:pt x="1" y="0"/>
                  </a:cubicBezTo>
                  <a:close/>
                </a:path>
              </a:pathLst>
            </a:custGeom>
            <a:solidFill>
              <a:srgbClr val="F28F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5" name="isḷîď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2E1E33EC-C82E-42E4-B362-BD9572572462}"/>
                </a:ext>
              </a:extLst>
            </p:cNvPr>
            <p:cNvSpPr/>
            <p:nvPr/>
          </p:nvSpPr>
          <p:spPr bwMode="auto">
            <a:xfrm>
              <a:off x="7235825" y="2268538"/>
              <a:ext cx="34925" cy="22225"/>
            </a:xfrm>
            <a:custGeom>
              <a:avLst/>
              <a:gdLst>
                <a:gd name="T0" fmla="*/ 14 w 14"/>
                <a:gd name="T1" fmla="*/ 5 h 9"/>
                <a:gd name="T2" fmla="*/ 2 w 14"/>
                <a:gd name="T3" fmla="*/ 9 h 9"/>
                <a:gd name="T4" fmla="*/ 5 w 14"/>
                <a:gd name="T5" fmla="*/ 1 h 9"/>
                <a:gd name="T6" fmla="*/ 14 w 14"/>
                <a:gd name="T7" fmla="*/ 5 h 9"/>
              </a:gdLst>
              <a:ahLst/>
              <a:cxnLst>
                <a:cxn ang="0">
                  <a:pos x="T0" y="T1"/>
                </a:cxn>
                <a:cxn ang="0">
                  <a:pos x="T2" y="T3"/>
                </a:cxn>
                <a:cxn ang="0">
                  <a:pos x="T4" y="T5"/>
                </a:cxn>
                <a:cxn ang="0">
                  <a:pos x="T6" y="T7"/>
                </a:cxn>
              </a:cxnLst>
              <a:rect l="0" t="0" r="r" b="b"/>
              <a:pathLst>
                <a:path w="14" h="9">
                  <a:moveTo>
                    <a:pt x="14" y="5"/>
                  </a:moveTo>
                  <a:cubicBezTo>
                    <a:pt x="2" y="9"/>
                    <a:pt x="2" y="9"/>
                    <a:pt x="2" y="9"/>
                  </a:cubicBezTo>
                  <a:cubicBezTo>
                    <a:pt x="0" y="6"/>
                    <a:pt x="2" y="2"/>
                    <a:pt x="5" y="1"/>
                  </a:cubicBezTo>
                  <a:cubicBezTo>
                    <a:pt x="8" y="0"/>
                    <a:pt x="12" y="1"/>
                    <a:pt x="14" y="5"/>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6" name="íṥļid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956004A9-5058-49D6-B6D3-EAFF08132EEA}"/>
                </a:ext>
              </a:extLst>
            </p:cNvPr>
            <p:cNvSpPr/>
            <p:nvPr/>
          </p:nvSpPr>
          <p:spPr bwMode="auto">
            <a:xfrm>
              <a:off x="7367588" y="2314575"/>
              <a:ext cx="25400" cy="26988"/>
            </a:xfrm>
            <a:custGeom>
              <a:avLst/>
              <a:gdLst>
                <a:gd name="T0" fmla="*/ 10 w 10"/>
                <a:gd name="T1" fmla="*/ 6 h 11"/>
                <a:gd name="T2" fmla="*/ 5 w 10"/>
                <a:gd name="T3" fmla="*/ 11 h 11"/>
                <a:gd name="T4" fmla="*/ 0 w 10"/>
                <a:gd name="T5" fmla="*/ 6 h 11"/>
                <a:gd name="T6" fmla="*/ 5 w 10"/>
                <a:gd name="T7" fmla="*/ 1 h 11"/>
                <a:gd name="T8" fmla="*/ 10 w 10"/>
                <a:gd name="T9" fmla="*/ 6 h 11"/>
              </a:gdLst>
              <a:ahLst/>
              <a:cxnLst>
                <a:cxn ang="0">
                  <a:pos x="T0" y="T1"/>
                </a:cxn>
                <a:cxn ang="0">
                  <a:pos x="T2" y="T3"/>
                </a:cxn>
                <a:cxn ang="0">
                  <a:pos x="T4" y="T5"/>
                </a:cxn>
                <a:cxn ang="0">
                  <a:pos x="T6" y="T7"/>
                </a:cxn>
                <a:cxn ang="0">
                  <a:pos x="T8" y="T9"/>
                </a:cxn>
              </a:cxnLst>
              <a:rect l="0" t="0" r="r" b="b"/>
              <a:pathLst>
                <a:path w="10" h="11">
                  <a:moveTo>
                    <a:pt x="10" y="6"/>
                  </a:moveTo>
                  <a:cubicBezTo>
                    <a:pt x="10" y="9"/>
                    <a:pt x="8" y="11"/>
                    <a:pt x="5" y="11"/>
                  </a:cubicBezTo>
                  <a:cubicBezTo>
                    <a:pt x="2" y="11"/>
                    <a:pt x="0" y="9"/>
                    <a:pt x="0" y="6"/>
                  </a:cubicBezTo>
                  <a:cubicBezTo>
                    <a:pt x="0" y="3"/>
                    <a:pt x="2" y="1"/>
                    <a:pt x="5" y="1"/>
                  </a:cubicBezTo>
                  <a:cubicBezTo>
                    <a:pt x="7" y="0"/>
                    <a:pt x="10" y="3"/>
                    <a:pt x="10" y="6"/>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7" name="işlîďé">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355C704B-F371-49E6-B3D3-0956AD3A82E2}"/>
                </a:ext>
              </a:extLst>
            </p:cNvPr>
            <p:cNvSpPr/>
            <p:nvPr/>
          </p:nvSpPr>
          <p:spPr bwMode="auto">
            <a:xfrm>
              <a:off x="7332663" y="2322513"/>
              <a:ext cx="42863" cy="77788"/>
            </a:xfrm>
            <a:custGeom>
              <a:avLst/>
              <a:gdLst>
                <a:gd name="T0" fmla="*/ 0 w 27"/>
                <a:gd name="T1" fmla="*/ 0 h 49"/>
                <a:gd name="T2" fmla="*/ 1 w 27"/>
                <a:gd name="T3" fmla="*/ 49 h 49"/>
                <a:gd name="T4" fmla="*/ 27 w 27"/>
                <a:gd name="T5" fmla="*/ 41 h 49"/>
                <a:gd name="T6" fmla="*/ 0 w 27"/>
                <a:gd name="T7" fmla="*/ 0 h 49"/>
              </a:gdLst>
              <a:ahLst/>
              <a:cxnLst>
                <a:cxn ang="0">
                  <a:pos x="T0" y="T1"/>
                </a:cxn>
                <a:cxn ang="0">
                  <a:pos x="T2" y="T3"/>
                </a:cxn>
                <a:cxn ang="0">
                  <a:pos x="T4" y="T5"/>
                </a:cxn>
                <a:cxn ang="0">
                  <a:pos x="T6" y="T7"/>
                </a:cxn>
              </a:cxnLst>
              <a:rect l="0" t="0" r="r" b="b"/>
              <a:pathLst>
                <a:path w="27" h="49">
                  <a:moveTo>
                    <a:pt x="0" y="0"/>
                  </a:moveTo>
                  <a:lnTo>
                    <a:pt x="1" y="49"/>
                  </a:lnTo>
                  <a:lnTo>
                    <a:pt x="27" y="41"/>
                  </a:lnTo>
                  <a:lnTo>
                    <a:pt x="0" y="0"/>
                  </a:lnTo>
                  <a:close/>
                </a:path>
              </a:pathLst>
            </a:custGeom>
            <a:solidFill>
              <a:srgbClr val="F28F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8" name="iṧliḍè">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29AA81D2-0632-414A-BEDA-F73B4AFD0A4B}"/>
                </a:ext>
              </a:extLst>
            </p:cNvPr>
            <p:cNvSpPr/>
            <p:nvPr/>
          </p:nvSpPr>
          <p:spPr bwMode="auto">
            <a:xfrm>
              <a:off x="7332663" y="2322513"/>
              <a:ext cx="42863" cy="77788"/>
            </a:xfrm>
            <a:custGeom>
              <a:avLst/>
              <a:gdLst>
                <a:gd name="T0" fmla="*/ 0 w 27"/>
                <a:gd name="T1" fmla="*/ 0 h 49"/>
                <a:gd name="T2" fmla="*/ 1 w 27"/>
                <a:gd name="T3" fmla="*/ 49 h 49"/>
                <a:gd name="T4" fmla="*/ 27 w 27"/>
                <a:gd name="T5" fmla="*/ 41 h 49"/>
                <a:gd name="T6" fmla="*/ 0 w 27"/>
                <a:gd name="T7" fmla="*/ 0 h 49"/>
              </a:gdLst>
              <a:ahLst/>
              <a:cxnLst>
                <a:cxn ang="0">
                  <a:pos x="T0" y="T1"/>
                </a:cxn>
                <a:cxn ang="0">
                  <a:pos x="T2" y="T3"/>
                </a:cxn>
                <a:cxn ang="0">
                  <a:pos x="T4" y="T5"/>
                </a:cxn>
                <a:cxn ang="0">
                  <a:pos x="T6" y="T7"/>
                </a:cxn>
              </a:cxnLst>
              <a:rect l="0" t="0" r="r" b="b"/>
              <a:pathLst>
                <a:path w="27" h="49">
                  <a:moveTo>
                    <a:pt x="0" y="0"/>
                  </a:moveTo>
                  <a:lnTo>
                    <a:pt x="1" y="49"/>
                  </a:lnTo>
                  <a:lnTo>
                    <a:pt x="27" y="4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9" name="iSḻïḑé">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FDA2DC85-4A6A-446A-9264-26375C0736D4}"/>
                </a:ext>
              </a:extLst>
            </p:cNvPr>
            <p:cNvSpPr/>
            <p:nvPr/>
          </p:nvSpPr>
          <p:spPr bwMode="auto">
            <a:xfrm>
              <a:off x="7177088" y="2438400"/>
              <a:ext cx="112713" cy="73025"/>
            </a:xfrm>
            <a:custGeom>
              <a:avLst/>
              <a:gdLst>
                <a:gd name="T0" fmla="*/ 44 w 44"/>
                <a:gd name="T1" fmla="*/ 21 h 29"/>
                <a:gd name="T2" fmla="*/ 0 w 44"/>
                <a:gd name="T3" fmla="*/ 0 h 29"/>
                <a:gd name="T4" fmla="*/ 10 w 44"/>
                <a:gd name="T5" fmla="*/ 14 h 29"/>
                <a:gd name="T6" fmla="*/ 44 w 44"/>
                <a:gd name="T7" fmla="*/ 29 h 29"/>
                <a:gd name="T8" fmla="*/ 44 w 44"/>
                <a:gd name="T9" fmla="*/ 21 h 29"/>
              </a:gdLst>
              <a:ahLst/>
              <a:cxnLst>
                <a:cxn ang="0">
                  <a:pos x="T0" y="T1"/>
                </a:cxn>
                <a:cxn ang="0">
                  <a:pos x="T2" y="T3"/>
                </a:cxn>
                <a:cxn ang="0">
                  <a:pos x="T4" y="T5"/>
                </a:cxn>
                <a:cxn ang="0">
                  <a:pos x="T6" y="T7"/>
                </a:cxn>
                <a:cxn ang="0">
                  <a:pos x="T8" y="T9"/>
                </a:cxn>
              </a:cxnLst>
              <a:rect l="0" t="0" r="r" b="b"/>
              <a:pathLst>
                <a:path w="44" h="29">
                  <a:moveTo>
                    <a:pt x="44" y="21"/>
                  </a:moveTo>
                  <a:cubicBezTo>
                    <a:pt x="31" y="19"/>
                    <a:pt x="4" y="11"/>
                    <a:pt x="0" y="0"/>
                  </a:cubicBezTo>
                  <a:cubicBezTo>
                    <a:pt x="0" y="0"/>
                    <a:pt x="2" y="7"/>
                    <a:pt x="10" y="14"/>
                  </a:cubicBezTo>
                  <a:cubicBezTo>
                    <a:pt x="18" y="21"/>
                    <a:pt x="44" y="29"/>
                    <a:pt x="44" y="29"/>
                  </a:cubicBezTo>
                  <a:lnTo>
                    <a:pt x="44" y="21"/>
                  </a:lnTo>
                  <a:close/>
                </a:path>
              </a:pathLst>
            </a:custGeom>
            <a:solidFill>
              <a:srgbClr val="F28F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0" name="îṩļiḓé">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2B55EC00-FED5-4C65-9A7D-5497E22C0426}"/>
                </a:ext>
              </a:extLst>
            </p:cNvPr>
            <p:cNvSpPr/>
            <p:nvPr/>
          </p:nvSpPr>
          <p:spPr bwMode="auto">
            <a:xfrm>
              <a:off x="7005638" y="2670175"/>
              <a:ext cx="377825" cy="531813"/>
            </a:xfrm>
            <a:custGeom>
              <a:avLst/>
              <a:gdLst>
                <a:gd name="T0" fmla="*/ 76 w 149"/>
                <a:gd name="T1" fmla="*/ 189 h 210"/>
                <a:gd name="T2" fmla="*/ 45 w 149"/>
                <a:gd name="T3" fmla="*/ 140 h 210"/>
                <a:gd name="T4" fmla="*/ 46 w 149"/>
                <a:gd name="T5" fmla="*/ 138 h 210"/>
                <a:gd name="T6" fmla="*/ 60 w 149"/>
                <a:gd name="T7" fmla="*/ 129 h 210"/>
                <a:gd name="T8" fmla="*/ 43 w 149"/>
                <a:gd name="T9" fmla="*/ 104 h 210"/>
                <a:gd name="T10" fmla="*/ 33 w 149"/>
                <a:gd name="T11" fmla="*/ 60 h 210"/>
                <a:gd name="T12" fmla="*/ 36 w 149"/>
                <a:gd name="T13" fmla="*/ 16 h 210"/>
                <a:gd name="T14" fmla="*/ 10 w 149"/>
                <a:gd name="T15" fmla="*/ 0 h 210"/>
                <a:gd name="T16" fmla="*/ 5 w 149"/>
                <a:gd name="T17" fmla="*/ 4 h 210"/>
                <a:gd name="T18" fmla="*/ 6 w 149"/>
                <a:gd name="T19" fmla="*/ 45 h 210"/>
                <a:gd name="T20" fmla="*/ 33 w 149"/>
                <a:gd name="T21" fmla="*/ 123 h 210"/>
                <a:gd name="T22" fmla="*/ 5 w 149"/>
                <a:gd name="T23" fmla="*/ 182 h 210"/>
                <a:gd name="T24" fmla="*/ 149 w 149"/>
                <a:gd name="T25" fmla="*/ 191 h 210"/>
                <a:gd name="T26" fmla="*/ 76 w 149"/>
                <a:gd name="T27" fmla="*/ 189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9" h="210">
                  <a:moveTo>
                    <a:pt x="76" y="189"/>
                  </a:moveTo>
                  <a:cubicBezTo>
                    <a:pt x="53" y="184"/>
                    <a:pt x="39" y="162"/>
                    <a:pt x="45" y="140"/>
                  </a:cubicBezTo>
                  <a:cubicBezTo>
                    <a:pt x="46" y="139"/>
                    <a:pt x="46" y="138"/>
                    <a:pt x="46" y="138"/>
                  </a:cubicBezTo>
                  <a:cubicBezTo>
                    <a:pt x="50" y="127"/>
                    <a:pt x="60" y="129"/>
                    <a:pt x="60" y="129"/>
                  </a:cubicBezTo>
                  <a:cubicBezTo>
                    <a:pt x="51" y="123"/>
                    <a:pt x="45" y="114"/>
                    <a:pt x="43" y="104"/>
                  </a:cubicBezTo>
                  <a:cubicBezTo>
                    <a:pt x="43" y="104"/>
                    <a:pt x="32" y="51"/>
                    <a:pt x="33" y="60"/>
                  </a:cubicBezTo>
                  <a:cubicBezTo>
                    <a:pt x="35" y="69"/>
                    <a:pt x="29" y="35"/>
                    <a:pt x="36" y="16"/>
                  </a:cubicBezTo>
                  <a:cubicBezTo>
                    <a:pt x="10" y="0"/>
                    <a:pt x="10" y="0"/>
                    <a:pt x="10" y="0"/>
                  </a:cubicBezTo>
                  <a:cubicBezTo>
                    <a:pt x="10" y="0"/>
                    <a:pt x="8" y="1"/>
                    <a:pt x="5" y="4"/>
                  </a:cubicBezTo>
                  <a:cubicBezTo>
                    <a:pt x="0" y="17"/>
                    <a:pt x="1" y="32"/>
                    <a:pt x="6" y="45"/>
                  </a:cubicBezTo>
                  <a:cubicBezTo>
                    <a:pt x="33" y="123"/>
                    <a:pt x="33" y="123"/>
                    <a:pt x="33" y="123"/>
                  </a:cubicBezTo>
                  <a:cubicBezTo>
                    <a:pt x="33" y="123"/>
                    <a:pt x="17" y="151"/>
                    <a:pt x="5" y="182"/>
                  </a:cubicBezTo>
                  <a:cubicBezTo>
                    <a:pt x="55" y="210"/>
                    <a:pt x="114" y="206"/>
                    <a:pt x="149" y="191"/>
                  </a:cubicBezTo>
                  <a:cubicBezTo>
                    <a:pt x="121" y="196"/>
                    <a:pt x="95" y="194"/>
                    <a:pt x="76" y="189"/>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1" name="işḻíḓè">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B07F1680-AA3E-4A66-8D29-8B4E43971F2A}"/>
                </a:ext>
              </a:extLst>
            </p:cNvPr>
            <p:cNvSpPr/>
            <p:nvPr/>
          </p:nvSpPr>
          <p:spPr bwMode="auto">
            <a:xfrm>
              <a:off x="6235700" y="2559050"/>
              <a:ext cx="903288" cy="463550"/>
            </a:xfrm>
            <a:custGeom>
              <a:avLst/>
              <a:gdLst>
                <a:gd name="T0" fmla="*/ 339 w 357"/>
                <a:gd name="T1" fmla="*/ 0 h 183"/>
                <a:gd name="T2" fmla="*/ 286 w 357"/>
                <a:gd name="T3" fmla="*/ 33 h 183"/>
                <a:gd name="T4" fmla="*/ 202 w 357"/>
                <a:gd name="T5" fmla="*/ 122 h 183"/>
                <a:gd name="T6" fmla="*/ 94 w 357"/>
                <a:gd name="T7" fmla="*/ 98 h 183"/>
                <a:gd name="T8" fmla="*/ 88 w 357"/>
                <a:gd name="T9" fmla="*/ 82 h 183"/>
                <a:gd name="T10" fmla="*/ 87 w 357"/>
                <a:gd name="T11" fmla="*/ 60 h 183"/>
                <a:gd name="T12" fmla="*/ 76 w 357"/>
                <a:gd name="T13" fmla="*/ 65 h 183"/>
                <a:gd name="T14" fmla="*/ 70 w 357"/>
                <a:gd name="T15" fmla="*/ 85 h 183"/>
                <a:gd name="T16" fmla="*/ 31 w 357"/>
                <a:gd name="T17" fmla="*/ 62 h 183"/>
                <a:gd name="T18" fmla="*/ 3 w 357"/>
                <a:gd name="T19" fmla="*/ 52 h 183"/>
                <a:gd name="T20" fmla="*/ 14 w 357"/>
                <a:gd name="T21" fmla="*/ 71 h 183"/>
                <a:gd name="T22" fmla="*/ 28 w 357"/>
                <a:gd name="T23" fmla="*/ 84 h 183"/>
                <a:gd name="T24" fmla="*/ 26 w 357"/>
                <a:gd name="T25" fmla="*/ 88 h 183"/>
                <a:gd name="T26" fmla="*/ 23 w 357"/>
                <a:gd name="T27" fmla="*/ 97 h 183"/>
                <a:gd name="T28" fmla="*/ 23 w 357"/>
                <a:gd name="T29" fmla="*/ 101 h 183"/>
                <a:gd name="T30" fmla="*/ 20 w 357"/>
                <a:gd name="T31" fmla="*/ 110 h 183"/>
                <a:gd name="T32" fmla="*/ 21 w 357"/>
                <a:gd name="T33" fmla="*/ 117 h 183"/>
                <a:gd name="T34" fmla="*/ 21 w 357"/>
                <a:gd name="T35" fmla="*/ 122 h 183"/>
                <a:gd name="T36" fmla="*/ 26 w 357"/>
                <a:gd name="T37" fmla="*/ 129 h 183"/>
                <a:gd name="T38" fmla="*/ 54 w 357"/>
                <a:gd name="T39" fmla="*/ 139 h 183"/>
                <a:gd name="T40" fmla="*/ 80 w 357"/>
                <a:gd name="T41" fmla="*/ 142 h 183"/>
                <a:gd name="T42" fmla="*/ 225 w 357"/>
                <a:gd name="T43" fmla="*/ 173 h 183"/>
                <a:gd name="T44" fmla="*/ 328 w 357"/>
                <a:gd name="T45" fmla="*/ 81 h 183"/>
                <a:gd name="T46" fmla="*/ 339 w 357"/>
                <a:gd name="T47" fmla="*/ 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7" h="183">
                  <a:moveTo>
                    <a:pt x="339" y="0"/>
                  </a:moveTo>
                  <a:cubicBezTo>
                    <a:pt x="320" y="0"/>
                    <a:pt x="311" y="5"/>
                    <a:pt x="286" y="33"/>
                  </a:cubicBezTo>
                  <a:cubicBezTo>
                    <a:pt x="270" y="50"/>
                    <a:pt x="202" y="122"/>
                    <a:pt x="202" y="122"/>
                  </a:cubicBezTo>
                  <a:cubicBezTo>
                    <a:pt x="202" y="122"/>
                    <a:pt x="100" y="102"/>
                    <a:pt x="94" y="98"/>
                  </a:cubicBezTo>
                  <a:cubicBezTo>
                    <a:pt x="89" y="94"/>
                    <a:pt x="89" y="88"/>
                    <a:pt x="88" y="82"/>
                  </a:cubicBezTo>
                  <a:cubicBezTo>
                    <a:pt x="88" y="77"/>
                    <a:pt x="87" y="64"/>
                    <a:pt x="87" y="60"/>
                  </a:cubicBezTo>
                  <a:cubicBezTo>
                    <a:pt x="88" y="54"/>
                    <a:pt x="80" y="58"/>
                    <a:pt x="76" y="65"/>
                  </a:cubicBezTo>
                  <a:cubicBezTo>
                    <a:pt x="72" y="72"/>
                    <a:pt x="73" y="83"/>
                    <a:pt x="70" y="85"/>
                  </a:cubicBezTo>
                  <a:cubicBezTo>
                    <a:pt x="68" y="88"/>
                    <a:pt x="43" y="70"/>
                    <a:pt x="31" y="62"/>
                  </a:cubicBezTo>
                  <a:cubicBezTo>
                    <a:pt x="18" y="54"/>
                    <a:pt x="9" y="46"/>
                    <a:pt x="3" y="52"/>
                  </a:cubicBezTo>
                  <a:cubicBezTo>
                    <a:pt x="0" y="56"/>
                    <a:pt x="5" y="63"/>
                    <a:pt x="14" y="71"/>
                  </a:cubicBezTo>
                  <a:cubicBezTo>
                    <a:pt x="23" y="78"/>
                    <a:pt x="26" y="82"/>
                    <a:pt x="28" y="84"/>
                  </a:cubicBezTo>
                  <a:cubicBezTo>
                    <a:pt x="29" y="85"/>
                    <a:pt x="27" y="87"/>
                    <a:pt x="26" y="88"/>
                  </a:cubicBezTo>
                  <a:cubicBezTo>
                    <a:pt x="25" y="90"/>
                    <a:pt x="22" y="94"/>
                    <a:pt x="23" y="97"/>
                  </a:cubicBezTo>
                  <a:cubicBezTo>
                    <a:pt x="23" y="98"/>
                    <a:pt x="23" y="99"/>
                    <a:pt x="23" y="101"/>
                  </a:cubicBezTo>
                  <a:cubicBezTo>
                    <a:pt x="23" y="104"/>
                    <a:pt x="20" y="107"/>
                    <a:pt x="20" y="110"/>
                  </a:cubicBezTo>
                  <a:cubicBezTo>
                    <a:pt x="19" y="112"/>
                    <a:pt x="21" y="115"/>
                    <a:pt x="21" y="117"/>
                  </a:cubicBezTo>
                  <a:cubicBezTo>
                    <a:pt x="21" y="119"/>
                    <a:pt x="21" y="120"/>
                    <a:pt x="21" y="122"/>
                  </a:cubicBezTo>
                  <a:cubicBezTo>
                    <a:pt x="21" y="125"/>
                    <a:pt x="23" y="127"/>
                    <a:pt x="26" y="129"/>
                  </a:cubicBezTo>
                  <a:cubicBezTo>
                    <a:pt x="35" y="135"/>
                    <a:pt x="44" y="136"/>
                    <a:pt x="54" y="139"/>
                  </a:cubicBezTo>
                  <a:cubicBezTo>
                    <a:pt x="63" y="141"/>
                    <a:pt x="71" y="141"/>
                    <a:pt x="80" y="142"/>
                  </a:cubicBezTo>
                  <a:cubicBezTo>
                    <a:pt x="90" y="144"/>
                    <a:pt x="205" y="183"/>
                    <a:pt x="225" y="173"/>
                  </a:cubicBezTo>
                  <a:cubicBezTo>
                    <a:pt x="243" y="165"/>
                    <a:pt x="328" y="81"/>
                    <a:pt x="328" y="81"/>
                  </a:cubicBezTo>
                  <a:cubicBezTo>
                    <a:pt x="357" y="47"/>
                    <a:pt x="339" y="0"/>
                    <a:pt x="339" y="0"/>
                  </a:cubicBezTo>
                  <a:close/>
                </a:path>
              </a:pathLst>
            </a:custGeom>
            <a:solidFill>
              <a:srgbClr val="FFA8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2" name="íŝḻíḑ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03A00542-8EA4-4EC3-9EF8-97B616C20365}"/>
                </a:ext>
              </a:extLst>
            </p:cNvPr>
            <p:cNvSpPr/>
            <p:nvPr/>
          </p:nvSpPr>
          <p:spPr bwMode="auto">
            <a:xfrm>
              <a:off x="6883400" y="2549525"/>
              <a:ext cx="242888" cy="282575"/>
            </a:xfrm>
            <a:custGeom>
              <a:avLst/>
              <a:gdLst>
                <a:gd name="T0" fmla="*/ 89 w 96"/>
                <a:gd name="T1" fmla="*/ 3 h 112"/>
                <a:gd name="T2" fmla="*/ 49 w 96"/>
                <a:gd name="T3" fmla="*/ 14 h 112"/>
                <a:gd name="T4" fmla="*/ 0 w 96"/>
                <a:gd name="T5" fmla="*/ 64 h 112"/>
                <a:gd name="T6" fmla="*/ 47 w 96"/>
                <a:gd name="T7" fmla="*/ 112 h 112"/>
                <a:gd name="T8" fmla="*/ 83 w 96"/>
                <a:gd name="T9" fmla="*/ 76 h 112"/>
                <a:gd name="T10" fmla="*/ 89 w 96"/>
                <a:gd name="T11" fmla="*/ 3 h 112"/>
              </a:gdLst>
              <a:ahLst/>
              <a:cxnLst>
                <a:cxn ang="0">
                  <a:pos x="T0" y="T1"/>
                </a:cxn>
                <a:cxn ang="0">
                  <a:pos x="T2" y="T3"/>
                </a:cxn>
                <a:cxn ang="0">
                  <a:pos x="T4" y="T5"/>
                </a:cxn>
                <a:cxn ang="0">
                  <a:pos x="T6" y="T7"/>
                </a:cxn>
                <a:cxn ang="0">
                  <a:pos x="T8" y="T9"/>
                </a:cxn>
                <a:cxn ang="0">
                  <a:pos x="T10" y="T11"/>
                </a:cxn>
              </a:cxnLst>
              <a:rect l="0" t="0" r="r" b="b"/>
              <a:pathLst>
                <a:path w="96" h="112">
                  <a:moveTo>
                    <a:pt x="89" y="3"/>
                  </a:moveTo>
                  <a:cubicBezTo>
                    <a:pt x="89" y="3"/>
                    <a:pt x="63" y="0"/>
                    <a:pt x="49" y="14"/>
                  </a:cubicBezTo>
                  <a:cubicBezTo>
                    <a:pt x="31" y="32"/>
                    <a:pt x="0" y="64"/>
                    <a:pt x="0" y="64"/>
                  </a:cubicBezTo>
                  <a:cubicBezTo>
                    <a:pt x="0" y="64"/>
                    <a:pt x="14" y="98"/>
                    <a:pt x="47" y="112"/>
                  </a:cubicBezTo>
                  <a:cubicBezTo>
                    <a:pt x="47" y="112"/>
                    <a:pt x="75" y="92"/>
                    <a:pt x="83" y="76"/>
                  </a:cubicBezTo>
                  <a:cubicBezTo>
                    <a:pt x="91" y="61"/>
                    <a:pt x="96" y="35"/>
                    <a:pt x="89" y="3"/>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3" name="iṥḷïdé">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DE9E055E-1850-430C-9DBC-71BED8FBD1FB}"/>
                </a:ext>
              </a:extLst>
            </p:cNvPr>
            <p:cNvSpPr/>
            <p:nvPr/>
          </p:nvSpPr>
          <p:spPr bwMode="auto">
            <a:xfrm>
              <a:off x="7410450" y="2789238"/>
              <a:ext cx="438150" cy="481013"/>
            </a:xfrm>
            <a:custGeom>
              <a:avLst/>
              <a:gdLst>
                <a:gd name="T0" fmla="*/ 276 w 276"/>
                <a:gd name="T1" fmla="*/ 0 h 303"/>
                <a:gd name="T2" fmla="*/ 59 w 276"/>
                <a:gd name="T3" fmla="*/ 58 h 303"/>
                <a:gd name="T4" fmla="*/ 0 w 276"/>
                <a:gd name="T5" fmla="*/ 303 h 303"/>
                <a:gd name="T6" fmla="*/ 206 w 276"/>
                <a:gd name="T7" fmla="*/ 242 h 303"/>
                <a:gd name="T8" fmla="*/ 276 w 276"/>
                <a:gd name="T9" fmla="*/ 0 h 303"/>
              </a:gdLst>
              <a:ahLst/>
              <a:cxnLst>
                <a:cxn ang="0">
                  <a:pos x="T0" y="T1"/>
                </a:cxn>
                <a:cxn ang="0">
                  <a:pos x="T2" y="T3"/>
                </a:cxn>
                <a:cxn ang="0">
                  <a:pos x="T4" y="T5"/>
                </a:cxn>
                <a:cxn ang="0">
                  <a:pos x="T6" y="T7"/>
                </a:cxn>
                <a:cxn ang="0">
                  <a:pos x="T8" y="T9"/>
                </a:cxn>
              </a:cxnLst>
              <a:rect l="0" t="0" r="r" b="b"/>
              <a:pathLst>
                <a:path w="276" h="303">
                  <a:moveTo>
                    <a:pt x="276" y="0"/>
                  </a:moveTo>
                  <a:lnTo>
                    <a:pt x="59" y="58"/>
                  </a:lnTo>
                  <a:lnTo>
                    <a:pt x="0" y="303"/>
                  </a:lnTo>
                  <a:lnTo>
                    <a:pt x="206" y="242"/>
                  </a:lnTo>
                  <a:lnTo>
                    <a:pt x="276" y="0"/>
                  </a:lnTo>
                  <a:close/>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4" name="işḷîḍ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D26584FD-8850-4882-A61B-7734C5814C73}"/>
                </a:ext>
              </a:extLst>
            </p:cNvPr>
            <p:cNvSpPr/>
            <p:nvPr/>
          </p:nvSpPr>
          <p:spPr bwMode="auto">
            <a:xfrm>
              <a:off x="7410450" y="2789238"/>
              <a:ext cx="438150" cy="481013"/>
            </a:xfrm>
            <a:custGeom>
              <a:avLst/>
              <a:gdLst>
                <a:gd name="T0" fmla="*/ 276 w 276"/>
                <a:gd name="T1" fmla="*/ 0 h 303"/>
                <a:gd name="T2" fmla="*/ 59 w 276"/>
                <a:gd name="T3" fmla="*/ 58 h 303"/>
                <a:gd name="T4" fmla="*/ 0 w 276"/>
                <a:gd name="T5" fmla="*/ 303 h 303"/>
                <a:gd name="T6" fmla="*/ 206 w 276"/>
                <a:gd name="T7" fmla="*/ 242 h 303"/>
                <a:gd name="T8" fmla="*/ 276 w 276"/>
                <a:gd name="T9" fmla="*/ 0 h 303"/>
              </a:gdLst>
              <a:ahLst/>
              <a:cxnLst>
                <a:cxn ang="0">
                  <a:pos x="T0" y="T1"/>
                </a:cxn>
                <a:cxn ang="0">
                  <a:pos x="T2" y="T3"/>
                </a:cxn>
                <a:cxn ang="0">
                  <a:pos x="T4" y="T5"/>
                </a:cxn>
                <a:cxn ang="0">
                  <a:pos x="T6" y="T7"/>
                </a:cxn>
                <a:cxn ang="0">
                  <a:pos x="T8" y="T9"/>
                </a:cxn>
              </a:cxnLst>
              <a:rect l="0" t="0" r="r" b="b"/>
              <a:pathLst>
                <a:path w="276" h="303">
                  <a:moveTo>
                    <a:pt x="276" y="0"/>
                  </a:moveTo>
                  <a:lnTo>
                    <a:pt x="59" y="58"/>
                  </a:lnTo>
                  <a:lnTo>
                    <a:pt x="0" y="303"/>
                  </a:lnTo>
                  <a:lnTo>
                    <a:pt x="206" y="242"/>
                  </a:lnTo>
                  <a:lnTo>
                    <a:pt x="27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5" name="iṩḻïḍé">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A7609DA2-9E11-4A14-8610-43D70C7C4738}"/>
                </a:ext>
              </a:extLst>
            </p:cNvPr>
            <p:cNvSpPr/>
            <p:nvPr/>
          </p:nvSpPr>
          <p:spPr bwMode="auto">
            <a:xfrm>
              <a:off x="7410450" y="2789238"/>
              <a:ext cx="438150" cy="481013"/>
            </a:xfrm>
            <a:custGeom>
              <a:avLst/>
              <a:gdLst>
                <a:gd name="T0" fmla="*/ 135 w 173"/>
                <a:gd name="T1" fmla="*/ 124 h 190"/>
                <a:gd name="T2" fmla="*/ 111 w 173"/>
                <a:gd name="T3" fmla="*/ 109 h 190"/>
                <a:gd name="T4" fmla="*/ 138 w 173"/>
                <a:gd name="T5" fmla="*/ 121 h 190"/>
                <a:gd name="T6" fmla="*/ 137 w 173"/>
                <a:gd name="T7" fmla="*/ 124 h 190"/>
                <a:gd name="T8" fmla="*/ 135 w 173"/>
                <a:gd name="T9" fmla="*/ 124 h 190"/>
                <a:gd name="T10" fmla="*/ 74 w 173"/>
                <a:gd name="T11" fmla="*/ 40 h 190"/>
                <a:gd name="T12" fmla="*/ 75 w 173"/>
                <a:gd name="T13" fmla="*/ 34 h 190"/>
                <a:gd name="T14" fmla="*/ 95 w 173"/>
                <a:gd name="T15" fmla="*/ 24 h 190"/>
                <a:gd name="T16" fmla="*/ 115 w 173"/>
                <a:gd name="T17" fmla="*/ 19 h 190"/>
                <a:gd name="T18" fmla="*/ 128 w 173"/>
                <a:gd name="T19" fmla="*/ 17 h 190"/>
                <a:gd name="T20" fmla="*/ 133 w 173"/>
                <a:gd name="T21" fmla="*/ 19 h 190"/>
                <a:gd name="T22" fmla="*/ 132 w 173"/>
                <a:gd name="T23" fmla="*/ 25 h 190"/>
                <a:gd name="T24" fmla="*/ 74 w 173"/>
                <a:gd name="T25" fmla="*/ 40 h 190"/>
                <a:gd name="T26" fmla="*/ 173 w 173"/>
                <a:gd name="T27" fmla="*/ 0 h 190"/>
                <a:gd name="T28" fmla="*/ 87 w 173"/>
                <a:gd name="T29" fmla="*/ 23 h 190"/>
                <a:gd name="T30" fmla="*/ 37 w 173"/>
                <a:gd name="T31" fmla="*/ 36 h 190"/>
                <a:gd name="T32" fmla="*/ 36 w 173"/>
                <a:gd name="T33" fmla="*/ 40 h 190"/>
                <a:gd name="T34" fmla="*/ 17 w 173"/>
                <a:gd name="T35" fmla="*/ 119 h 190"/>
                <a:gd name="T36" fmla="*/ 15 w 173"/>
                <a:gd name="T37" fmla="*/ 128 h 190"/>
                <a:gd name="T38" fmla="*/ 0 w 173"/>
                <a:gd name="T39" fmla="*/ 190 h 190"/>
                <a:gd name="T40" fmla="*/ 129 w 173"/>
                <a:gd name="T41" fmla="*/ 152 h 190"/>
                <a:gd name="T42" fmla="*/ 173 w 173"/>
                <a:gd name="T43" fmla="*/ 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3" h="190">
                  <a:moveTo>
                    <a:pt x="135" y="124"/>
                  </a:moveTo>
                  <a:cubicBezTo>
                    <a:pt x="121" y="124"/>
                    <a:pt x="113" y="112"/>
                    <a:pt x="111" y="109"/>
                  </a:cubicBezTo>
                  <a:cubicBezTo>
                    <a:pt x="138" y="121"/>
                    <a:pt x="138" y="121"/>
                    <a:pt x="138" y="121"/>
                  </a:cubicBezTo>
                  <a:cubicBezTo>
                    <a:pt x="137" y="124"/>
                    <a:pt x="137" y="124"/>
                    <a:pt x="137" y="124"/>
                  </a:cubicBezTo>
                  <a:cubicBezTo>
                    <a:pt x="136" y="124"/>
                    <a:pt x="136" y="124"/>
                    <a:pt x="135" y="124"/>
                  </a:cubicBezTo>
                  <a:moveTo>
                    <a:pt x="74" y="40"/>
                  </a:moveTo>
                  <a:cubicBezTo>
                    <a:pt x="75" y="34"/>
                    <a:pt x="75" y="34"/>
                    <a:pt x="75" y="34"/>
                  </a:cubicBezTo>
                  <a:cubicBezTo>
                    <a:pt x="76" y="32"/>
                    <a:pt x="85" y="27"/>
                    <a:pt x="95" y="24"/>
                  </a:cubicBezTo>
                  <a:cubicBezTo>
                    <a:pt x="115" y="19"/>
                    <a:pt x="115" y="19"/>
                    <a:pt x="115" y="19"/>
                  </a:cubicBezTo>
                  <a:cubicBezTo>
                    <a:pt x="120" y="18"/>
                    <a:pt x="125" y="17"/>
                    <a:pt x="128" y="17"/>
                  </a:cubicBezTo>
                  <a:cubicBezTo>
                    <a:pt x="131" y="17"/>
                    <a:pt x="133" y="18"/>
                    <a:pt x="133" y="19"/>
                  </a:cubicBezTo>
                  <a:cubicBezTo>
                    <a:pt x="132" y="22"/>
                    <a:pt x="132" y="25"/>
                    <a:pt x="132" y="25"/>
                  </a:cubicBezTo>
                  <a:cubicBezTo>
                    <a:pt x="74" y="40"/>
                    <a:pt x="74" y="40"/>
                    <a:pt x="74" y="40"/>
                  </a:cubicBezTo>
                  <a:moveTo>
                    <a:pt x="173" y="0"/>
                  </a:moveTo>
                  <a:cubicBezTo>
                    <a:pt x="87" y="23"/>
                    <a:pt x="87" y="23"/>
                    <a:pt x="87" y="23"/>
                  </a:cubicBezTo>
                  <a:cubicBezTo>
                    <a:pt x="37" y="36"/>
                    <a:pt x="37" y="36"/>
                    <a:pt x="37" y="36"/>
                  </a:cubicBezTo>
                  <a:cubicBezTo>
                    <a:pt x="36" y="40"/>
                    <a:pt x="36" y="40"/>
                    <a:pt x="36" y="40"/>
                  </a:cubicBezTo>
                  <a:cubicBezTo>
                    <a:pt x="17" y="119"/>
                    <a:pt x="17" y="119"/>
                    <a:pt x="17" y="119"/>
                  </a:cubicBezTo>
                  <a:cubicBezTo>
                    <a:pt x="15" y="128"/>
                    <a:pt x="15" y="128"/>
                    <a:pt x="15" y="128"/>
                  </a:cubicBezTo>
                  <a:cubicBezTo>
                    <a:pt x="0" y="190"/>
                    <a:pt x="0" y="190"/>
                    <a:pt x="0" y="190"/>
                  </a:cubicBezTo>
                  <a:cubicBezTo>
                    <a:pt x="129" y="152"/>
                    <a:pt x="129" y="152"/>
                    <a:pt x="129" y="152"/>
                  </a:cubicBezTo>
                  <a:cubicBezTo>
                    <a:pt x="173" y="0"/>
                    <a:pt x="173" y="0"/>
                    <a:pt x="173" y="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chemeClr val="accent1">
                    <a:lumMod val="75000"/>
                    <a:lumOff val="25000"/>
                  </a:schemeClr>
                </a:solidFill>
              </a:endParaRPr>
            </a:p>
          </p:txBody>
        </p:sp>
        <p:sp>
          <p:nvSpPr>
            <p:cNvPr id="136" name="îş1îḍ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66382A8F-50C0-415D-B970-4FA3F2EA0085}"/>
                </a:ext>
              </a:extLst>
            </p:cNvPr>
            <p:cNvSpPr/>
            <p:nvPr/>
          </p:nvSpPr>
          <p:spPr bwMode="auto">
            <a:xfrm>
              <a:off x="7691438" y="3065463"/>
              <a:ext cx="68263" cy="38100"/>
            </a:xfrm>
            <a:custGeom>
              <a:avLst/>
              <a:gdLst>
                <a:gd name="T0" fmla="*/ 0 w 27"/>
                <a:gd name="T1" fmla="*/ 0 h 15"/>
                <a:gd name="T2" fmla="*/ 24 w 27"/>
                <a:gd name="T3" fmla="*/ 15 h 15"/>
                <a:gd name="T4" fmla="*/ 26 w 27"/>
                <a:gd name="T5" fmla="*/ 15 h 15"/>
                <a:gd name="T6" fmla="*/ 27 w 27"/>
                <a:gd name="T7" fmla="*/ 12 h 15"/>
                <a:gd name="T8" fmla="*/ 0 w 27"/>
                <a:gd name="T9" fmla="*/ 0 h 15"/>
              </a:gdLst>
              <a:ahLst/>
              <a:cxnLst>
                <a:cxn ang="0">
                  <a:pos x="T0" y="T1"/>
                </a:cxn>
                <a:cxn ang="0">
                  <a:pos x="T2" y="T3"/>
                </a:cxn>
                <a:cxn ang="0">
                  <a:pos x="T4" y="T5"/>
                </a:cxn>
                <a:cxn ang="0">
                  <a:pos x="T6" y="T7"/>
                </a:cxn>
                <a:cxn ang="0">
                  <a:pos x="T8" y="T9"/>
                </a:cxn>
              </a:cxnLst>
              <a:rect l="0" t="0" r="r" b="b"/>
              <a:pathLst>
                <a:path w="27" h="15">
                  <a:moveTo>
                    <a:pt x="0" y="0"/>
                  </a:moveTo>
                  <a:cubicBezTo>
                    <a:pt x="2" y="3"/>
                    <a:pt x="10" y="15"/>
                    <a:pt x="24" y="15"/>
                  </a:cubicBezTo>
                  <a:cubicBezTo>
                    <a:pt x="25" y="15"/>
                    <a:pt x="25" y="15"/>
                    <a:pt x="26" y="15"/>
                  </a:cubicBezTo>
                  <a:cubicBezTo>
                    <a:pt x="27" y="12"/>
                    <a:pt x="27" y="12"/>
                    <a:pt x="27" y="12"/>
                  </a:cubicBezTo>
                  <a:cubicBezTo>
                    <a:pt x="0" y="0"/>
                    <a:pt x="0" y="0"/>
                    <a:pt x="0" y="0"/>
                  </a:cubicBezTo>
                </a:path>
              </a:pathLst>
            </a:custGeom>
            <a:solidFill>
              <a:srgbClr val="1A9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7" name="îṧ1ïďé">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817C42FF-BF7A-4DCA-BBE4-E0C48FEFD338}"/>
                </a:ext>
              </a:extLst>
            </p:cNvPr>
            <p:cNvSpPr/>
            <p:nvPr/>
          </p:nvSpPr>
          <p:spPr bwMode="auto">
            <a:xfrm>
              <a:off x="7597775" y="2832100"/>
              <a:ext cx="149225" cy="58738"/>
            </a:xfrm>
            <a:custGeom>
              <a:avLst/>
              <a:gdLst>
                <a:gd name="T0" fmla="*/ 54 w 59"/>
                <a:gd name="T1" fmla="*/ 0 h 23"/>
                <a:gd name="T2" fmla="*/ 41 w 59"/>
                <a:gd name="T3" fmla="*/ 2 h 23"/>
                <a:gd name="T4" fmla="*/ 21 w 59"/>
                <a:gd name="T5" fmla="*/ 7 h 23"/>
                <a:gd name="T6" fmla="*/ 1 w 59"/>
                <a:gd name="T7" fmla="*/ 17 h 23"/>
                <a:gd name="T8" fmla="*/ 0 w 59"/>
                <a:gd name="T9" fmla="*/ 23 h 23"/>
                <a:gd name="T10" fmla="*/ 58 w 59"/>
                <a:gd name="T11" fmla="*/ 8 h 23"/>
                <a:gd name="T12" fmla="*/ 59 w 59"/>
                <a:gd name="T13" fmla="*/ 2 h 23"/>
                <a:gd name="T14" fmla="*/ 54 w 59"/>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23">
                  <a:moveTo>
                    <a:pt x="54" y="0"/>
                  </a:moveTo>
                  <a:cubicBezTo>
                    <a:pt x="51" y="0"/>
                    <a:pt x="46" y="1"/>
                    <a:pt x="41" y="2"/>
                  </a:cubicBezTo>
                  <a:cubicBezTo>
                    <a:pt x="21" y="7"/>
                    <a:pt x="21" y="7"/>
                    <a:pt x="21" y="7"/>
                  </a:cubicBezTo>
                  <a:cubicBezTo>
                    <a:pt x="11" y="10"/>
                    <a:pt x="2" y="15"/>
                    <a:pt x="1" y="17"/>
                  </a:cubicBezTo>
                  <a:cubicBezTo>
                    <a:pt x="0" y="23"/>
                    <a:pt x="0" y="23"/>
                    <a:pt x="0" y="23"/>
                  </a:cubicBezTo>
                  <a:cubicBezTo>
                    <a:pt x="58" y="8"/>
                    <a:pt x="58" y="8"/>
                    <a:pt x="58" y="8"/>
                  </a:cubicBezTo>
                  <a:cubicBezTo>
                    <a:pt x="58" y="8"/>
                    <a:pt x="58" y="5"/>
                    <a:pt x="59" y="2"/>
                  </a:cubicBezTo>
                  <a:cubicBezTo>
                    <a:pt x="59" y="1"/>
                    <a:pt x="57" y="0"/>
                    <a:pt x="54" y="0"/>
                  </a:cubicBezTo>
                </a:path>
              </a:pathLst>
            </a:custGeom>
            <a:solidFill>
              <a:srgbClr val="1A9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8" name="íšľiḓ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FA1163FE-DCD4-4F19-9417-8D1B772657B6}"/>
                </a:ext>
              </a:extLst>
            </p:cNvPr>
            <p:cNvSpPr/>
            <p:nvPr/>
          </p:nvSpPr>
          <p:spPr bwMode="auto">
            <a:xfrm>
              <a:off x="7593013" y="2776538"/>
              <a:ext cx="179388" cy="80963"/>
            </a:xfrm>
            <a:custGeom>
              <a:avLst/>
              <a:gdLst>
                <a:gd name="T0" fmla="*/ 70 w 71"/>
                <a:gd name="T1" fmla="*/ 10 h 32"/>
                <a:gd name="T2" fmla="*/ 63 w 71"/>
                <a:gd name="T3" fmla="*/ 9 h 32"/>
                <a:gd name="T4" fmla="*/ 55 w 71"/>
                <a:gd name="T5" fmla="*/ 11 h 32"/>
                <a:gd name="T6" fmla="*/ 40 w 71"/>
                <a:gd name="T7" fmla="*/ 4 h 32"/>
                <a:gd name="T8" fmla="*/ 19 w 71"/>
                <a:gd name="T9" fmla="*/ 21 h 32"/>
                <a:gd name="T10" fmla="*/ 10 w 71"/>
                <a:gd name="T11" fmla="*/ 23 h 32"/>
                <a:gd name="T12" fmla="*/ 1 w 71"/>
                <a:gd name="T13" fmla="*/ 29 h 32"/>
                <a:gd name="T14" fmla="*/ 0 w 71"/>
                <a:gd name="T15" fmla="*/ 32 h 32"/>
                <a:gd name="T16" fmla="*/ 70 w 71"/>
                <a:gd name="T17" fmla="*/ 13 h 32"/>
                <a:gd name="T18" fmla="*/ 70 w 71"/>
                <a:gd name="T19"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 h="32">
                  <a:moveTo>
                    <a:pt x="70" y="10"/>
                  </a:moveTo>
                  <a:cubicBezTo>
                    <a:pt x="71" y="8"/>
                    <a:pt x="67" y="8"/>
                    <a:pt x="63" y="9"/>
                  </a:cubicBezTo>
                  <a:cubicBezTo>
                    <a:pt x="55" y="11"/>
                    <a:pt x="55" y="11"/>
                    <a:pt x="55" y="11"/>
                  </a:cubicBezTo>
                  <a:cubicBezTo>
                    <a:pt x="55" y="11"/>
                    <a:pt x="58" y="0"/>
                    <a:pt x="40" y="4"/>
                  </a:cubicBezTo>
                  <a:cubicBezTo>
                    <a:pt x="22" y="8"/>
                    <a:pt x="19" y="21"/>
                    <a:pt x="19" y="21"/>
                  </a:cubicBezTo>
                  <a:cubicBezTo>
                    <a:pt x="19" y="21"/>
                    <a:pt x="15" y="22"/>
                    <a:pt x="10" y="23"/>
                  </a:cubicBezTo>
                  <a:cubicBezTo>
                    <a:pt x="5" y="24"/>
                    <a:pt x="1" y="27"/>
                    <a:pt x="1" y="29"/>
                  </a:cubicBezTo>
                  <a:cubicBezTo>
                    <a:pt x="0" y="32"/>
                    <a:pt x="0" y="32"/>
                    <a:pt x="0" y="32"/>
                  </a:cubicBezTo>
                  <a:cubicBezTo>
                    <a:pt x="70" y="13"/>
                    <a:pt x="70" y="13"/>
                    <a:pt x="70" y="13"/>
                  </a:cubicBezTo>
                  <a:cubicBezTo>
                    <a:pt x="70" y="13"/>
                    <a:pt x="70" y="12"/>
                    <a:pt x="70" y="10"/>
                  </a:cubicBezTo>
                  <a:close/>
                </a:path>
              </a:pathLst>
            </a:custGeom>
            <a:solidFill>
              <a:srgbClr val="3747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9" name="ïṧlïď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3D921DA1-7777-4A85-B040-3871BF450CF9}"/>
                </a:ext>
              </a:extLst>
            </p:cNvPr>
            <p:cNvSpPr/>
            <p:nvPr/>
          </p:nvSpPr>
          <p:spPr bwMode="auto">
            <a:xfrm>
              <a:off x="7627938" y="2813050"/>
              <a:ext cx="125413" cy="61913"/>
            </a:xfrm>
            <a:custGeom>
              <a:avLst/>
              <a:gdLst>
                <a:gd name="T0" fmla="*/ 47 w 49"/>
                <a:gd name="T1" fmla="*/ 2 h 25"/>
                <a:gd name="T2" fmla="*/ 37 w 49"/>
                <a:gd name="T3" fmla="*/ 9 h 25"/>
                <a:gd name="T4" fmla="*/ 35 w 49"/>
                <a:gd name="T5" fmla="*/ 17 h 25"/>
                <a:gd name="T6" fmla="*/ 4 w 49"/>
                <a:gd name="T7" fmla="*/ 25 h 25"/>
                <a:gd name="T8" fmla="*/ 6 w 49"/>
                <a:gd name="T9" fmla="*/ 17 h 25"/>
                <a:gd name="T10" fmla="*/ 1 w 49"/>
                <a:gd name="T11" fmla="*/ 14 h 25"/>
                <a:gd name="T12" fmla="*/ 0 w 49"/>
                <a:gd name="T13" fmla="*/ 12 h 25"/>
                <a:gd name="T14" fmla="*/ 49 w 49"/>
                <a:gd name="T15" fmla="*/ 0 h 25"/>
                <a:gd name="T16" fmla="*/ 47 w 49"/>
                <a:gd name="T17" fmla="*/ 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25">
                  <a:moveTo>
                    <a:pt x="47" y="2"/>
                  </a:moveTo>
                  <a:cubicBezTo>
                    <a:pt x="40" y="3"/>
                    <a:pt x="38" y="4"/>
                    <a:pt x="37" y="9"/>
                  </a:cubicBezTo>
                  <a:cubicBezTo>
                    <a:pt x="36" y="14"/>
                    <a:pt x="35" y="17"/>
                    <a:pt x="35" y="17"/>
                  </a:cubicBezTo>
                  <a:cubicBezTo>
                    <a:pt x="4" y="25"/>
                    <a:pt x="4" y="25"/>
                    <a:pt x="4" y="25"/>
                  </a:cubicBezTo>
                  <a:cubicBezTo>
                    <a:pt x="4" y="25"/>
                    <a:pt x="6" y="19"/>
                    <a:pt x="6" y="17"/>
                  </a:cubicBezTo>
                  <a:cubicBezTo>
                    <a:pt x="7" y="14"/>
                    <a:pt x="6" y="13"/>
                    <a:pt x="1" y="14"/>
                  </a:cubicBezTo>
                  <a:cubicBezTo>
                    <a:pt x="0" y="12"/>
                    <a:pt x="0" y="12"/>
                    <a:pt x="0" y="12"/>
                  </a:cubicBezTo>
                  <a:cubicBezTo>
                    <a:pt x="49" y="0"/>
                    <a:pt x="49" y="0"/>
                    <a:pt x="49" y="0"/>
                  </a:cubicBezTo>
                  <a:lnTo>
                    <a:pt x="47" y="2"/>
                  </a:lnTo>
                  <a:close/>
                </a:path>
              </a:pathLst>
            </a:custGeom>
            <a:solidFill>
              <a:srgbClr val="3747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0" name="ïṣļiḍ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73412704-DBC7-4702-A177-D2AE11A0A426}"/>
                </a:ext>
              </a:extLst>
            </p:cNvPr>
            <p:cNvSpPr/>
            <p:nvPr/>
          </p:nvSpPr>
          <p:spPr bwMode="auto">
            <a:xfrm>
              <a:off x="7602538" y="2832100"/>
              <a:ext cx="150813" cy="58738"/>
            </a:xfrm>
            <a:custGeom>
              <a:avLst/>
              <a:gdLst>
                <a:gd name="T0" fmla="*/ 58 w 59"/>
                <a:gd name="T1" fmla="*/ 8 h 23"/>
                <a:gd name="T2" fmla="*/ 59 w 59"/>
                <a:gd name="T3" fmla="*/ 3 h 23"/>
                <a:gd name="T4" fmla="*/ 41 w 59"/>
                <a:gd name="T5" fmla="*/ 3 h 23"/>
                <a:gd name="T6" fmla="*/ 21 w 59"/>
                <a:gd name="T7" fmla="*/ 8 h 23"/>
                <a:gd name="T8" fmla="*/ 1 w 59"/>
                <a:gd name="T9" fmla="*/ 18 h 23"/>
                <a:gd name="T10" fmla="*/ 0 w 59"/>
                <a:gd name="T11" fmla="*/ 23 h 23"/>
                <a:gd name="T12" fmla="*/ 58 w 59"/>
                <a:gd name="T13" fmla="*/ 8 h 23"/>
              </a:gdLst>
              <a:ahLst/>
              <a:cxnLst>
                <a:cxn ang="0">
                  <a:pos x="T0" y="T1"/>
                </a:cxn>
                <a:cxn ang="0">
                  <a:pos x="T2" y="T3"/>
                </a:cxn>
                <a:cxn ang="0">
                  <a:pos x="T4" y="T5"/>
                </a:cxn>
                <a:cxn ang="0">
                  <a:pos x="T6" y="T7"/>
                </a:cxn>
                <a:cxn ang="0">
                  <a:pos x="T8" y="T9"/>
                </a:cxn>
                <a:cxn ang="0">
                  <a:pos x="T10" y="T11"/>
                </a:cxn>
                <a:cxn ang="0">
                  <a:pos x="T12" y="T13"/>
                </a:cxn>
              </a:cxnLst>
              <a:rect l="0" t="0" r="r" b="b"/>
              <a:pathLst>
                <a:path w="59" h="23">
                  <a:moveTo>
                    <a:pt x="58" y="8"/>
                  </a:moveTo>
                  <a:cubicBezTo>
                    <a:pt x="58" y="8"/>
                    <a:pt x="58" y="6"/>
                    <a:pt x="59" y="3"/>
                  </a:cubicBezTo>
                  <a:cubicBezTo>
                    <a:pt x="59" y="0"/>
                    <a:pt x="51" y="0"/>
                    <a:pt x="41" y="3"/>
                  </a:cubicBezTo>
                  <a:cubicBezTo>
                    <a:pt x="21" y="8"/>
                    <a:pt x="21" y="8"/>
                    <a:pt x="21" y="8"/>
                  </a:cubicBezTo>
                  <a:cubicBezTo>
                    <a:pt x="11" y="11"/>
                    <a:pt x="2" y="15"/>
                    <a:pt x="1" y="18"/>
                  </a:cubicBezTo>
                  <a:cubicBezTo>
                    <a:pt x="0" y="23"/>
                    <a:pt x="0" y="23"/>
                    <a:pt x="0" y="23"/>
                  </a:cubicBezTo>
                  <a:lnTo>
                    <a:pt x="58" y="8"/>
                  </a:lnTo>
                  <a:close/>
                </a:path>
              </a:pathLst>
            </a:custGeom>
            <a:solidFill>
              <a:srgbClr val="3747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1" name="îṡlíḓé">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4FA346B7-D40E-4FA9-A61B-4F9375ED0B72}"/>
                </a:ext>
              </a:extLst>
            </p:cNvPr>
            <p:cNvSpPr/>
            <p:nvPr/>
          </p:nvSpPr>
          <p:spPr bwMode="auto">
            <a:xfrm>
              <a:off x="7677150" y="2900363"/>
              <a:ext cx="163513" cy="195263"/>
            </a:xfrm>
            <a:custGeom>
              <a:avLst/>
              <a:gdLst>
                <a:gd name="T0" fmla="*/ 53 w 65"/>
                <a:gd name="T1" fmla="*/ 6 h 77"/>
                <a:gd name="T2" fmla="*/ 47 w 65"/>
                <a:gd name="T3" fmla="*/ 27 h 77"/>
                <a:gd name="T4" fmla="*/ 21 w 65"/>
                <a:gd name="T5" fmla="*/ 41 h 77"/>
                <a:gd name="T6" fmla="*/ 5 w 65"/>
                <a:gd name="T7" fmla="*/ 61 h 77"/>
                <a:gd name="T8" fmla="*/ 34 w 65"/>
                <a:gd name="T9" fmla="*/ 77 h 77"/>
                <a:gd name="T10" fmla="*/ 58 w 65"/>
                <a:gd name="T11" fmla="*/ 56 h 77"/>
                <a:gd name="T12" fmla="*/ 63 w 65"/>
                <a:gd name="T13" fmla="*/ 12 h 77"/>
                <a:gd name="T14" fmla="*/ 53 w 65"/>
                <a:gd name="T15" fmla="*/ 6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77">
                  <a:moveTo>
                    <a:pt x="53" y="6"/>
                  </a:moveTo>
                  <a:cubicBezTo>
                    <a:pt x="53" y="6"/>
                    <a:pt x="48" y="23"/>
                    <a:pt x="47" y="27"/>
                  </a:cubicBezTo>
                  <a:cubicBezTo>
                    <a:pt x="46" y="31"/>
                    <a:pt x="31" y="39"/>
                    <a:pt x="21" y="41"/>
                  </a:cubicBezTo>
                  <a:cubicBezTo>
                    <a:pt x="11" y="44"/>
                    <a:pt x="0" y="47"/>
                    <a:pt x="5" y="61"/>
                  </a:cubicBezTo>
                  <a:cubicBezTo>
                    <a:pt x="9" y="74"/>
                    <a:pt x="25" y="77"/>
                    <a:pt x="34" y="77"/>
                  </a:cubicBezTo>
                  <a:cubicBezTo>
                    <a:pt x="42" y="76"/>
                    <a:pt x="54" y="68"/>
                    <a:pt x="58" y="56"/>
                  </a:cubicBezTo>
                  <a:cubicBezTo>
                    <a:pt x="64" y="39"/>
                    <a:pt x="61" y="22"/>
                    <a:pt x="63" y="12"/>
                  </a:cubicBezTo>
                  <a:cubicBezTo>
                    <a:pt x="65" y="2"/>
                    <a:pt x="58" y="0"/>
                    <a:pt x="53" y="6"/>
                  </a:cubicBezTo>
                  <a:close/>
                </a:path>
              </a:pathLst>
            </a:custGeom>
            <a:solidFill>
              <a:srgbClr val="FFA8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2" name="ïṥ1ïdè">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88992AEF-31A9-42A8-BD0C-6CB9F6CB259A}"/>
                </a:ext>
              </a:extLst>
            </p:cNvPr>
            <p:cNvSpPr/>
            <p:nvPr/>
          </p:nvSpPr>
          <p:spPr bwMode="auto">
            <a:xfrm>
              <a:off x="7162800" y="2289175"/>
              <a:ext cx="31750" cy="90488"/>
            </a:xfrm>
            <a:custGeom>
              <a:avLst/>
              <a:gdLst>
                <a:gd name="T0" fmla="*/ 0 w 13"/>
                <a:gd name="T1" fmla="*/ 16 h 36"/>
                <a:gd name="T2" fmla="*/ 0 w 13"/>
                <a:gd name="T3" fmla="*/ 36 h 36"/>
                <a:gd name="T4" fmla="*/ 13 w 13"/>
                <a:gd name="T5" fmla="*/ 23 h 36"/>
                <a:gd name="T6" fmla="*/ 13 w 13"/>
                <a:gd name="T7" fmla="*/ 0 h 36"/>
                <a:gd name="T8" fmla="*/ 0 w 13"/>
                <a:gd name="T9" fmla="*/ 16 h 36"/>
              </a:gdLst>
              <a:ahLst/>
              <a:cxnLst>
                <a:cxn ang="0">
                  <a:pos x="T0" y="T1"/>
                </a:cxn>
                <a:cxn ang="0">
                  <a:pos x="T2" y="T3"/>
                </a:cxn>
                <a:cxn ang="0">
                  <a:pos x="T4" y="T5"/>
                </a:cxn>
                <a:cxn ang="0">
                  <a:pos x="T6" y="T7"/>
                </a:cxn>
                <a:cxn ang="0">
                  <a:pos x="T8" y="T9"/>
                </a:cxn>
              </a:cxnLst>
              <a:rect l="0" t="0" r="r" b="b"/>
              <a:pathLst>
                <a:path w="13" h="36">
                  <a:moveTo>
                    <a:pt x="0" y="16"/>
                  </a:moveTo>
                  <a:cubicBezTo>
                    <a:pt x="0" y="36"/>
                    <a:pt x="0" y="36"/>
                    <a:pt x="0" y="36"/>
                  </a:cubicBezTo>
                  <a:cubicBezTo>
                    <a:pt x="7" y="36"/>
                    <a:pt x="13" y="30"/>
                    <a:pt x="13" y="23"/>
                  </a:cubicBezTo>
                  <a:cubicBezTo>
                    <a:pt x="13" y="0"/>
                    <a:pt x="13" y="0"/>
                    <a:pt x="13" y="0"/>
                  </a:cubicBezTo>
                  <a:cubicBezTo>
                    <a:pt x="0" y="16"/>
                    <a:pt x="0" y="16"/>
                    <a:pt x="0" y="16"/>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3" name="îś1iḋé">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2FFB3434-DDDA-4FE5-B5B5-959CA4420EB6}"/>
                </a:ext>
              </a:extLst>
            </p:cNvPr>
            <p:cNvSpPr/>
            <p:nvPr/>
          </p:nvSpPr>
          <p:spPr bwMode="auto">
            <a:xfrm>
              <a:off x="7154863" y="2092325"/>
              <a:ext cx="315913" cy="193675"/>
            </a:xfrm>
            <a:custGeom>
              <a:avLst/>
              <a:gdLst>
                <a:gd name="T0" fmla="*/ 57 w 125"/>
                <a:gd name="T1" fmla="*/ 0 h 77"/>
                <a:gd name="T2" fmla="*/ 57 w 125"/>
                <a:gd name="T3" fmla="*/ 0 h 77"/>
                <a:gd name="T4" fmla="*/ 125 w 125"/>
                <a:gd name="T5" fmla="*/ 68 h 77"/>
                <a:gd name="T6" fmla="*/ 125 w 125"/>
                <a:gd name="T7" fmla="*/ 77 h 77"/>
                <a:gd name="T8" fmla="*/ 92 w 125"/>
                <a:gd name="T9" fmla="*/ 77 h 77"/>
                <a:gd name="T10" fmla="*/ 61 w 125"/>
                <a:gd name="T11" fmla="*/ 50 h 77"/>
                <a:gd name="T12" fmla="*/ 60 w 125"/>
                <a:gd name="T13" fmla="*/ 77 h 77"/>
                <a:gd name="T14" fmla="*/ 36 w 125"/>
                <a:gd name="T15" fmla="*/ 54 h 77"/>
                <a:gd name="T16" fmla="*/ 35 w 125"/>
                <a:gd name="T17" fmla="*/ 50 h 77"/>
                <a:gd name="T18" fmla="*/ 6 w 125"/>
                <a:gd name="T19" fmla="*/ 77 h 77"/>
                <a:gd name="T20" fmla="*/ 3 w 125"/>
                <a:gd name="T21" fmla="*/ 77 h 77"/>
                <a:gd name="T22" fmla="*/ 0 w 125"/>
                <a:gd name="T23" fmla="*/ 29 h 77"/>
                <a:gd name="T24" fmla="*/ 57 w 125"/>
                <a:gd name="T25"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5" h="77">
                  <a:moveTo>
                    <a:pt x="57" y="0"/>
                  </a:moveTo>
                  <a:cubicBezTo>
                    <a:pt x="57" y="0"/>
                    <a:pt x="57" y="0"/>
                    <a:pt x="57" y="0"/>
                  </a:cubicBezTo>
                  <a:cubicBezTo>
                    <a:pt x="95" y="0"/>
                    <a:pt x="125" y="30"/>
                    <a:pt x="125" y="68"/>
                  </a:cubicBezTo>
                  <a:cubicBezTo>
                    <a:pt x="125" y="77"/>
                    <a:pt x="125" y="77"/>
                    <a:pt x="125" y="77"/>
                  </a:cubicBezTo>
                  <a:cubicBezTo>
                    <a:pt x="92" y="77"/>
                    <a:pt x="92" y="77"/>
                    <a:pt x="92" y="77"/>
                  </a:cubicBezTo>
                  <a:cubicBezTo>
                    <a:pt x="77" y="77"/>
                    <a:pt x="63" y="65"/>
                    <a:pt x="61" y="50"/>
                  </a:cubicBezTo>
                  <a:cubicBezTo>
                    <a:pt x="60" y="77"/>
                    <a:pt x="60" y="77"/>
                    <a:pt x="60" y="77"/>
                  </a:cubicBezTo>
                  <a:cubicBezTo>
                    <a:pt x="47" y="77"/>
                    <a:pt x="37" y="67"/>
                    <a:pt x="36" y="54"/>
                  </a:cubicBezTo>
                  <a:cubicBezTo>
                    <a:pt x="35" y="50"/>
                    <a:pt x="35" y="50"/>
                    <a:pt x="35" y="50"/>
                  </a:cubicBezTo>
                  <a:cubicBezTo>
                    <a:pt x="34" y="65"/>
                    <a:pt x="21" y="77"/>
                    <a:pt x="6" y="77"/>
                  </a:cubicBezTo>
                  <a:cubicBezTo>
                    <a:pt x="3" y="77"/>
                    <a:pt x="3" y="77"/>
                    <a:pt x="3" y="77"/>
                  </a:cubicBezTo>
                  <a:cubicBezTo>
                    <a:pt x="0" y="29"/>
                    <a:pt x="0" y="29"/>
                    <a:pt x="0" y="29"/>
                  </a:cubicBezTo>
                  <a:lnTo>
                    <a:pt x="57" y="0"/>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4" name="íSḷïďé">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04B08AF0-132C-4C84-8D4F-EA5107C3BF3A}"/>
                </a:ext>
              </a:extLst>
            </p:cNvPr>
            <p:cNvSpPr/>
            <p:nvPr/>
          </p:nvSpPr>
          <p:spPr bwMode="auto">
            <a:xfrm>
              <a:off x="7150100" y="2286000"/>
              <a:ext cx="290513" cy="84138"/>
            </a:xfrm>
            <a:custGeom>
              <a:avLst/>
              <a:gdLst>
                <a:gd name="T0" fmla="*/ 3 w 115"/>
                <a:gd name="T1" fmla="*/ 16 h 33"/>
                <a:gd name="T2" fmla="*/ 29 w 115"/>
                <a:gd name="T3" fmla="*/ 16 h 33"/>
                <a:gd name="T4" fmla="*/ 29 w 115"/>
                <a:gd name="T5" fmla="*/ 17 h 33"/>
                <a:gd name="T6" fmla="*/ 46 w 115"/>
                <a:gd name="T7" fmla="*/ 33 h 33"/>
                <a:gd name="T8" fmla="*/ 48 w 115"/>
                <a:gd name="T9" fmla="*/ 33 h 33"/>
                <a:gd name="T10" fmla="*/ 65 w 115"/>
                <a:gd name="T11" fmla="*/ 17 h 33"/>
                <a:gd name="T12" fmla="*/ 64 w 115"/>
                <a:gd name="T13" fmla="*/ 14 h 33"/>
                <a:gd name="T14" fmla="*/ 64 w 115"/>
                <a:gd name="T15" fmla="*/ 14 h 33"/>
                <a:gd name="T16" fmla="*/ 73 w 115"/>
                <a:gd name="T17" fmla="*/ 9 h 33"/>
                <a:gd name="T18" fmla="*/ 80 w 115"/>
                <a:gd name="T19" fmla="*/ 12 h 33"/>
                <a:gd name="T20" fmla="*/ 79 w 115"/>
                <a:gd name="T21" fmla="*/ 17 h 33"/>
                <a:gd name="T22" fmla="*/ 96 w 115"/>
                <a:gd name="T23" fmla="*/ 33 h 33"/>
                <a:gd name="T24" fmla="*/ 98 w 115"/>
                <a:gd name="T25" fmla="*/ 33 h 33"/>
                <a:gd name="T26" fmla="*/ 115 w 115"/>
                <a:gd name="T27" fmla="*/ 17 h 33"/>
                <a:gd name="T28" fmla="*/ 98 w 115"/>
                <a:gd name="T29" fmla="*/ 0 h 33"/>
                <a:gd name="T30" fmla="*/ 96 w 115"/>
                <a:gd name="T31" fmla="*/ 0 h 33"/>
                <a:gd name="T32" fmla="*/ 82 w 115"/>
                <a:gd name="T33" fmla="*/ 9 h 33"/>
                <a:gd name="T34" fmla="*/ 73 w 115"/>
                <a:gd name="T35" fmla="*/ 6 h 33"/>
                <a:gd name="T36" fmla="*/ 63 w 115"/>
                <a:gd name="T37" fmla="*/ 11 h 33"/>
                <a:gd name="T38" fmla="*/ 48 w 115"/>
                <a:gd name="T39" fmla="*/ 0 h 33"/>
                <a:gd name="T40" fmla="*/ 46 w 115"/>
                <a:gd name="T41" fmla="*/ 0 h 33"/>
                <a:gd name="T42" fmla="*/ 29 w 115"/>
                <a:gd name="T43" fmla="*/ 13 h 33"/>
                <a:gd name="T44" fmla="*/ 0 w 115"/>
                <a:gd name="T45" fmla="*/ 13 h 33"/>
                <a:gd name="T46" fmla="*/ 3 w 115"/>
                <a:gd name="T47" fmla="*/ 16 h 33"/>
                <a:gd name="T48" fmla="*/ 82 w 115"/>
                <a:gd name="T49" fmla="*/ 17 h 33"/>
                <a:gd name="T50" fmla="*/ 96 w 115"/>
                <a:gd name="T51" fmla="*/ 3 h 33"/>
                <a:gd name="T52" fmla="*/ 98 w 115"/>
                <a:gd name="T53" fmla="*/ 3 h 33"/>
                <a:gd name="T54" fmla="*/ 112 w 115"/>
                <a:gd name="T55" fmla="*/ 17 h 33"/>
                <a:gd name="T56" fmla="*/ 98 w 115"/>
                <a:gd name="T57" fmla="*/ 31 h 33"/>
                <a:gd name="T58" fmla="*/ 96 w 115"/>
                <a:gd name="T59" fmla="*/ 31 h 33"/>
                <a:gd name="T60" fmla="*/ 82 w 115"/>
                <a:gd name="T61" fmla="*/ 17 h 33"/>
                <a:gd name="T62" fmla="*/ 32 w 115"/>
                <a:gd name="T63" fmla="*/ 17 h 33"/>
                <a:gd name="T64" fmla="*/ 46 w 115"/>
                <a:gd name="T65" fmla="*/ 3 h 33"/>
                <a:gd name="T66" fmla="*/ 48 w 115"/>
                <a:gd name="T67" fmla="*/ 3 h 33"/>
                <a:gd name="T68" fmla="*/ 62 w 115"/>
                <a:gd name="T69" fmla="*/ 17 h 33"/>
                <a:gd name="T70" fmla="*/ 48 w 115"/>
                <a:gd name="T71" fmla="*/ 31 h 33"/>
                <a:gd name="T72" fmla="*/ 46 w 115"/>
                <a:gd name="T73" fmla="*/ 31 h 33"/>
                <a:gd name="T74" fmla="*/ 32 w 115"/>
                <a:gd name="T75"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5" h="33">
                  <a:moveTo>
                    <a:pt x="3" y="16"/>
                  </a:moveTo>
                  <a:cubicBezTo>
                    <a:pt x="29" y="16"/>
                    <a:pt x="29" y="16"/>
                    <a:pt x="29" y="16"/>
                  </a:cubicBezTo>
                  <a:cubicBezTo>
                    <a:pt x="29" y="17"/>
                    <a:pt x="29" y="17"/>
                    <a:pt x="29" y="17"/>
                  </a:cubicBezTo>
                  <a:cubicBezTo>
                    <a:pt x="29" y="26"/>
                    <a:pt x="37" y="33"/>
                    <a:pt x="46" y="33"/>
                  </a:cubicBezTo>
                  <a:cubicBezTo>
                    <a:pt x="48" y="33"/>
                    <a:pt x="48" y="33"/>
                    <a:pt x="48" y="33"/>
                  </a:cubicBezTo>
                  <a:cubicBezTo>
                    <a:pt x="57" y="33"/>
                    <a:pt x="65" y="26"/>
                    <a:pt x="65" y="17"/>
                  </a:cubicBezTo>
                  <a:cubicBezTo>
                    <a:pt x="65" y="16"/>
                    <a:pt x="65" y="15"/>
                    <a:pt x="64" y="14"/>
                  </a:cubicBezTo>
                  <a:cubicBezTo>
                    <a:pt x="64" y="14"/>
                    <a:pt x="64" y="14"/>
                    <a:pt x="64" y="14"/>
                  </a:cubicBezTo>
                  <a:cubicBezTo>
                    <a:pt x="66" y="11"/>
                    <a:pt x="69" y="9"/>
                    <a:pt x="73" y="9"/>
                  </a:cubicBezTo>
                  <a:cubicBezTo>
                    <a:pt x="76" y="9"/>
                    <a:pt x="79" y="10"/>
                    <a:pt x="80" y="12"/>
                  </a:cubicBezTo>
                  <a:cubicBezTo>
                    <a:pt x="80" y="13"/>
                    <a:pt x="79" y="15"/>
                    <a:pt x="79" y="17"/>
                  </a:cubicBezTo>
                  <a:cubicBezTo>
                    <a:pt x="79" y="26"/>
                    <a:pt x="87" y="33"/>
                    <a:pt x="96" y="33"/>
                  </a:cubicBezTo>
                  <a:cubicBezTo>
                    <a:pt x="98" y="33"/>
                    <a:pt x="98" y="33"/>
                    <a:pt x="98" y="33"/>
                  </a:cubicBezTo>
                  <a:cubicBezTo>
                    <a:pt x="108" y="33"/>
                    <a:pt x="115" y="26"/>
                    <a:pt x="115" y="17"/>
                  </a:cubicBezTo>
                  <a:cubicBezTo>
                    <a:pt x="115" y="8"/>
                    <a:pt x="108" y="0"/>
                    <a:pt x="98" y="0"/>
                  </a:cubicBezTo>
                  <a:cubicBezTo>
                    <a:pt x="96" y="0"/>
                    <a:pt x="96" y="0"/>
                    <a:pt x="96" y="0"/>
                  </a:cubicBezTo>
                  <a:cubicBezTo>
                    <a:pt x="90" y="0"/>
                    <a:pt x="84" y="4"/>
                    <a:pt x="82" y="9"/>
                  </a:cubicBezTo>
                  <a:cubicBezTo>
                    <a:pt x="79" y="7"/>
                    <a:pt x="76" y="6"/>
                    <a:pt x="73" y="6"/>
                  </a:cubicBezTo>
                  <a:cubicBezTo>
                    <a:pt x="69" y="7"/>
                    <a:pt x="66" y="8"/>
                    <a:pt x="63" y="11"/>
                  </a:cubicBezTo>
                  <a:cubicBezTo>
                    <a:pt x="61" y="5"/>
                    <a:pt x="55" y="0"/>
                    <a:pt x="48" y="0"/>
                  </a:cubicBezTo>
                  <a:cubicBezTo>
                    <a:pt x="46" y="0"/>
                    <a:pt x="46" y="0"/>
                    <a:pt x="46" y="0"/>
                  </a:cubicBezTo>
                  <a:cubicBezTo>
                    <a:pt x="38" y="0"/>
                    <a:pt x="31" y="6"/>
                    <a:pt x="29" y="13"/>
                  </a:cubicBezTo>
                  <a:cubicBezTo>
                    <a:pt x="0" y="13"/>
                    <a:pt x="0" y="13"/>
                    <a:pt x="0" y="13"/>
                  </a:cubicBezTo>
                  <a:cubicBezTo>
                    <a:pt x="0" y="14"/>
                    <a:pt x="2" y="15"/>
                    <a:pt x="3" y="16"/>
                  </a:cubicBezTo>
                  <a:moveTo>
                    <a:pt x="82" y="17"/>
                  </a:moveTo>
                  <a:cubicBezTo>
                    <a:pt x="82" y="9"/>
                    <a:pt x="88" y="3"/>
                    <a:pt x="96" y="3"/>
                  </a:cubicBezTo>
                  <a:cubicBezTo>
                    <a:pt x="98" y="3"/>
                    <a:pt x="98" y="3"/>
                    <a:pt x="98" y="3"/>
                  </a:cubicBezTo>
                  <a:cubicBezTo>
                    <a:pt x="106" y="3"/>
                    <a:pt x="112" y="9"/>
                    <a:pt x="112" y="17"/>
                  </a:cubicBezTo>
                  <a:cubicBezTo>
                    <a:pt x="112" y="24"/>
                    <a:pt x="106" y="31"/>
                    <a:pt x="98" y="31"/>
                  </a:cubicBezTo>
                  <a:cubicBezTo>
                    <a:pt x="96" y="31"/>
                    <a:pt x="96" y="31"/>
                    <a:pt x="96" y="31"/>
                  </a:cubicBezTo>
                  <a:cubicBezTo>
                    <a:pt x="88" y="31"/>
                    <a:pt x="82" y="24"/>
                    <a:pt x="82" y="17"/>
                  </a:cubicBezTo>
                  <a:moveTo>
                    <a:pt x="32" y="17"/>
                  </a:moveTo>
                  <a:cubicBezTo>
                    <a:pt x="32" y="9"/>
                    <a:pt x="38" y="3"/>
                    <a:pt x="46" y="3"/>
                  </a:cubicBezTo>
                  <a:cubicBezTo>
                    <a:pt x="48" y="3"/>
                    <a:pt x="48" y="3"/>
                    <a:pt x="48" y="3"/>
                  </a:cubicBezTo>
                  <a:cubicBezTo>
                    <a:pt x="56" y="3"/>
                    <a:pt x="62" y="9"/>
                    <a:pt x="62" y="17"/>
                  </a:cubicBezTo>
                  <a:cubicBezTo>
                    <a:pt x="62" y="24"/>
                    <a:pt x="56" y="31"/>
                    <a:pt x="48" y="31"/>
                  </a:cubicBezTo>
                  <a:cubicBezTo>
                    <a:pt x="46" y="31"/>
                    <a:pt x="46" y="31"/>
                    <a:pt x="46" y="31"/>
                  </a:cubicBezTo>
                  <a:cubicBezTo>
                    <a:pt x="38" y="31"/>
                    <a:pt x="32" y="24"/>
                    <a:pt x="32" y="17"/>
                  </a:cubicBezTo>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5" name="íŝḻiḓ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8CC115F1-1228-4553-AEDC-326F4D4B346C}"/>
                </a:ext>
              </a:extLst>
            </p:cNvPr>
            <p:cNvSpPr/>
            <p:nvPr/>
          </p:nvSpPr>
          <p:spPr bwMode="auto">
            <a:xfrm>
              <a:off x="7150100" y="2286000"/>
              <a:ext cx="290513" cy="84138"/>
            </a:xfrm>
            <a:custGeom>
              <a:avLst/>
              <a:gdLst>
                <a:gd name="T0" fmla="*/ 32 w 115"/>
                <a:gd name="T1" fmla="*/ 17 h 33"/>
                <a:gd name="T2" fmla="*/ 32 w 115"/>
                <a:gd name="T3" fmla="*/ 17 h 33"/>
                <a:gd name="T4" fmla="*/ 46 w 115"/>
                <a:gd name="T5" fmla="*/ 3 h 33"/>
                <a:gd name="T6" fmla="*/ 48 w 115"/>
                <a:gd name="T7" fmla="*/ 3 h 33"/>
                <a:gd name="T8" fmla="*/ 62 w 115"/>
                <a:gd name="T9" fmla="*/ 17 h 33"/>
                <a:gd name="T10" fmla="*/ 62 w 115"/>
                <a:gd name="T11" fmla="*/ 17 h 33"/>
                <a:gd name="T12" fmla="*/ 62 w 115"/>
                <a:gd name="T13" fmla="*/ 17 h 33"/>
                <a:gd name="T14" fmla="*/ 48 w 115"/>
                <a:gd name="T15" fmla="*/ 31 h 33"/>
                <a:gd name="T16" fmla="*/ 46 w 115"/>
                <a:gd name="T17" fmla="*/ 31 h 33"/>
                <a:gd name="T18" fmla="*/ 32 w 115"/>
                <a:gd name="T19" fmla="*/ 17 h 33"/>
                <a:gd name="T20" fmla="*/ 32 w 115"/>
                <a:gd name="T21" fmla="*/ 17 h 33"/>
                <a:gd name="T22" fmla="*/ 82 w 115"/>
                <a:gd name="T23" fmla="*/ 17 h 33"/>
                <a:gd name="T24" fmla="*/ 82 w 115"/>
                <a:gd name="T25" fmla="*/ 17 h 33"/>
                <a:gd name="T26" fmla="*/ 96 w 115"/>
                <a:gd name="T27" fmla="*/ 3 h 33"/>
                <a:gd name="T28" fmla="*/ 98 w 115"/>
                <a:gd name="T29" fmla="*/ 3 h 33"/>
                <a:gd name="T30" fmla="*/ 112 w 115"/>
                <a:gd name="T31" fmla="*/ 17 h 33"/>
                <a:gd name="T32" fmla="*/ 112 w 115"/>
                <a:gd name="T33" fmla="*/ 17 h 33"/>
                <a:gd name="T34" fmla="*/ 112 w 115"/>
                <a:gd name="T35" fmla="*/ 17 h 33"/>
                <a:gd name="T36" fmla="*/ 108 w 115"/>
                <a:gd name="T37" fmla="*/ 27 h 33"/>
                <a:gd name="T38" fmla="*/ 98 w 115"/>
                <a:gd name="T39" fmla="*/ 31 h 33"/>
                <a:gd name="T40" fmla="*/ 96 w 115"/>
                <a:gd name="T41" fmla="*/ 31 h 33"/>
                <a:gd name="T42" fmla="*/ 82 w 115"/>
                <a:gd name="T43" fmla="*/ 17 h 33"/>
                <a:gd name="T44" fmla="*/ 82 w 115"/>
                <a:gd name="T45" fmla="*/ 17 h 33"/>
                <a:gd name="T46" fmla="*/ 98 w 115"/>
                <a:gd name="T47" fmla="*/ 0 h 33"/>
                <a:gd name="T48" fmla="*/ 96 w 115"/>
                <a:gd name="T49" fmla="*/ 0 h 33"/>
                <a:gd name="T50" fmla="*/ 82 w 115"/>
                <a:gd name="T51" fmla="*/ 9 h 33"/>
                <a:gd name="T52" fmla="*/ 74 w 115"/>
                <a:gd name="T53" fmla="*/ 6 h 33"/>
                <a:gd name="T54" fmla="*/ 73 w 115"/>
                <a:gd name="T55" fmla="*/ 6 h 33"/>
                <a:gd name="T56" fmla="*/ 63 w 115"/>
                <a:gd name="T57" fmla="*/ 11 h 33"/>
                <a:gd name="T58" fmla="*/ 48 w 115"/>
                <a:gd name="T59" fmla="*/ 0 h 33"/>
                <a:gd name="T60" fmla="*/ 46 w 115"/>
                <a:gd name="T61" fmla="*/ 0 h 33"/>
                <a:gd name="T62" fmla="*/ 29 w 115"/>
                <a:gd name="T63" fmla="*/ 13 h 33"/>
                <a:gd name="T64" fmla="*/ 18 w 115"/>
                <a:gd name="T65" fmla="*/ 13 h 33"/>
                <a:gd name="T66" fmla="*/ 8 w 115"/>
                <a:gd name="T67" fmla="*/ 13 h 33"/>
                <a:gd name="T68" fmla="*/ 0 w 115"/>
                <a:gd name="T69" fmla="*/ 13 h 33"/>
                <a:gd name="T70" fmla="*/ 0 w 115"/>
                <a:gd name="T71" fmla="*/ 13 h 33"/>
                <a:gd name="T72" fmla="*/ 3 w 115"/>
                <a:gd name="T73" fmla="*/ 16 h 33"/>
                <a:gd name="T74" fmla="*/ 29 w 115"/>
                <a:gd name="T75" fmla="*/ 16 h 33"/>
                <a:gd name="T76" fmla="*/ 29 w 115"/>
                <a:gd name="T77" fmla="*/ 17 h 33"/>
                <a:gd name="T78" fmla="*/ 46 w 115"/>
                <a:gd name="T79" fmla="*/ 33 h 33"/>
                <a:gd name="T80" fmla="*/ 48 w 115"/>
                <a:gd name="T81" fmla="*/ 33 h 33"/>
                <a:gd name="T82" fmla="*/ 65 w 115"/>
                <a:gd name="T83" fmla="*/ 17 h 33"/>
                <a:gd name="T84" fmla="*/ 64 w 115"/>
                <a:gd name="T85" fmla="*/ 14 h 33"/>
                <a:gd name="T86" fmla="*/ 64 w 115"/>
                <a:gd name="T87" fmla="*/ 14 h 33"/>
                <a:gd name="T88" fmla="*/ 64 w 115"/>
                <a:gd name="T89" fmla="*/ 14 h 33"/>
                <a:gd name="T90" fmla="*/ 64 w 115"/>
                <a:gd name="T91" fmla="*/ 14 h 33"/>
                <a:gd name="T92" fmla="*/ 73 w 115"/>
                <a:gd name="T93" fmla="*/ 9 h 33"/>
                <a:gd name="T94" fmla="*/ 74 w 115"/>
                <a:gd name="T95" fmla="*/ 9 h 33"/>
                <a:gd name="T96" fmla="*/ 80 w 115"/>
                <a:gd name="T97" fmla="*/ 12 h 33"/>
                <a:gd name="T98" fmla="*/ 80 w 115"/>
                <a:gd name="T99" fmla="*/ 12 h 33"/>
                <a:gd name="T100" fmla="*/ 80 w 115"/>
                <a:gd name="T101" fmla="*/ 12 h 33"/>
                <a:gd name="T102" fmla="*/ 79 w 115"/>
                <a:gd name="T103" fmla="*/ 17 h 33"/>
                <a:gd name="T104" fmla="*/ 96 w 115"/>
                <a:gd name="T105" fmla="*/ 33 h 33"/>
                <a:gd name="T106" fmla="*/ 98 w 115"/>
                <a:gd name="T107" fmla="*/ 33 h 33"/>
                <a:gd name="T108" fmla="*/ 115 w 115"/>
                <a:gd name="T109" fmla="*/ 17 h 33"/>
                <a:gd name="T110" fmla="*/ 98 w 115"/>
                <a:gd name="T11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5" h="33">
                  <a:moveTo>
                    <a:pt x="32" y="17"/>
                  </a:moveTo>
                  <a:cubicBezTo>
                    <a:pt x="32" y="17"/>
                    <a:pt x="32" y="17"/>
                    <a:pt x="32" y="17"/>
                  </a:cubicBezTo>
                  <a:cubicBezTo>
                    <a:pt x="32" y="9"/>
                    <a:pt x="38" y="3"/>
                    <a:pt x="46" y="3"/>
                  </a:cubicBezTo>
                  <a:cubicBezTo>
                    <a:pt x="48" y="3"/>
                    <a:pt x="48" y="3"/>
                    <a:pt x="48" y="3"/>
                  </a:cubicBezTo>
                  <a:cubicBezTo>
                    <a:pt x="56" y="3"/>
                    <a:pt x="62" y="9"/>
                    <a:pt x="62" y="17"/>
                  </a:cubicBezTo>
                  <a:cubicBezTo>
                    <a:pt x="62" y="17"/>
                    <a:pt x="62" y="17"/>
                    <a:pt x="62" y="17"/>
                  </a:cubicBezTo>
                  <a:cubicBezTo>
                    <a:pt x="62" y="17"/>
                    <a:pt x="62" y="17"/>
                    <a:pt x="62" y="17"/>
                  </a:cubicBezTo>
                  <a:cubicBezTo>
                    <a:pt x="62" y="24"/>
                    <a:pt x="56" y="31"/>
                    <a:pt x="48" y="31"/>
                  </a:cubicBezTo>
                  <a:cubicBezTo>
                    <a:pt x="46" y="31"/>
                    <a:pt x="46" y="31"/>
                    <a:pt x="46" y="31"/>
                  </a:cubicBezTo>
                  <a:cubicBezTo>
                    <a:pt x="38" y="31"/>
                    <a:pt x="32" y="24"/>
                    <a:pt x="32" y="17"/>
                  </a:cubicBezTo>
                  <a:cubicBezTo>
                    <a:pt x="32" y="17"/>
                    <a:pt x="32" y="17"/>
                    <a:pt x="32" y="17"/>
                  </a:cubicBezTo>
                  <a:moveTo>
                    <a:pt x="82" y="17"/>
                  </a:moveTo>
                  <a:cubicBezTo>
                    <a:pt x="82" y="17"/>
                    <a:pt x="82" y="17"/>
                    <a:pt x="82" y="17"/>
                  </a:cubicBezTo>
                  <a:cubicBezTo>
                    <a:pt x="82" y="9"/>
                    <a:pt x="88" y="3"/>
                    <a:pt x="96" y="3"/>
                  </a:cubicBezTo>
                  <a:cubicBezTo>
                    <a:pt x="98" y="3"/>
                    <a:pt x="98" y="3"/>
                    <a:pt x="98" y="3"/>
                  </a:cubicBezTo>
                  <a:cubicBezTo>
                    <a:pt x="106" y="3"/>
                    <a:pt x="112" y="9"/>
                    <a:pt x="112" y="17"/>
                  </a:cubicBezTo>
                  <a:cubicBezTo>
                    <a:pt x="112" y="17"/>
                    <a:pt x="112" y="17"/>
                    <a:pt x="112" y="17"/>
                  </a:cubicBezTo>
                  <a:cubicBezTo>
                    <a:pt x="112" y="17"/>
                    <a:pt x="112" y="17"/>
                    <a:pt x="112" y="17"/>
                  </a:cubicBezTo>
                  <a:cubicBezTo>
                    <a:pt x="112" y="21"/>
                    <a:pt x="111" y="24"/>
                    <a:pt x="108" y="27"/>
                  </a:cubicBezTo>
                  <a:cubicBezTo>
                    <a:pt x="105" y="29"/>
                    <a:pt x="102" y="31"/>
                    <a:pt x="98" y="31"/>
                  </a:cubicBezTo>
                  <a:cubicBezTo>
                    <a:pt x="96" y="31"/>
                    <a:pt x="96" y="31"/>
                    <a:pt x="96" y="31"/>
                  </a:cubicBezTo>
                  <a:cubicBezTo>
                    <a:pt x="88" y="31"/>
                    <a:pt x="82" y="24"/>
                    <a:pt x="82" y="17"/>
                  </a:cubicBezTo>
                  <a:cubicBezTo>
                    <a:pt x="82" y="17"/>
                    <a:pt x="82" y="17"/>
                    <a:pt x="82" y="17"/>
                  </a:cubicBezTo>
                  <a:moveTo>
                    <a:pt x="98" y="0"/>
                  </a:moveTo>
                  <a:cubicBezTo>
                    <a:pt x="96" y="0"/>
                    <a:pt x="96" y="0"/>
                    <a:pt x="96" y="0"/>
                  </a:cubicBezTo>
                  <a:cubicBezTo>
                    <a:pt x="90" y="0"/>
                    <a:pt x="84" y="4"/>
                    <a:pt x="82" y="9"/>
                  </a:cubicBezTo>
                  <a:cubicBezTo>
                    <a:pt x="80" y="7"/>
                    <a:pt x="77" y="6"/>
                    <a:pt x="74" y="6"/>
                  </a:cubicBezTo>
                  <a:cubicBezTo>
                    <a:pt x="74" y="6"/>
                    <a:pt x="73" y="6"/>
                    <a:pt x="73" y="6"/>
                  </a:cubicBezTo>
                  <a:cubicBezTo>
                    <a:pt x="69" y="7"/>
                    <a:pt x="66" y="8"/>
                    <a:pt x="63" y="11"/>
                  </a:cubicBezTo>
                  <a:cubicBezTo>
                    <a:pt x="61" y="5"/>
                    <a:pt x="55" y="0"/>
                    <a:pt x="48" y="0"/>
                  </a:cubicBezTo>
                  <a:cubicBezTo>
                    <a:pt x="46" y="0"/>
                    <a:pt x="46" y="0"/>
                    <a:pt x="46" y="0"/>
                  </a:cubicBezTo>
                  <a:cubicBezTo>
                    <a:pt x="38" y="0"/>
                    <a:pt x="31" y="6"/>
                    <a:pt x="29" y="13"/>
                  </a:cubicBezTo>
                  <a:cubicBezTo>
                    <a:pt x="18" y="13"/>
                    <a:pt x="18" y="13"/>
                    <a:pt x="18" y="13"/>
                  </a:cubicBezTo>
                  <a:cubicBezTo>
                    <a:pt x="8" y="13"/>
                    <a:pt x="8" y="13"/>
                    <a:pt x="8" y="13"/>
                  </a:cubicBezTo>
                  <a:cubicBezTo>
                    <a:pt x="0" y="13"/>
                    <a:pt x="0" y="13"/>
                    <a:pt x="0" y="13"/>
                  </a:cubicBezTo>
                  <a:cubicBezTo>
                    <a:pt x="0" y="13"/>
                    <a:pt x="0" y="13"/>
                    <a:pt x="0" y="13"/>
                  </a:cubicBezTo>
                  <a:cubicBezTo>
                    <a:pt x="0" y="14"/>
                    <a:pt x="2" y="15"/>
                    <a:pt x="3" y="16"/>
                  </a:cubicBezTo>
                  <a:cubicBezTo>
                    <a:pt x="29" y="16"/>
                    <a:pt x="29" y="16"/>
                    <a:pt x="29" y="16"/>
                  </a:cubicBezTo>
                  <a:cubicBezTo>
                    <a:pt x="29" y="17"/>
                    <a:pt x="29" y="17"/>
                    <a:pt x="29" y="17"/>
                  </a:cubicBezTo>
                  <a:cubicBezTo>
                    <a:pt x="29" y="26"/>
                    <a:pt x="37" y="33"/>
                    <a:pt x="46" y="33"/>
                  </a:cubicBezTo>
                  <a:cubicBezTo>
                    <a:pt x="48" y="33"/>
                    <a:pt x="48" y="33"/>
                    <a:pt x="48" y="33"/>
                  </a:cubicBezTo>
                  <a:cubicBezTo>
                    <a:pt x="57" y="33"/>
                    <a:pt x="65" y="26"/>
                    <a:pt x="65" y="17"/>
                  </a:cubicBezTo>
                  <a:cubicBezTo>
                    <a:pt x="65" y="16"/>
                    <a:pt x="65" y="15"/>
                    <a:pt x="64" y="14"/>
                  </a:cubicBezTo>
                  <a:cubicBezTo>
                    <a:pt x="64" y="14"/>
                    <a:pt x="64" y="14"/>
                    <a:pt x="64" y="14"/>
                  </a:cubicBezTo>
                  <a:cubicBezTo>
                    <a:pt x="64" y="14"/>
                    <a:pt x="64" y="14"/>
                    <a:pt x="64" y="14"/>
                  </a:cubicBezTo>
                  <a:cubicBezTo>
                    <a:pt x="64" y="14"/>
                    <a:pt x="64" y="14"/>
                    <a:pt x="64" y="14"/>
                  </a:cubicBezTo>
                  <a:cubicBezTo>
                    <a:pt x="66" y="11"/>
                    <a:pt x="69" y="9"/>
                    <a:pt x="73" y="9"/>
                  </a:cubicBezTo>
                  <a:cubicBezTo>
                    <a:pt x="73" y="9"/>
                    <a:pt x="74" y="9"/>
                    <a:pt x="74" y="9"/>
                  </a:cubicBezTo>
                  <a:cubicBezTo>
                    <a:pt x="77" y="9"/>
                    <a:pt x="79" y="10"/>
                    <a:pt x="80" y="12"/>
                  </a:cubicBezTo>
                  <a:cubicBezTo>
                    <a:pt x="80" y="12"/>
                    <a:pt x="80" y="12"/>
                    <a:pt x="80" y="12"/>
                  </a:cubicBezTo>
                  <a:cubicBezTo>
                    <a:pt x="80" y="12"/>
                    <a:pt x="80" y="12"/>
                    <a:pt x="80" y="12"/>
                  </a:cubicBezTo>
                  <a:cubicBezTo>
                    <a:pt x="80" y="13"/>
                    <a:pt x="79" y="15"/>
                    <a:pt x="79" y="17"/>
                  </a:cubicBezTo>
                  <a:cubicBezTo>
                    <a:pt x="79" y="26"/>
                    <a:pt x="87" y="33"/>
                    <a:pt x="96" y="33"/>
                  </a:cubicBezTo>
                  <a:cubicBezTo>
                    <a:pt x="98" y="33"/>
                    <a:pt x="98" y="33"/>
                    <a:pt x="98" y="33"/>
                  </a:cubicBezTo>
                  <a:cubicBezTo>
                    <a:pt x="108" y="33"/>
                    <a:pt x="115" y="26"/>
                    <a:pt x="115" y="17"/>
                  </a:cubicBezTo>
                  <a:cubicBezTo>
                    <a:pt x="115" y="8"/>
                    <a:pt x="108" y="0"/>
                    <a:pt x="98" y="0"/>
                  </a:cubicBezTo>
                </a:path>
              </a:pathLst>
            </a:custGeom>
            <a:solidFill>
              <a:srgbClr val="136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Tree>
    <p:custDataLst>
      <p:tags r:id="rId1"/>
    </p:custDataLst>
    <p:extLst>
      <p:ext uri="{BB962C8B-B14F-4D97-AF65-F5344CB8AC3E}">
        <p14:creationId xmlns:p14="http://schemas.microsoft.com/office/powerpoint/2010/main" val="358052086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4" name="ïṩḷidê">
            <a:extLst>
              <a:ext uri="{FF2B5EF4-FFF2-40B4-BE49-F238E27FC236}">
                <a16:creationId xmlns="" xmlns:p14="http://schemas.microsoft.com/office/powerpoint/2010/main" xmlns:a16="http://schemas.microsoft.com/office/drawing/2014/main" id="{625D0406-0787-4EE6-9393-820D5CE03187}"/>
              </a:ext>
            </a:extLst>
          </p:cNvPr>
          <p:cNvSpPr>
            <a:spLocks noGrp="1"/>
          </p:cNvSpPr>
          <p:nvPr>
            <p:ph type="sldNum" sz="quarter" idx="12"/>
          </p:nvPr>
        </p:nvSpPr>
        <p:spPr/>
        <p:txBody>
          <a:bodyPr/>
          <a:lstStyle/>
          <a:p>
            <a:fld id="{5DD3DB80-B894-403A-B48E-6FDC1A72010E}" type="slidenum">
              <a:rPr lang="zh-CN" altLang="en-US" smtClean="0"/>
              <a:pPr/>
              <a:t>37</a:t>
            </a:fld>
            <a:endParaRPr lang="zh-CN" altLang="en-US"/>
          </a:p>
        </p:txBody>
      </p:sp>
      <p:sp>
        <p:nvSpPr>
          <p:cNvPr id="2" name="íṣľiḑe">
            <a:extLst>
              <a:ext uri="{FF2B5EF4-FFF2-40B4-BE49-F238E27FC236}">
                <a16:creationId xmlns="" xmlns:p14="http://schemas.microsoft.com/office/powerpoint/2010/main" xmlns:a16="http://schemas.microsoft.com/office/drawing/2014/main" id="{8AC4395B-A0A0-4D81-B628-E4F9AB374736}"/>
              </a:ext>
            </a:extLst>
          </p:cNvPr>
          <p:cNvSpPr>
            <a:spLocks noGrp="1"/>
          </p:cNvSpPr>
          <p:nvPr>
            <p:ph type="title"/>
          </p:nvPr>
        </p:nvSpPr>
        <p:spPr/>
        <p:txBody>
          <a:bodyPr/>
          <a:lstStyle/>
          <a:p>
            <a:r>
              <a:rPr lang="en-US" altLang="zh-TW" dirty="0" smtClean="0"/>
              <a:t>Transformer- Masked </a:t>
            </a:r>
            <a:r>
              <a:rPr lang="en-US" altLang="zh-TW" dirty="0"/>
              <a:t>Self-Attention</a:t>
            </a:r>
            <a:endParaRPr lang="en-US" altLang="zh-TW" dirty="0"/>
          </a:p>
        </p:txBody>
      </p:sp>
      <p:sp>
        <p:nvSpPr>
          <p:cNvPr id="5" name="內容版面配置區 4"/>
          <p:cNvSpPr>
            <a:spLocks noGrp="1"/>
          </p:cNvSpPr>
          <p:nvPr>
            <p:ph sz="quarter" idx="13"/>
          </p:nvPr>
        </p:nvSpPr>
        <p:spPr/>
        <p:txBody>
          <a:bodyPr/>
          <a:lstStyle/>
          <a:p>
            <a:r>
              <a:rPr lang="en-US" altLang="zh-TW" dirty="0"/>
              <a:t>Transformer-</a:t>
            </a:r>
            <a:r>
              <a:rPr lang="zh-TW" altLang="en-US" dirty="0"/>
              <a:t>解碼組件</a:t>
            </a:r>
            <a:r>
              <a:rPr lang="en-US" altLang="zh-TW" dirty="0"/>
              <a:t>Masked Self-Attention</a:t>
            </a:r>
            <a:r>
              <a:rPr lang="zh-TW" altLang="en-US" dirty="0"/>
              <a:t>在</a:t>
            </a:r>
            <a:r>
              <a:rPr lang="en-US" altLang="zh-TW" dirty="0"/>
              <a:t>decoder</a:t>
            </a:r>
            <a:r>
              <a:rPr lang="zh-TW" altLang="en-US" dirty="0"/>
              <a:t>中的</a:t>
            </a:r>
            <a:r>
              <a:rPr lang="en-US" altLang="zh-TW" dirty="0"/>
              <a:t>attention layer</a:t>
            </a:r>
            <a:r>
              <a:rPr lang="zh-TW" altLang="en-US" dirty="0"/>
              <a:t>中的</a:t>
            </a:r>
            <a:r>
              <a:rPr lang="en-US" altLang="zh-TW" dirty="0"/>
              <a:t>attention </a:t>
            </a:r>
            <a:r>
              <a:rPr lang="zh-TW" altLang="en-US" dirty="0"/>
              <a:t>部分，和</a:t>
            </a:r>
            <a:r>
              <a:rPr lang="en-US" altLang="zh-TW" dirty="0"/>
              <a:t>encoder</a:t>
            </a:r>
            <a:r>
              <a:rPr lang="zh-TW" altLang="en-US" dirty="0"/>
              <a:t>中的</a:t>
            </a:r>
            <a:r>
              <a:rPr lang="en-US" altLang="zh-TW" dirty="0"/>
              <a:t>attention</a:t>
            </a:r>
            <a:r>
              <a:rPr lang="zh-TW" altLang="en-US" dirty="0"/>
              <a:t>不同</a:t>
            </a:r>
            <a:r>
              <a:rPr lang="zh-TW" altLang="en-US" dirty="0" smtClean="0"/>
              <a:t>。</a:t>
            </a:r>
            <a:endParaRPr lang="zh-TW" altLang="en-US" dirty="0"/>
          </a:p>
          <a:p>
            <a:r>
              <a:rPr lang="zh-TW" altLang="en-US" dirty="0"/>
              <a:t>輸入序列進入到一個</a:t>
            </a:r>
            <a:r>
              <a:rPr lang="en-US" altLang="zh-TW" dirty="0"/>
              <a:t>masked self-attention</a:t>
            </a:r>
            <a:r>
              <a:rPr lang="zh-TW" altLang="en-US" dirty="0"/>
              <a:t>中，因為我們在</a:t>
            </a:r>
            <a:r>
              <a:rPr lang="en-US" altLang="zh-TW" dirty="0"/>
              <a:t>prediction</a:t>
            </a:r>
            <a:r>
              <a:rPr lang="zh-TW" altLang="en-US" dirty="0"/>
              <a:t>的時候</a:t>
            </a:r>
            <a:r>
              <a:rPr lang="en-US" altLang="zh-TW" dirty="0"/>
              <a:t>decoder</a:t>
            </a:r>
            <a:r>
              <a:rPr lang="zh-TW" altLang="en-US" dirty="0"/>
              <a:t>是從左往右地逐個</a:t>
            </a:r>
            <a:r>
              <a:rPr lang="en-US" altLang="zh-TW" dirty="0"/>
              <a:t>predict</a:t>
            </a:r>
            <a:r>
              <a:rPr lang="zh-TW" altLang="en-US" dirty="0"/>
              <a:t>，所以在我們做</a:t>
            </a:r>
            <a:r>
              <a:rPr lang="en-US" altLang="zh-TW" dirty="0"/>
              <a:t>attention</a:t>
            </a:r>
            <a:r>
              <a:rPr lang="zh-TW" altLang="en-US" dirty="0"/>
              <a:t>的時候，每一個時間步的輸入應該只</a:t>
            </a:r>
            <a:r>
              <a:rPr lang="en-US" altLang="zh-TW" dirty="0"/>
              <a:t>attention</a:t>
            </a:r>
            <a:r>
              <a:rPr lang="zh-TW" altLang="en-US" dirty="0"/>
              <a:t>到之前的輸入，因此我們要像前文所說的那樣，通過在</a:t>
            </a:r>
            <a:r>
              <a:rPr lang="en-US" altLang="zh-TW" dirty="0"/>
              <a:t>attention</a:t>
            </a:r>
            <a:r>
              <a:rPr lang="zh-TW" altLang="en-US" dirty="0"/>
              <a:t>的系數矩陣的對應位置加上負無窮然後經過</a:t>
            </a:r>
            <a:r>
              <a:rPr lang="en-US" altLang="zh-TW" dirty="0" err="1"/>
              <a:t>softmax</a:t>
            </a:r>
            <a:r>
              <a:rPr lang="zh-TW" altLang="en-US" dirty="0"/>
              <a:t>函數，來將某些位置的權重</a:t>
            </a:r>
            <a:r>
              <a:rPr lang="en-US" altLang="zh-TW" dirty="0"/>
              <a:t>mask</a:t>
            </a:r>
            <a:r>
              <a:rPr lang="zh-TW" altLang="en-US" dirty="0"/>
              <a:t>掉。</a:t>
            </a:r>
          </a:p>
        </p:txBody>
      </p:sp>
      <p:pic>
        <p:nvPicPr>
          <p:cNvPr id="19458" name="Picture 2" descr="E:\Delete\git_r\two_month_report\202011_2021_1\11_31_to_12_4_fifth\img\attention_mechanism_luong.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10399" y="2685263"/>
            <a:ext cx="6118483" cy="4172737"/>
          </a:xfrm>
          <a:prstGeom prst="rect">
            <a:avLst/>
          </a:prstGeom>
          <a:noFill/>
          <a:extLst>
            <a:ext uri="{909E8E84-426E-40DD-AFC4-6F175D3DCCD1}">
              <a14:hiddenFill xmlns:a14="http://schemas.microsoft.com/office/drawing/2010/main">
                <a:solidFill>
                  <a:srgbClr val="FFFFFF"/>
                </a:solidFill>
              </a14:hiddenFill>
            </a:ext>
          </a:extLst>
        </p:spPr>
      </p:pic>
      <p:sp>
        <p:nvSpPr>
          <p:cNvPr id="3" name="橢圓 2"/>
          <p:cNvSpPr/>
          <p:nvPr/>
        </p:nvSpPr>
        <p:spPr>
          <a:xfrm>
            <a:off x="7198242" y="5486399"/>
            <a:ext cx="542261" cy="861238"/>
          </a:xfrm>
          <a:prstGeom prst="ellipse">
            <a:avLst/>
          </a:prstGeom>
          <a:noFill/>
          <a:ln>
            <a:solidFill>
              <a:srgbClr val="C745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Tree>
    <p:custDataLst>
      <p:tags r:id="rId1"/>
    </p:custDataLst>
    <p:extLst>
      <p:ext uri="{BB962C8B-B14F-4D97-AF65-F5344CB8AC3E}">
        <p14:creationId xmlns:p14="http://schemas.microsoft.com/office/powerpoint/2010/main" val="32521731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4" name="ïṩḷidê">
            <a:extLst>
              <a:ext uri="{FF2B5EF4-FFF2-40B4-BE49-F238E27FC236}">
                <a16:creationId xmlns="" xmlns:p14="http://schemas.microsoft.com/office/powerpoint/2010/main" xmlns:a16="http://schemas.microsoft.com/office/drawing/2014/main" id="{625D0406-0787-4EE6-9393-820D5CE03187}"/>
              </a:ext>
            </a:extLst>
          </p:cNvPr>
          <p:cNvSpPr>
            <a:spLocks noGrp="1"/>
          </p:cNvSpPr>
          <p:nvPr>
            <p:ph type="sldNum" sz="quarter" idx="12"/>
          </p:nvPr>
        </p:nvSpPr>
        <p:spPr/>
        <p:txBody>
          <a:bodyPr/>
          <a:lstStyle/>
          <a:p>
            <a:fld id="{5DD3DB80-B894-403A-B48E-6FDC1A72010E}" type="slidenum">
              <a:rPr lang="zh-CN" altLang="en-US" smtClean="0"/>
              <a:pPr/>
              <a:t>38</a:t>
            </a:fld>
            <a:endParaRPr lang="zh-CN" altLang="en-US"/>
          </a:p>
        </p:txBody>
      </p:sp>
      <p:sp>
        <p:nvSpPr>
          <p:cNvPr id="2" name="íṣľiḑe">
            <a:extLst>
              <a:ext uri="{FF2B5EF4-FFF2-40B4-BE49-F238E27FC236}">
                <a16:creationId xmlns="" xmlns:p14="http://schemas.microsoft.com/office/powerpoint/2010/main" xmlns:a16="http://schemas.microsoft.com/office/drawing/2014/main" id="{8AC4395B-A0A0-4D81-B628-E4F9AB374736}"/>
              </a:ext>
            </a:extLst>
          </p:cNvPr>
          <p:cNvSpPr>
            <a:spLocks noGrp="1"/>
          </p:cNvSpPr>
          <p:nvPr>
            <p:ph type="title"/>
          </p:nvPr>
        </p:nvSpPr>
        <p:spPr/>
        <p:txBody>
          <a:bodyPr/>
          <a:lstStyle/>
          <a:p>
            <a:r>
              <a:rPr lang="en-US" altLang="zh-TW" dirty="0"/>
              <a:t>Transformer- The Final Linear and </a:t>
            </a:r>
            <a:r>
              <a:rPr lang="en-US" altLang="zh-TW" dirty="0" err="1"/>
              <a:t>Softmax</a:t>
            </a:r>
            <a:r>
              <a:rPr lang="en-US" altLang="zh-TW" dirty="0"/>
              <a:t> Layer</a:t>
            </a:r>
          </a:p>
        </p:txBody>
      </p:sp>
      <p:sp>
        <p:nvSpPr>
          <p:cNvPr id="5" name="內容版面配置區 4"/>
          <p:cNvSpPr>
            <a:spLocks noGrp="1"/>
          </p:cNvSpPr>
          <p:nvPr>
            <p:ph sz="quarter" idx="13"/>
          </p:nvPr>
        </p:nvSpPr>
        <p:spPr/>
        <p:txBody>
          <a:bodyPr/>
          <a:lstStyle/>
          <a:p>
            <a:r>
              <a:rPr lang="zh-TW" altLang="en-US" dirty="0"/>
              <a:t>解碼組件最後會輸出一個實數向量。我們如何把浮點數變成一個單詞？這便是線性變換層要做的工作，它之後就是</a:t>
            </a:r>
            <a:r>
              <a:rPr lang="en-US" altLang="zh-TW" dirty="0" err="1"/>
              <a:t>Softmax</a:t>
            </a:r>
            <a:r>
              <a:rPr lang="zh-TW" altLang="en-US" dirty="0"/>
              <a:t>層</a:t>
            </a:r>
            <a:r>
              <a:rPr lang="zh-TW" altLang="en-US" dirty="0" smtClean="0"/>
              <a:t>。</a:t>
            </a:r>
            <a:endParaRPr lang="en-US" altLang="zh-TW" dirty="0"/>
          </a:p>
          <a:p>
            <a:endParaRPr lang="zh-TW" altLang="en-US" dirty="0"/>
          </a:p>
          <a:p>
            <a:r>
              <a:rPr lang="zh-TW" altLang="en-US" dirty="0"/>
              <a:t>線性變換層是一個簡單的全連接神經網絡，它可以把解碼組件產生的向量投射到一個比它大得多的、被稱作對數幾率（</a:t>
            </a:r>
            <a:r>
              <a:rPr lang="en-US" altLang="zh-TW" dirty="0"/>
              <a:t>logits</a:t>
            </a:r>
            <a:r>
              <a:rPr lang="zh-TW" altLang="en-US" dirty="0"/>
              <a:t>）的向量里</a:t>
            </a:r>
            <a:r>
              <a:rPr lang="zh-TW" altLang="en-US" dirty="0" smtClean="0"/>
              <a:t>。</a:t>
            </a:r>
            <a:endParaRPr lang="en-US" altLang="zh-TW" dirty="0" smtClean="0"/>
          </a:p>
          <a:p>
            <a:endParaRPr lang="zh-TW" altLang="en-US" dirty="0"/>
          </a:p>
          <a:p>
            <a:r>
              <a:rPr lang="zh-TW" altLang="en-US" dirty="0"/>
              <a:t>不妨假設我們的模型從訓練集中學習一萬個不同的英語單詞（我們模型的“輸出詞表”）</a:t>
            </a:r>
            <a:r>
              <a:rPr lang="zh-TW" altLang="en-US" dirty="0" smtClean="0"/>
              <a:t>。</a:t>
            </a:r>
            <a:endParaRPr lang="en-US" altLang="zh-TW" dirty="0" smtClean="0"/>
          </a:p>
          <a:p>
            <a:endParaRPr lang="zh-TW" altLang="en-US" dirty="0"/>
          </a:p>
          <a:p>
            <a:r>
              <a:rPr lang="zh-TW" altLang="en-US" dirty="0"/>
              <a:t>因此對數幾率向量為一萬個單元格長度的向量</a:t>
            </a:r>
            <a:r>
              <a:rPr lang="en-US" altLang="zh-TW" dirty="0"/>
              <a:t>——</a:t>
            </a:r>
            <a:r>
              <a:rPr lang="zh-TW" altLang="en-US" dirty="0"/>
              <a:t>每個單元格對應某一個單詞的分數</a:t>
            </a:r>
            <a:r>
              <a:rPr lang="zh-TW" altLang="en-US" dirty="0" smtClean="0"/>
              <a:t>。</a:t>
            </a:r>
            <a:endParaRPr lang="en-US" altLang="zh-TW" dirty="0" smtClean="0"/>
          </a:p>
          <a:p>
            <a:endParaRPr lang="zh-TW" altLang="en-US" dirty="0"/>
          </a:p>
          <a:p>
            <a:r>
              <a:rPr lang="zh-TW" altLang="en-US" dirty="0"/>
              <a:t>接下來的</a:t>
            </a:r>
            <a:r>
              <a:rPr lang="en-US" altLang="zh-TW" dirty="0" err="1"/>
              <a:t>Softmax</a:t>
            </a:r>
            <a:r>
              <a:rPr lang="en-US" altLang="zh-TW" dirty="0"/>
              <a:t> </a:t>
            </a:r>
            <a:r>
              <a:rPr lang="zh-TW" altLang="en-US" dirty="0"/>
              <a:t>層便會把那些分數變成概率（都為正數、上限</a:t>
            </a:r>
            <a:r>
              <a:rPr lang="en-US" altLang="zh-TW" dirty="0"/>
              <a:t>1.0</a:t>
            </a:r>
            <a:r>
              <a:rPr lang="zh-TW" altLang="en-US" dirty="0"/>
              <a:t>）。概率最高的單元格被選中，並且它對應的單詞被作為這個時間步的輸出。</a:t>
            </a:r>
          </a:p>
          <a:p>
            <a:endParaRPr lang="zh-TW" altLang="en-US" dirty="0"/>
          </a:p>
        </p:txBody>
      </p:sp>
    </p:spTree>
    <p:custDataLst>
      <p:tags r:id="rId1"/>
    </p:custDataLst>
    <p:extLst>
      <p:ext uri="{BB962C8B-B14F-4D97-AF65-F5344CB8AC3E}">
        <p14:creationId xmlns:p14="http://schemas.microsoft.com/office/powerpoint/2010/main" val="2525874705"/>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4" name="ïṩḷidê">
            <a:extLst>
              <a:ext uri="{FF2B5EF4-FFF2-40B4-BE49-F238E27FC236}">
                <a16:creationId xmlns="" xmlns:p14="http://schemas.microsoft.com/office/powerpoint/2010/main" xmlns:a16="http://schemas.microsoft.com/office/drawing/2014/main" id="{625D0406-0787-4EE6-9393-820D5CE03187}"/>
              </a:ext>
            </a:extLst>
          </p:cNvPr>
          <p:cNvSpPr>
            <a:spLocks noGrp="1"/>
          </p:cNvSpPr>
          <p:nvPr>
            <p:ph type="sldNum" sz="quarter" idx="12"/>
          </p:nvPr>
        </p:nvSpPr>
        <p:spPr/>
        <p:txBody>
          <a:bodyPr/>
          <a:lstStyle/>
          <a:p>
            <a:fld id="{5DD3DB80-B894-403A-B48E-6FDC1A72010E}" type="slidenum">
              <a:rPr lang="zh-CN" altLang="en-US" smtClean="0"/>
              <a:pPr/>
              <a:t>39</a:t>
            </a:fld>
            <a:endParaRPr lang="zh-CN" altLang="en-US"/>
          </a:p>
        </p:txBody>
      </p:sp>
      <p:sp>
        <p:nvSpPr>
          <p:cNvPr id="2" name="íṣľiḑe">
            <a:extLst>
              <a:ext uri="{FF2B5EF4-FFF2-40B4-BE49-F238E27FC236}">
                <a16:creationId xmlns="" xmlns:p14="http://schemas.microsoft.com/office/powerpoint/2010/main" xmlns:a16="http://schemas.microsoft.com/office/drawing/2014/main" id="{8AC4395B-A0A0-4D81-B628-E4F9AB374736}"/>
              </a:ext>
            </a:extLst>
          </p:cNvPr>
          <p:cNvSpPr>
            <a:spLocks noGrp="1"/>
          </p:cNvSpPr>
          <p:nvPr>
            <p:ph type="title"/>
          </p:nvPr>
        </p:nvSpPr>
        <p:spPr/>
        <p:txBody>
          <a:bodyPr/>
          <a:lstStyle/>
          <a:p>
            <a:r>
              <a:rPr lang="en-US" altLang="zh-TW" dirty="0"/>
              <a:t>Transformer- The Final Linear and </a:t>
            </a:r>
            <a:r>
              <a:rPr lang="en-US" altLang="zh-TW" dirty="0" err="1"/>
              <a:t>Softmax</a:t>
            </a:r>
            <a:r>
              <a:rPr lang="en-US" altLang="zh-TW" dirty="0"/>
              <a:t> Layer</a:t>
            </a:r>
          </a:p>
        </p:txBody>
      </p:sp>
      <p:sp>
        <p:nvSpPr>
          <p:cNvPr id="5" name="內容版面配置區 4"/>
          <p:cNvSpPr>
            <a:spLocks noGrp="1"/>
          </p:cNvSpPr>
          <p:nvPr>
            <p:ph sz="quarter" idx="13"/>
          </p:nvPr>
        </p:nvSpPr>
        <p:spPr/>
        <p:txBody>
          <a:bodyPr/>
          <a:lstStyle/>
          <a:p>
            <a:endParaRPr lang="zh-TW" altLang="en-US" dirty="0"/>
          </a:p>
        </p:txBody>
      </p:sp>
      <p:pic>
        <p:nvPicPr>
          <p:cNvPr id="20482" name="Picture 2" descr="E:\Delete\git_r\two_month_report\202011_2021_1\11_31_to_12_4_fifth\img\transformer_decoder_output_softmax.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44936" y="1354906"/>
            <a:ext cx="7360572" cy="4751763"/>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39066344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4" name="ïṩḷidê">
            <a:extLst>
              <a:ext uri="{FF2B5EF4-FFF2-40B4-BE49-F238E27FC236}">
                <a16:creationId xmlns="" xmlns:p14="http://schemas.microsoft.com/office/powerpoint/2010/main" xmlns:a16="http://schemas.microsoft.com/office/drawing/2014/main" id="{625D0406-0787-4EE6-9393-820D5CE03187}"/>
              </a:ext>
            </a:extLst>
          </p:cNvPr>
          <p:cNvSpPr>
            <a:spLocks noGrp="1"/>
          </p:cNvSpPr>
          <p:nvPr>
            <p:ph type="sldNum" sz="quarter" idx="12"/>
          </p:nvPr>
        </p:nvSpPr>
        <p:spPr/>
        <p:txBody>
          <a:bodyPr/>
          <a:lstStyle/>
          <a:p>
            <a:fld id="{5DD3DB80-B894-403A-B48E-6FDC1A72010E}" type="slidenum">
              <a:rPr lang="zh-CN" altLang="en-US" smtClean="0"/>
              <a:pPr/>
              <a:t>4</a:t>
            </a:fld>
            <a:endParaRPr lang="zh-CN" altLang="en-US"/>
          </a:p>
        </p:txBody>
      </p:sp>
      <p:sp>
        <p:nvSpPr>
          <p:cNvPr id="2" name="íṣľiḑe">
            <a:extLst>
              <a:ext uri="{FF2B5EF4-FFF2-40B4-BE49-F238E27FC236}">
                <a16:creationId xmlns="" xmlns:p14="http://schemas.microsoft.com/office/powerpoint/2010/main" xmlns:a16="http://schemas.microsoft.com/office/drawing/2014/main" id="{8AC4395B-A0A0-4D81-B628-E4F9AB374736}"/>
              </a:ext>
            </a:extLst>
          </p:cNvPr>
          <p:cNvSpPr>
            <a:spLocks noGrp="1"/>
          </p:cNvSpPr>
          <p:nvPr>
            <p:ph type="title"/>
          </p:nvPr>
        </p:nvSpPr>
        <p:spPr/>
        <p:txBody>
          <a:bodyPr/>
          <a:lstStyle/>
          <a:p>
            <a:r>
              <a:rPr lang="en-US" altLang="zh-TW" dirty="0" err="1" smtClean="0"/>
              <a:t>rnn</a:t>
            </a:r>
            <a:r>
              <a:rPr lang="en-US" altLang="zh-TW" dirty="0" smtClean="0"/>
              <a:t>/seq2seq</a:t>
            </a:r>
            <a:r>
              <a:rPr lang="zh-TW" altLang="en-US" dirty="0"/>
              <a:t>的問題</a:t>
            </a:r>
            <a:endParaRPr lang="zh-CN" altLang="en-US" dirty="0"/>
          </a:p>
        </p:txBody>
      </p:sp>
      <p:sp>
        <p:nvSpPr>
          <p:cNvPr id="5" name="內容版面配置區 4"/>
          <p:cNvSpPr>
            <a:spLocks noGrp="1"/>
          </p:cNvSpPr>
          <p:nvPr>
            <p:ph sz="quarter" idx="13"/>
          </p:nvPr>
        </p:nvSpPr>
        <p:spPr/>
        <p:txBody>
          <a:bodyPr/>
          <a:lstStyle/>
          <a:p>
            <a:r>
              <a:rPr lang="en-US" altLang="zh-TW" dirty="0"/>
              <a:t>1.Encoder-Decoder</a:t>
            </a:r>
            <a:r>
              <a:rPr lang="zh-TW" altLang="en-US" dirty="0"/>
              <a:t>框架在序列到序列模型中有很廣泛的應用。但該框架有個潛在的問題就出在編碼器產生的源語言上下文向量</a:t>
            </a:r>
            <a:r>
              <a:rPr lang="en-US" altLang="zh-TW" dirty="0"/>
              <a:t>c</a:t>
            </a:r>
            <a:r>
              <a:rPr lang="zh-TW" altLang="en-US" dirty="0"/>
              <a:t>上了，一般來說</a:t>
            </a:r>
            <a:r>
              <a:rPr lang="en-US" altLang="zh-TW" dirty="0"/>
              <a:t>c</a:t>
            </a:r>
            <a:r>
              <a:rPr lang="zh-TW" altLang="en-US" dirty="0"/>
              <a:t>向量具有兩個局限性，</a:t>
            </a:r>
          </a:p>
          <a:p>
            <a:r>
              <a:rPr lang="zh-TW" altLang="en-US" dirty="0"/>
              <a:t>第一個是當輸入序列很長的時候，通過循環網絡產生的</a:t>
            </a:r>
            <a:r>
              <a:rPr lang="en-US" altLang="zh-TW" dirty="0"/>
              <a:t>c</a:t>
            </a:r>
            <a:r>
              <a:rPr lang="zh-TW" altLang="en-US" dirty="0"/>
              <a:t>向量很難表達整句的信息，而是偏向於表達離序列結尾近的信息；另一方面，由於在機器翻譯的過程中，需要明確目標語言詞匯與源語言詞匯的大致對應關系，這樣如果所有的解碼都用同一個上下文</a:t>
            </a:r>
            <a:r>
              <a:rPr lang="en-US" altLang="zh-TW" dirty="0"/>
              <a:t>c</a:t>
            </a:r>
            <a:r>
              <a:rPr lang="zh-TW" altLang="en-US" dirty="0"/>
              <a:t>向量，就很難表現出源語言詞匯的具體貢獻情況</a:t>
            </a:r>
          </a:p>
          <a:p>
            <a:endParaRPr lang="zh-TW" altLang="en-US" dirty="0"/>
          </a:p>
        </p:txBody>
      </p:sp>
      <p:pic>
        <p:nvPicPr>
          <p:cNvPr id="4098" name="Picture 2" descr="E:\Delete\git_r\two_month_report\202011_2021_1\11_31_to_12_4_fifth\img\seq-seq.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95477" y="2836457"/>
            <a:ext cx="6858000" cy="3790950"/>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804638150"/>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en-US" altLang="zh-CN" smtClean="0"/>
              <a:t>www.islide.cc</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40</a:t>
            </a:fld>
            <a:endParaRPr lang="zh-CN" altLang="en-US"/>
          </a:p>
        </p:txBody>
      </p:sp>
      <p:sp>
        <p:nvSpPr>
          <p:cNvPr id="4" name="標題 3"/>
          <p:cNvSpPr>
            <a:spLocks noGrp="1"/>
          </p:cNvSpPr>
          <p:nvPr>
            <p:ph type="title"/>
          </p:nvPr>
        </p:nvSpPr>
        <p:spPr/>
        <p:txBody>
          <a:bodyPr/>
          <a:lstStyle/>
          <a:p>
            <a:r>
              <a:rPr lang="en-US" altLang="zh-TW" dirty="0"/>
              <a:t>Transformer- Feed Forward</a:t>
            </a:r>
            <a:endParaRPr lang="zh-TW" altLang="en-US" dirty="0"/>
          </a:p>
        </p:txBody>
      </p:sp>
      <p:sp>
        <p:nvSpPr>
          <p:cNvPr id="5" name="內容版面配置區 4"/>
          <p:cNvSpPr>
            <a:spLocks noGrp="1"/>
          </p:cNvSpPr>
          <p:nvPr>
            <p:ph sz="quarter" idx="13"/>
          </p:nvPr>
        </p:nvSpPr>
        <p:spPr/>
        <p:txBody>
          <a:bodyPr/>
          <a:lstStyle/>
          <a:p>
            <a:r>
              <a:rPr lang="en-US" altLang="zh-TW" dirty="0"/>
              <a:t>Transformer</a:t>
            </a:r>
            <a:r>
              <a:rPr lang="zh-TW" altLang="en-US" dirty="0"/>
              <a:t>中的</a:t>
            </a:r>
            <a:r>
              <a:rPr lang="en-US" altLang="zh-TW" dirty="0"/>
              <a:t>feed forward</a:t>
            </a:r>
            <a:r>
              <a:rPr lang="zh-TW" altLang="en-US" dirty="0"/>
              <a:t>網絡可以理解為兩個連續的線性變換，這兩個變換中間是一個</a:t>
            </a:r>
            <a:r>
              <a:rPr lang="en-US" altLang="zh-TW" dirty="0" err="1"/>
              <a:t>ReLU</a:t>
            </a:r>
            <a:r>
              <a:rPr lang="zh-TW" altLang="en-US" dirty="0"/>
              <a:t>激活函數：</a:t>
            </a:r>
          </a:p>
        </p:txBody>
      </p:sp>
      <p:pic>
        <p:nvPicPr>
          <p:cNvPr id="21506" name="Picture 2" descr="E:\Delete\git_r\two_month_report\202011_2021_1\11_31_to_12_4_fifth\img\tansformer-ffn-formula.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94468" y="2218623"/>
            <a:ext cx="6508254" cy="907347"/>
          </a:xfrm>
          <a:prstGeom prst="rect">
            <a:avLst/>
          </a:prstGeom>
          <a:noFill/>
          <a:extLst>
            <a:ext uri="{909E8E84-426E-40DD-AFC4-6F175D3DCCD1}">
              <a14:hiddenFill xmlns:a14="http://schemas.microsoft.com/office/drawing/2010/main">
                <a:solidFill>
                  <a:srgbClr val="FFFFFF"/>
                </a:solidFill>
              </a14:hiddenFill>
            </a:ext>
          </a:extLst>
        </p:spPr>
      </p:pic>
      <p:grpSp>
        <p:nvGrpSpPr>
          <p:cNvPr id="7" name="c1ca4907-58a4-4bf3-8c0c-2509acb70dc3"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2"/>
            </p:custDataLst>
          </p:nvPr>
        </p:nvGrpSpPr>
        <p:grpSpPr>
          <a:xfrm>
            <a:off x="4588933" y="3924208"/>
            <a:ext cx="2714626" cy="2020947"/>
            <a:chOff x="2795588" y="974725"/>
            <a:chExt cx="6597650" cy="4911726"/>
          </a:xfrm>
        </p:grpSpPr>
        <p:sp>
          <p:nvSpPr>
            <p:cNvPr id="8" name="íŝľïḍè">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D65411B2-B4B3-4A4C-AC62-8E35406CFB9F}"/>
                </a:ext>
              </a:extLst>
            </p:cNvPr>
            <p:cNvSpPr/>
            <p:nvPr/>
          </p:nvSpPr>
          <p:spPr bwMode="auto">
            <a:xfrm>
              <a:off x="2795588" y="5292725"/>
              <a:ext cx="6597650" cy="3175"/>
            </a:xfrm>
            <a:prstGeom prst="rect">
              <a:avLst/>
            </a:prstGeom>
            <a:solidFill>
              <a:srgbClr val="D1E3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9" name="íS1ïḋ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F61098BA-2E3B-41B7-910A-08186908B7E7}"/>
                </a:ext>
              </a:extLst>
            </p:cNvPr>
            <p:cNvSpPr/>
            <p:nvPr/>
          </p:nvSpPr>
          <p:spPr bwMode="auto">
            <a:xfrm>
              <a:off x="3478213" y="5448300"/>
              <a:ext cx="715963" cy="3175"/>
            </a:xfrm>
            <a:prstGeom prst="rect">
              <a:avLst/>
            </a:prstGeom>
            <a:solidFill>
              <a:srgbClr val="D1E3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0" name="i$ḷïdé">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6B059997-46FA-49AE-9903-3589AC608184}"/>
                </a:ext>
              </a:extLst>
            </p:cNvPr>
            <p:cNvSpPr/>
            <p:nvPr/>
          </p:nvSpPr>
          <p:spPr bwMode="auto">
            <a:xfrm>
              <a:off x="5837238" y="5375275"/>
              <a:ext cx="269875" cy="3175"/>
            </a:xfrm>
            <a:prstGeom prst="rect">
              <a:avLst/>
            </a:prstGeom>
            <a:solidFill>
              <a:srgbClr val="D1E3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 name="ïŝľïḑè">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577F733F-AA04-4F00-AA67-5772B3FEFCFD}"/>
                </a:ext>
              </a:extLst>
            </p:cNvPr>
            <p:cNvSpPr/>
            <p:nvPr/>
          </p:nvSpPr>
          <p:spPr bwMode="auto">
            <a:xfrm>
              <a:off x="4791076" y="5375275"/>
              <a:ext cx="396875" cy="3175"/>
            </a:xfrm>
            <a:prstGeom prst="rect">
              <a:avLst/>
            </a:prstGeom>
            <a:solidFill>
              <a:srgbClr val="D1E3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2" name="íṣľîd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7F7715CE-303A-4452-A160-F1762E645048}"/>
                </a:ext>
              </a:extLst>
            </p:cNvPr>
            <p:cNvSpPr/>
            <p:nvPr/>
          </p:nvSpPr>
          <p:spPr bwMode="auto">
            <a:xfrm>
              <a:off x="7618413" y="5414963"/>
              <a:ext cx="838200" cy="3175"/>
            </a:xfrm>
            <a:prstGeom prst="rect">
              <a:avLst/>
            </a:prstGeom>
            <a:solidFill>
              <a:srgbClr val="D1E3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3" name="îṥḻiḋè">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4F6ABF75-0F08-4EEF-9275-53DCF51FA5C8}"/>
                </a:ext>
              </a:extLst>
            </p:cNvPr>
            <p:cNvSpPr/>
            <p:nvPr/>
          </p:nvSpPr>
          <p:spPr bwMode="auto">
            <a:xfrm>
              <a:off x="5764213" y="5414963"/>
              <a:ext cx="188913" cy="3175"/>
            </a:xfrm>
            <a:prstGeom prst="rect">
              <a:avLst/>
            </a:prstGeom>
            <a:solidFill>
              <a:srgbClr val="D1E3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4" name="ïṧḻîḓ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36E2307B-D59D-4AB7-B8C0-5E460377A233}"/>
                </a:ext>
              </a:extLst>
            </p:cNvPr>
            <p:cNvSpPr/>
            <p:nvPr/>
          </p:nvSpPr>
          <p:spPr bwMode="auto">
            <a:xfrm>
              <a:off x="4322763" y="5448300"/>
              <a:ext cx="174625" cy="3175"/>
            </a:xfrm>
            <a:prstGeom prst="rect">
              <a:avLst/>
            </a:prstGeom>
            <a:solidFill>
              <a:srgbClr val="D1E3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5" name="íṩḷîḓé">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DBA73590-4511-4D49-9E5B-98BF0A5E8E53}"/>
                </a:ext>
              </a:extLst>
            </p:cNvPr>
            <p:cNvSpPr/>
            <p:nvPr/>
          </p:nvSpPr>
          <p:spPr bwMode="auto">
            <a:xfrm>
              <a:off x="8561388" y="5414963"/>
              <a:ext cx="112713" cy="3175"/>
            </a:xfrm>
            <a:prstGeom prst="rect">
              <a:avLst/>
            </a:prstGeom>
            <a:solidFill>
              <a:srgbClr val="D1E3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6" name="ïśļíḍ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551D22EF-4238-4B07-AA24-FB06B908C83D}"/>
                </a:ext>
              </a:extLst>
            </p:cNvPr>
            <p:cNvSpPr/>
            <p:nvPr/>
          </p:nvSpPr>
          <p:spPr bwMode="auto">
            <a:xfrm>
              <a:off x="3300413" y="974725"/>
              <a:ext cx="2698750" cy="3727450"/>
            </a:xfrm>
            <a:custGeom>
              <a:avLst/>
              <a:gdLst>
                <a:gd name="T0" fmla="*/ 795 w 818"/>
                <a:gd name="T1" fmla="*/ 1131 h 1131"/>
                <a:gd name="T2" fmla="*/ 23 w 818"/>
                <a:gd name="T3" fmla="*/ 1131 h 1131"/>
                <a:gd name="T4" fmla="*/ 0 w 818"/>
                <a:gd name="T5" fmla="*/ 1108 h 1131"/>
                <a:gd name="T6" fmla="*/ 0 w 818"/>
                <a:gd name="T7" fmla="*/ 23 h 1131"/>
                <a:gd name="T8" fmla="*/ 23 w 818"/>
                <a:gd name="T9" fmla="*/ 0 h 1131"/>
                <a:gd name="T10" fmla="*/ 795 w 818"/>
                <a:gd name="T11" fmla="*/ 0 h 1131"/>
                <a:gd name="T12" fmla="*/ 818 w 818"/>
                <a:gd name="T13" fmla="*/ 23 h 1131"/>
                <a:gd name="T14" fmla="*/ 818 w 818"/>
                <a:gd name="T15" fmla="*/ 1108 h 1131"/>
                <a:gd name="T16" fmla="*/ 795 w 818"/>
                <a:gd name="T17" fmla="*/ 1131 h 1131"/>
                <a:gd name="T18" fmla="*/ 23 w 818"/>
                <a:gd name="T19" fmla="*/ 1 h 1131"/>
                <a:gd name="T20" fmla="*/ 1 w 818"/>
                <a:gd name="T21" fmla="*/ 23 h 1131"/>
                <a:gd name="T22" fmla="*/ 1 w 818"/>
                <a:gd name="T23" fmla="*/ 1108 h 1131"/>
                <a:gd name="T24" fmla="*/ 23 w 818"/>
                <a:gd name="T25" fmla="*/ 1130 h 1131"/>
                <a:gd name="T26" fmla="*/ 795 w 818"/>
                <a:gd name="T27" fmla="*/ 1130 h 1131"/>
                <a:gd name="T28" fmla="*/ 817 w 818"/>
                <a:gd name="T29" fmla="*/ 1108 h 1131"/>
                <a:gd name="T30" fmla="*/ 817 w 818"/>
                <a:gd name="T31" fmla="*/ 23 h 1131"/>
                <a:gd name="T32" fmla="*/ 795 w 818"/>
                <a:gd name="T33" fmla="*/ 1 h 1131"/>
                <a:gd name="T34" fmla="*/ 23 w 818"/>
                <a:gd name="T35" fmla="*/ 1 h 1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18" h="1131">
                  <a:moveTo>
                    <a:pt x="795" y="1131"/>
                  </a:moveTo>
                  <a:cubicBezTo>
                    <a:pt x="23" y="1131"/>
                    <a:pt x="23" y="1131"/>
                    <a:pt x="23" y="1131"/>
                  </a:cubicBezTo>
                  <a:cubicBezTo>
                    <a:pt x="10" y="1131"/>
                    <a:pt x="0" y="1121"/>
                    <a:pt x="0" y="1108"/>
                  </a:cubicBezTo>
                  <a:cubicBezTo>
                    <a:pt x="0" y="23"/>
                    <a:pt x="0" y="23"/>
                    <a:pt x="0" y="23"/>
                  </a:cubicBezTo>
                  <a:cubicBezTo>
                    <a:pt x="0" y="10"/>
                    <a:pt x="10" y="0"/>
                    <a:pt x="23" y="0"/>
                  </a:cubicBezTo>
                  <a:cubicBezTo>
                    <a:pt x="795" y="0"/>
                    <a:pt x="795" y="0"/>
                    <a:pt x="795" y="0"/>
                  </a:cubicBezTo>
                  <a:cubicBezTo>
                    <a:pt x="808" y="0"/>
                    <a:pt x="818" y="10"/>
                    <a:pt x="818" y="23"/>
                  </a:cubicBezTo>
                  <a:cubicBezTo>
                    <a:pt x="818" y="1108"/>
                    <a:pt x="818" y="1108"/>
                    <a:pt x="818" y="1108"/>
                  </a:cubicBezTo>
                  <a:cubicBezTo>
                    <a:pt x="818" y="1121"/>
                    <a:pt x="808" y="1131"/>
                    <a:pt x="795" y="1131"/>
                  </a:cubicBezTo>
                  <a:moveTo>
                    <a:pt x="23" y="1"/>
                  </a:moveTo>
                  <a:cubicBezTo>
                    <a:pt x="11" y="1"/>
                    <a:pt x="1" y="11"/>
                    <a:pt x="1" y="23"/>
                  </a:cubicBezTo>
                  <a:cubicBezTo>
                    <a:pt x="1" y="1108"/>
                    <a:pt x="1" y="1108"/>
                    <a:pt x="1" y="1108"/>
                  </a:cubicBezTo>
                  <a:cubicBezTo>
                    <a:pt x="1" y="1120"/>
                    <a:pt x="11" y="1130"/>
                    <a:pt x="23" y="1130"/>
                  </a:cubicBezTo>
                  <a:cubicBezTo>
                    <a:pt x="795" y="1130"/>
                    <a:pt x="795" y="1130"/>
                    <a:pt x="795" y="1130"/>
                  </a:cubicBezTo>
                  <a:cubicBezTo>
                    <a:pt x="807" y="1130"/>
                    <a:pt x="817" y="1120"/>
                    <a:pt x="817" y="1108"/>
                  </a:cubicBezTo>
                  <a:cubicBezTo>
                    <a:pt x="817" y="23"/>
                    <a:pt x="817" y="23"/>
                    <a:pt x="817" y="23"/>
                  </a:cubicBezTo>
                  <a:cubicBezTo>
                    <a:pt x="817" y="11"/>
                    <a:pt x="807" y="1"/>
                    <a:pt x="795" y="1"/>
                  </a:cubicBezTo>
                  <a:cubicBezTo>
                    <a:pt x="23" y="1"/>
                    <a:pt x="23" y="1"/>
                    <a:pt x="23" y="1"/>
                  </a:cubicBezTo>
                </a:path>
              </a:pathLst>
            </a:custGeom>
            <a:solidFill>
              <a:srgbClr val="D1E3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 name="íṥ1iḍé">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D505E754-A8DA-49EE-8243-2FC4222833D5}"/>
                </a:ext>
              </a:extLst>
            </p:cNvPr>
            <p:cNvSpPr/>
            <p:nvPr/>
          </p:nvSpPr>
          <p:spPr bwMode="auto">
            <a:xfrm>
              <a:off x="6153151" y="974725"/>
              <a:ext cx="2698750" cy="3727450"/>
            </a:xfrm>
            <a:custGeom>
              <a:avLst/>
              <a:gdLst>
                <a:gd name="T0" fmla="*/ 795 w 818"/>
                <a:gd name="T1" fmla="*/ 1131 h 1131"/>
                <a:gd name="T2" fmla="*/ 23 w 818"/>
                <a:gd name="T3" fmla="*/ 1131 h 1131"/>
                <a:gd name="T4" fmla="*/ 0 w 818"/>
                <a:gd name="T5" fmla="*/ 1108 h 1131"/>
                <a:gd name="T6" fmla="*/ 0 w 818"/>
                <a:gd name="T7" fmla="*/ 23 h 1131"/>
                <a:gd name="T8" fmla="*/ 23 w 818"/>
                <a:gd name="T9" fmla="*/ 0 h 1131"/>
                <a:gd name="T10" fmla="*/ 795 w 818"/>
                <a:gd name="T11" fmla="*/ 0 h 1131"/>
                <a:gd name="T12" fmla="*/ 818 w 818"/>
                <a:gd name="T13" fmla="*/ 23 h 1131"/>
                <a:gd name="T14" fmla="*/ 818 w 818"/>
                <a:gd name="T15" fmla="*/ 1108 h 1131"/>
                <a:gd name="T16" fmla="*/ 795 w 818"/>
                <a:gd name="T17" fmla="*/ 1131 h 1131"/>
                <a:gd name="T18" fmla="*/ 23 w 818"/>
                <a:gd name="T19" fmla="*/ 1 h 1131"/>
                <a:gd name="T20" fmla="*/ 1 w 818"/>
                <a:gd name="T21" fmla="*/ 23 h 1131"/>
                <a:gd name="T22" fmla="*/ 1 w 818"/>
                <a:gd name="T23" fmla="*/ 1108 h 1131"/>
                <a:gd name="T24" fmla="*/ 23 w 818"/>
                <a:gd name="T25" fmla="*/ 1130 h 1131"/>
                <a:gd name="T26" fmla="*/ 795 w 818"/>
                <a:gd name="T27" fmla="*/ 1130 h 1131"/>
                <a:gd name="T28" fmla="*/ 817 w 818"/>
                <a:gd name="T29" fmla="*/ 1108 h 1131"/>
                <a:gd name="T30" fmla="*/ 817 w 818"/>
                <a:gd name="T31" fmla="*/ 23 h 1131"/>
                <a:gd name="T32" fmla="*/ 795 w 818"/>
                <a:gd name="T33" fmla="*/ 1 h 1131"/>
                <a:gd name="T34" fmla="*/ 23 w 818"/>
                <a:gd name="T35" fmla="*/ 1 h 1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18" h="1131">
                  <a:moveTo>
                    <a:pt x="795" y="1131"/>
                  </a:moveTo>
                  <a:cubicBezTo>
                    <a:pt x="23" y="1131"/>
                    <a:pt x="23" y="1131"/>
                    <a:pt x="23" y="1131"/>
                  </a:cubicBezTo>
                  <a:cubicBezTo>
                    <a:pt x="10" y="1131"/>
                    <a:pt x="0" y="1121"/>
                    <a:pt x="0" y="1108"/>
                  </a:cubicBezTo>
                  <a:cubicBezTo>
                    <a:pt x="0" y="23"/>
                    <a:pt x="0" y="23"/>
                    <a:pt x="0" y="23"/>
                  </a:cubicBezTo>
                  <a:cubicBezTo>
                    <a:pt x="0" y="10"/>
                    <a:pt x="10" y="0"/>
                    <a:pt x="23" y="0"/>
                  </a:cubicBezTo>
                  <a:cubicBezTo>
                    <a:pt x="795" y="0"/>
                    <a:pt x="795" y="0"/>
                    <a:pt x="795" y="0"/>
                  </a:cubicBezTo>
                  <a:cubicBezTo>
                    <a:pt x="808" y="0"/>
                    <a:pt x="818" y="10"/>
                    <a:pt x="818" y="23"/>
                  </a:cubicBezTo>
                  <a:cubicBezTo>
                    <a:pt x="818" y="1108"/>
                    <a:pt x="818" y="1108"/>
                    <a:pt x="818" y="1108"/>
                  </a:cubicBezTo>
                  <a:cubicBezTo>
                    <a:pt x="818" y="1121"/>
                    <a:pt x="808" y="1131"/>
                    <a:pt x="795" y="1131"/>
                  </a:cubicBezTo>
                  <a:close/>
                  <a:moveTo>
                    <a:pt x="23" y="1"/>
                  </a:moveTo>
                  <a:cubicBezTo>
                    <a:pt x="11" y="1"/>
                    <a:pt x="1" y="11"/>
                    <a:pt x="1" y="23"/>
                  </a:cubicBezTo>
                  <a:cubicBezTo>
                    <a:pt x="1" y="1108"/>
                    <a:pt x="1" y="1108"/>
                    <a:pt x="1" y="1108"/>
                  </a:cubicBezTo>
                  <a:cubicBezTo>
                    <a:pt x="1" y="1120"/>
                    <a:pt x="11" y="1130"/>
                    <a:pt x="23" y="1130"/>
                  </a:cubicBezTo>
                  <a:cubicBezTo>
                    <a:pt x="795" y="1130"/>
                    <a:pt x="795" y="1130"/>
                    <a:pt x="795" y="1130"/>
                  </a:cubicBezTo>
                  <a:cubicBezTo>
                    <a:pt x="807" y="1130"/>
                    <a:pt x="817" y="1120"/>
                    <a:pt x="817" y="1108"/>
                  </a:cubicBezTo>
                  <a:cubicBezTo>
                    <a:pt x="817" y="23"/>
                    <a:pt x="817" y="23"/>
                    <a:pt x="817" y="23"/>
                  </a:cubicBezTo>
                  <a:cubicBezTo>
                    <a:pt x="817" y="11"/>
                    <a:pt x="807" y="1"/>
                    <a:pt x="795" y="1"/>
                  </a:cubicBezTo>
                  <a:lnTo>
                    <a:pt x="23" y="1"/>
                  </a:lnTo>
                  <a:close/>
                </a:path>
              </a:pathLst>
            </a:custGeom>
            <a:solidFill>
              <a:srgbClr val="D1E3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 name="ïŝ1iḋé">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34076AAF-0FC7-4991-8291-64C92DA85641}"/>
                </a:ext>
              </a:extLst>
            </p:cNvPr>
            <p:cNvSpPr/>
            <p:nvPr/>
          </p:nvSpPr>
          <p:spPr bwMode="auto">
            <a:xfrm>
              <a:off x="5292726" y="1376363"/>
              <a:ext cx="2943225" cy="1708150"/>
            </a:xfrm>
            <a:prstGeom prst="rect">
              <a:avLst/>
            </a:prstGeom>
            <a:solidFill>
              <a:srgbClr val="D1E3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 name="íṧḻídè">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D50597BD-719A-477F-8A96-4D672912837D}"/>
                </a:ext>
              </a:extLst>
            </p:cNvPr>
            <p:cNvSpPr/>
            <p:nvPr/>
          </p:nvSpPr>
          <p:spPr bwMode="auto">
            <a:xfrm>
              <a:off x="5292726" y="1376363"/>
              <a:ext cx="2943225" cy="170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0" name="îśḻíḍ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58735E3C-CB0F-41D9-B04D-8FB01EFD8191}"/>
                </a:ext>
              </a:extLst>
            </p:cNvPr>
            <p:cNvSpPr/>
            <p:nvPr/>
          </p:nvSpPr>
          <p:spPr bwMode="auto">
            <a:xfrm>
              <a:off x="5332413" y="1376363"/>
              <a:ext cx="2941638" cy="1708150"/>
            </a:xfrm>
            <a:prstGeom prst="rect">
              <a:avLst/>
            </a:prstGeom>
            <a:solidFill>
              <a:srgbClr val="F3F8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1" name="îšḻïďé">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8A12B4B2-F19B-4750-B13B-5FBA0A58D57D}"/>
                </a:ext>
              </a:extLst>
            </p:cNvPr>
            <p:cNvSpPr/>
            <p:nvPr/>
          </p:nvSpPr>
          <p:spPr bwMode="auto">
            <a:xfrm>
              <a:off x="5332413" y="1376363"/>
              <a:ext cx="2941638" cy="170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2" name="íś1ïḓ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558F6A3C-5590-47CB-981D-0D7DEF0C5A89}"/>
                </a:ext>
              </a:extLst>
            </p:cNvPr>
            <p:cNvSpPr/>
            <p:nvPr/>
          </p:nvSpPr>
          <p:spPr bwMode="auto">
            <a:xfrm>
              <a:off x="5405438" y="1458913"/>
              <a:ext cx="2797175" cy="15462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3" name="íṧľiḑ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8178E331-74CC-4CB2-BB4F-49B139253A61}"/>
                </a:ext>
              </a:extLst>
            </p:cNvPr>
            <p:cNvSpPr/>
            <p:nvPr/>
          </p:nvSpPr>
          <p:spPr bwMode="auto">
            <a:xfrm>
              <a:off x="5405438" y="1458913"/>
              <a:ext cx="2797175" cy="154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4" name="iśliḋ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EB299824-78AE-4532-A701-F9E535A8040B}"/>
                </a:ext>
              </a:extLst>
            </p:cNvPr>
            <p:cNvSpPr/>
            <p:nvPr/>
          </p:nvSpPr>
          <p:spPr bwMode="auto">
            <a:xfrm>
              <a:off x="8172451" y="1458913"/>
              <a:ext cx="30163" cy="1546225"/>
            </a:xfrm>
            <a:prstGeom prst="rect">
              <a:avLst/>
            </a:prstGeom>
            <a:solidFill>
              <a:srgbClr val="D1E3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5" name="ïślíḑ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660D79B5-F106-409B-B69B-2664884E96FC}"/>
                </a:ext>
              </a:extLst>
            </p:cNvPr>
            <p:cNvSpPr/>
            <p:nvPr/>
          </p:nvSpPr>
          <p:spPr bwMode="auto">
            <a:xfrm>
              <a:off x="5362576" y="2524125"/>
              <a:ext cx="2882900" cy="109538"/>
            </a:xfrm>
            <a:prstGeom prst="rect">
              <a:avLst/>
            </a:prstGeom>
            <a:solidFill>
              <a:srgbClr val="F3F8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6" name="is1ïḑè">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1D9CB42D-6E61-49DF-B501-3135B3CCC686}"/>
                </a:ext>
              </a:extLst>
            </p:cNvPr>
            <p:cNvSpPr/>
            <p:nvPr/>
          </p:nvSpPr>
          <p:spPr bwMode="auto">
            <a:xfrm>
              <a:off x="5362576" y="2524125"/>
              <a:ext cx="2882900" cy="109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7" name="ï$ḷíḓ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246C7EC8-F8C2-4BF0-B90B-8C550A61B9E1}"/>
                </a:ext>
              </a:extLst>
            </p:cNvPr>
            <p:cNvSpPr/>
            <p:nvPr/>
          </p:nvSpPr>
          <p:spPr bwMode="auto">
            <a:xfrm>
              <a:off x="5653088" y="4152900"/>
              <a:ext cx="481013" cy="1071563"/>
            </a:xfrm>
            <a:prstGeom prst="rect">
              <a:avLst/>
            </a:prstGeom>
            <a:solidFill>
              <a:srgbClr val="E3EE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8" name="îṩḻiḋè">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28EDA449-3557-4B40-B0FD-CB7ED5618E5F}"/>
                </a:ext>
              </a:extLst>
            </p:cNvPr>
            <p:cNvSpPr/>
            <p:nvPr/>
          </p:nvSpPr>
          <p:spPr bwMode="auto">
            <a:xfrm>
              <a:off x="5745163" y="5224463"/>
              <a:ext cx="2124075" cy="68263"/>
            </a:xfrm>
            <a:prstGeom prst="rect">
              <a:avLst/>
            </a:prstGeom>
            <a:solidFill>
              <a:srgbClr val="E3EE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9" name="ïṥļïd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DAF8C2E4-683F-497F-99DC-720721F62841}"/>
                </a:ext>
              </a:extLst>
            </p:cNvPr>
            <p:cNvSpPr/>
            <p:nvPr/>
          </p:nvSpPr>
          <p:spPr bwMode="auto">
            <a:xfrm>
              <a:off x="6134101" y="4152900"/>
              <a:ext cx="1827213" cy="1071563"/>
            </a:xfrm>
            <a:prstGeom prst="rect">
              <a:avLst/>
            </a:prstGeom>
            <a:solidFill>
              <a:srgbClr val="F3F8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0" name="ïṩļïďé">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CFE21E05-EC70-48D4-A9BC-B81AD8748DBA}"/>
                </a:ext>
              </a:extLst>
            </p:cNvPr>
            <p:cNvSpPr/>
            <p:nvPr/>
          </p:nvSpPr>
          <p:spPr bwMode="auto">
            <a:xfrm>
              <a:off x="6324601" y="4284663"/>
              <a:ext cx="1449388" cy="352425"/>
            </a:xfrm>
            <a:prstGeom prst="rect">
              <a:avLst/>
            </a:prstGeom>
            <a:solidFill>
              <a:srgbClr val="E3EE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1" name="îşḷïḓé">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13293A21-C682-42DD-B878-DEBCAF32D7F3}"/>
                </a:ext>
              </a:extLst>
            </p:cNvPr>
            <p:cNvSpPr/>
            <p:nvPr/>
          </p:nvSpPr>
          <p:spPr bwMode="auto">
            <a:xfrm>
              <a:off x="6324601" y="4741863"/>
              <a:ext cx="1449388" cy="349250"/>
            </a:xfrm>
            <a:prstGeom prst="rect">
              <a:avLst/>
            </a:prstGeom>
            <a:solidFill>
              <a:srgbClr val="E3EE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2" name="ïṡ1ïḋè">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3F84C22E-A1C5-4FCE-8257-F0216CBC77C4}"/>
                </a:ext>
              </a:extLst>
            </p:cNvPr>
            <p:cNvSpPr/>
            <p:nvPr/>
          </p:nvSpPr>
          <p:spPr bwMode="auto">
            <a:xfrm>
              <a:off x="6810376" y="4435475"/>
              <a:ext cx="474663" cy="49213"/>
            </a:xfrm>
            <a:custGeom>
              <a:avLst/>
              <a:gdLst>
                <a:gd name="T0" fmla="*/ 138 w 144"/>
                <a:gd name="T1" fmla="*/ 15 h 15"/>
                <a:gd name="T2" fmla="*/ 6 w 144"/>
                <a:gd name="T3" fmla="*/ 15 h 15"/>
                <a:gd name="T4" fmla="*/ 0 w 144"/>
                <a:gd name="T5" fmla="*/ 8 h 15"/>
                <a:gd name="T6" fmla="*/ 0 w 144"/>
                <a:gd name="T7" fmla="*/ 7 h 15"/>
                <a:gd name="T8" fmla="*/ 6 w 144"/>
                <a:gd name="T9" fmla="*/ 0 h 15"/>
                <a:gd name="T10" fmla="*/ 138 w 144"/>
                <a:gd name="T11" fmla="*/ 0 h 15"/>
                <a:gd name="T12" fmla="*/ 144 w 144"/>
                <a:gd name="T13" fmla="*/ 7 h 15"/>
                <a:gd name="T14" fmla="*/ 144 w 144"/>
                <a:gd name="T15" fmla="*/ 8 h 15"/>
                <a:gd name="T16" fmla="*/ 138 w 144"/>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 h="15">
                  <a:moveTo>
                    <a:pt x="138" y="15"/>
                  </a:moveTo>
                  <a:cubicBezTo>
                    <a:pt x="6" y="15"/>
                    <a:pt x="6" y="15"/>
                    <a:pt x="6" y="15"/>
                  </a:cubicBezTo>
                  <a:cubicBezTo>
                    <a:pt x="3" y="15"/>
                    <a:pt x="0" y="12"/>
                    <a:pt x="0" y="8"/>
                  </a:cubicBezTo>
                  <a:cubicBezTo>
                    <a:pt x="0" y="7"/>
                    <a:pt x="0" y="7"/>
                    <a:pt x="0" y="7"/>
                  </a:cubicBezTo>
                  <a:cubicBezTo>
                    <a:pt x="0" y="3"/>
                    <a:pt x="3" y="0"/>
                    <a:pt x="6" y="0"/>
                  </a:cubicBezTo>
                  <a:cubicBezTo>
                    <a:pt x="138" y="0"/>
                    <a:pt x="138" y="0"/>
                    <a:pt x="138" y="0"/>
                  </a:cubicBezTo>
                  <a:cubicBezTo>
                    <a:pt x="142" y="0"/>
                    <a:pt x="144" y="3"/>
                    <a:pt x="144" y="7"/>
                  </a:cubicBezTo>
                  <a:cubicBezTo>
                    <a:pt x="144" y="8"/>
                    <a:pt x="144" y="8"/>
                    <a:pt x="144" y="8"/>
                  </a:cubicBezTo>
                  <a:cubicBezTo>
                    <a:pt x="144" y="12"/>
                    <a:pt x="142" y="15"/>
                    <a:pt x="138" y="15"/>
                  </a:cubicBezTo>
                  <a:close/>
                </a:path>
              </a:pathLst>
            </a:custGeom>
            <a:solidFill>
              <a:srgbClr val="F3F8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íšļiḍ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1433C5B6-993A-4ED6-BE36-8BB36BFD8C96}"/>
                </a:ext>
              </a:extLst>
            </p:cNvPr>
            <p:cNvSpPr/>
            <p:nvPr/>
          </p:nvSpPr>
          <p:spPr bwMode="auto">
            <a:xfrm>
              <a:off x="6810376" y="4894263"/>
              <a:ext cx="474663" cy="46038"/>
            </a:xfrm>
            <a:custGeom>
              <a:avLst/>
              <a:gdLst>
                <a:gd name="T0" fmla="*/ 138 w 144"/>
                <a:gd name="T1" fmla="*/ 14 h 14"/>
                <a:gd name="T2" fmla="*/ 6 w 144"/>
                <a:gd name="T3" fmla="*/ 14 h 14"/>
                <a:gd name="T4" fmla="*/ 0 w 144"/>
                <a:gd name="T5" fmla="*/ 8 h 14"/>
                <a:gd name="T6" fmla="*/ 0 w 144"/>
                <a:gd name="T7" fmla="*/ 6 h 14"/>
                <a:gd name="T8" fmla="*/ 6 w 144"/>
                <a:gd name="T9" fmla="*/ 0 h 14"/>
                <a:gd name="T10" fmla="*/ 138 w 144"/>
                <a:gd name="T11" fmla="*/ 0 h 14"/>
                <a:gd name="T12" fmla="*/ 144 w 144"/>
                <a:gd name="T13" fmla="*/ 6 h 14"/>
                <a:gd name="T14" fmla="*/ 144 w 144"/>
                <a:gd name="T15" fmla="*/ 8 h 14"/>
                <a:gd name="T16" fmla="*/ 138 w 144"/>
                <a:gd name="T1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 h="14">
                  <a:moveTo>
                    <a:pt x="138" y="14"/>
                  </a:moveTo>
                  <a:cubicBezTo>
                    <a:pt x="6" y="14"/>
                    <a:pt x="6" y="14"/>
                    <a:pt x="6" y="14"/>
                  </a:cubicBezTo>
                  <a:cubicBezTo>
                    <a:pt x="3" y="14"/>
                    <a:pt x="0" y="11"/>
                    <a:pt x="0" y="8"/>
                  </a:cubicBezTo>
                  <a:cubicBezTo>
                    <a:pt x="0" y="6"/>
                    <a:pt x="0" y="6"/>
                    <a:pt x="0" y="6"/>
                  </a:cubicBezTo>
                  <a:cubicBezTo>
                    <a:pt x="0" y="2"/>
                    <a:pt x="3" y="0"/>
                    <a:pt x="6" y="0"/>
                  </a:cubicBezTo>
                  <a:cubicBezTo>
                    <a:pt x="138" y="0"/>
                    <a:pt x="138" y="0"/>
                    <a:pt x="138" y="0"/>
                  </a:cubicBezTo>
                  <a:cubicBezTo>
                    <a:pt x="142" y="0"/>
                    <a:pt x="144" y="2"/>
                    <a:pt x="144" y="6"/>
                  </a:cubicBezTo>
                  <a:cubicBezTo>
                    <a:pt x="144" y="8"/>
                    <a:pt x="144" y="8"/>
                    <a:pt x="144" y="8"/>
                  </a:cubicBezTo>
                  <a:cubicBezTo>
                    <a:pt x="144" y="11"/>
                    <a:pt x="142" y="14"/>
                    <a:pt x="138" y="14"/>
                  </a:cubicBezTo>
                  <a:close/>
                </a:path>
              </a:pathLst>
            </a:custGeom>
            <a:solidFill>
              <a:srgbClr val="F3F8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iŝ1ïḍ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8CE0D49E-FCA1-4047-9033-15102420FF45}"/>
                </a:ext>
              </a:extLst>
            </p:cNvPr>
            <p:cNvSpPr/>
            <p:nvPr/>
          </p:nvSpPr>
          <p:spPr bwMode="auto">
            <a:xfrm>
              <a:off x="3517901" y="1881188"/>
              <a:ext cx="1171575" cy="3411538"/>
            </a:xfrm>
            <a:custGeom>
              <a:avLst/>
              <a:gdLst>
                <a:gd name="T0" fmla="*/ 738 w 738"/>
                <a:gd name="T1" fmla="*/ 2149 h 2149"/>
                <a:gd name="T2" fmla="*/ 89 w 738"/>
                <a:gd name="T3" fmla="*/ 2149 h 2149"/>
                <a:gd name="T4" fmla="*/ 0 w 738"/>
                <a:gd name="T5" fmla="*/ 0 h 2149"/>
                <a:gd name="T6" fmla="*/ 648 w 738"/>
                <a:gd name="T7" fmla="*/ 0 h 2149"/>
                <a:gd name="T8" fmla="*/ 738 w 738"/>
                <a:gd name="T9" fmla="*/ 2149 h 2149"/>
              </a:gdLst>
              <a:ahLst/>
              <a:cxnLst>
                <a:cxn ang="0">
                  <a:pos x="T0" y="T1"/>
                </a:cxn>
                <a:cxn ang="0">
                  <a:pos x="T2" y="T3"/>
                </a:cxn>
                <a:cxn ang="0">
                  <a:pos x="T4" y="T5"/>
                </a:cxn>
                <a:cxn ang="0">
                  <a:pos x="T6" y="T7"/>
                </a:cxn>
                <a:cxn ang="0">
                  <a:pos x="T8" y="T9"/>
                </a:cxn>
              </a:cxnLst>
              <a:rect l="0" t="0" r="r" b="b"/>
              <a:pathLst>
                <a:path w="738" h="2149">
                  <a:moveTo>
                    <a:pt x="738" y="2149"/>
                  </a:moveTo>
                  <a:lnTo>
                    <a:pt x="89" y="2149"/>
                  </a:lnTo>
                  <a:lnTo>
                    <a:pt x="0" y="0"/>
                  </a:lnTo>
                  <a:lnTo>
                    <a:pt x="648" y="0"/>
                  </a:lnTo>
                  <a:lnTo>
                    <a:pt x="738" y="2149"/>
                  </a:lnTo>
                  <a:close/>
                </a:path>
              </a:pathLst>
            </a:custGeom>
            <a:solidFill>
              <a:srgbClr val="D1E3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îṡ1ïď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5E89B68B-F587-4843-ADD5-CEBAD96B4170}"/>
                </a:ext>
              </a:extLst>
            </p:cNvPr>
            <p:cNvSpPr/>
            <p:nvPr/>
          </p:nvSpPr>
          <p:spPr bwMode="auto">
            <a:xfrm>
              <a:off x="3517901" y="1881188"/>
              <a:ext cx="1171575" cy="3411538"/>
            </a:xfrm>
            <a:custGeom>
              <a:avLst/>
              <a:gdLst>
                <a:gd name="T0" fmla="*/ 738 w 738"/>
                <a:gd name="T1" fmla="*/ 2149 h 2149"/>
                <a:gd name="T2" fmla="*/ 89 w 738"/>
                <a:gd name="T3" fmla="*/ 2149 h 2149"/>
                <a:gd name="T4" fmla="*/ 0 w 738"/>
                <a:gd name="T5" fmla="*/ 0 h 2149"/>
                <a:gd name="T6" fmla="*/ 648 w 738"/>
                <a:gd name="T7" fmla="*/ 0 h 2149"/>
                <a:gd name="T8" fmla="*/ 738 w 738"/>
                <a:gd name="T9" fmla="*/ 2149 h 2149"/>
              </a:gdLst>
              <a:ahLst/>
              <a:cxnLst>
                <a:cxn ang="0">
                  <a:pos x="T0" y="T1"/>
                </a:cxn>
                <a:cxn ang="0">
                  <a:pos x="T2" y="T3"/>
                </a:cxn>
                <a:cxn ang="0">
                  <a:pos x="T4" y="T5"/>
                </a:cxn>
                <a:cxn ang="0">
                  <a:pos x="T6" y="T7"/>
                </a:cxn>
                <a:cxn ang="0">
                  <a:pos x="T8" y="T9"/>
                </a:cxn>
              </a:cxnLst>
              <a:rect l="0" t="0" r="r" b="b"/>
              <a:pathLst>
                <a:path w="738" h="2149">
                  <a:moveTo>
                    <a:pt x="738" y="2149"/>
                  </a:moveTo>
                  <a:lnTo>
                    <a:pt x="89" y="2149"/>
                  </a:lnTo>
                  <a:lnTo>
                    <a:pt x="0" y="0"/>
                  </a:lnTo>
                  <a:lnTo>
                    <a:pt x="648" y="0"/>
                  </a:lnTo>
                  <a:lnTo>
                    <a:pt x="738" y="21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ïSliḓ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B66521E2-F435-46C8-82A9-CFBA7D6917AC}"/>
                </a:ext>
              </a:extLst>
            </p:cNvPr>
            <p:cNvSpPr/>
            <p:nvPr/>
          </p:nvSpPr>
          <p:spPr bwMode="auto">
            <a:xfrm>
              <a:off x="3544888" y="1881188"/>
              <a:ext cx="1292225" cy="3411538"/>
            </a:xfrm>
            <a:custGeom>
              <a:avLst/>
              <a:gdLst>
                <a:gd name="T0" fmla="*/ 814 w 814"/>
                <a:gd name="T1" fmla="*/ 2149 h 2149"/>
                <a:gd name="T2" fmla="*/ 89 w 814"/>
                <a:gd name="T3" fmla="*/ 2149 h 2149"/>
                <a:gd name="T4" fmla="*/ 0 w 814"/>
                <a:gd name="T5" fmla="*/ 0 h 2149"/>
                <a:gd name="T6" fmla="*/ 725 w 814"/>
                <a:gd name="T7" fmla="*/ 0 h 2149"/>
                <a:gd name="T8" fmla="*/ 814 w 814"/>
                <a:gd name="T9" fmla="*/ 2149 h 2149"/>
              </a:gdLst>
              <a:ahLst/>
              <a:cxnLst>
                <a:cxn ang="0">
                  <a:pos x="T0" y="T1"/>
                </a:cxn>
                <a:cxn ang="0">
                  <a:pos x="T2" y="T3"/>
                </a:cxn>
                <a:cxn ang="0">
                  <a:pos x="T4" y="T5"/>
                </a:cxn>
                <a:cxn ang="0">
                  <a:pos x="T6" y="T7"/>
                </a:cxn>
                <a:cxn ang="0">
                  <a:pos x="T8" y="T9"/>
                </a:cxn>
              </a:cxnLst>
              <a:rect l="0" t="0" r="r" b="b"/>
              <a:pathLst>
                <a:path w="814" h="2149">
                  <a:moveTo>
                    <a:pt x="814" y="2149"/>
                  </a:moveTo>
                  <a:lnTo>
                    <a:pt x="89" y="2149"/>
                  </a:lnTo>
                  <a:lnTo>
                    <a:pt x="0" y="0"/>
                  </a:lnTo>
                  <a:lnTo>
                    <a:pt x="725" y="0"/>
                  </a:lnTo>
                  <a:lnTo>
                    <a:pt x="814" y="2149"/>
                  </a:lnTo>
                  <a:close/>
                </a:path>
              </a:pathLst>
            </a:custGeom>
            <a:solidFill>
              <a:srgbClr val="F3F8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iŝḷíḋ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472175F7-9041-41C5-A3ED-0B6AF76A423C}"/>
                </a:ext>
              </a:extLst>
            </p:cNvPr>
            <p:cNvSpPr/>
            <p:nvPr/>
          </p:nvSpPr>
          <p:spPr bwMode="auto">
            <a:xfrm>
              <a:off x="3544888" y="1881188"/>
              <a:ext cx="1292225" cy="3411538"/>
            </a:xfrm>
            <a:custGeom>
              <a:avLst/>
              <a:gdLst>
                <a:gd name="T0" fmla="*/ 814 w 814"/>
                <a:gd name="T1" fmla="*/ 2149 h 2149"/>
                <a:gd name="T2" fmla="*/ 89 w 814"/>
                <a:gd name="T3" fmla="*/ 2149 h 2149"/>
                <a:gd name="T4" fmla="*/ 0 w 814"/>
                <a:gd name="T5" fmla="*/ 0 h 2149"/>
                <a:gd name="T6" fmla="*/ 725 w 814"/>
                <a:gd name="T7" fmla="*/ 0 h 2149"/>
                <a:gd name="T8" fmla="*/ 814 w 814"/>
                <a:gd name="T9" fmla="*/ 2149 h 2149"/>
              </a:gdLst>
              <a:ahLst/>
              <a:cxnLst>
                <a:cxn ang="0">
                  <a:pos x="T0" y="T1"/>
                </a:cxn>
                <a:cxn ang="0">
                  <a:pos x="T2" y="T3"/>
                </a:cxn>
                <a:cxn ang="0">
                  <a:pos x="T4" y="T5"/>
                </a:cxn>
                <a:cxn ang="0">
                  <a:pos x="T6" y="T7"/>
                </a:cxn>
                <a:cxn ang="0">
                  <a:pos x="T8" y="T9"/>
                </a:cxn>
              </a:cxnLst>
              <a:rect l="0" t="0" r="r" b="b"/>
              <a:pathLst>
                <a:path w="814" h="2149">
                  <a:moveTo>
                    <a:pt x="814" y="2149"/>
                  </a:moveTo>
                  <a:lnTo>
                    <a:pt x="89" y="2149"/>
                  </a:lnTo>
                  <a:lnTo>
                    <a:pt x="0" y="0"/>
                  </a:lnTo>
                  <a:lnTo>
                    <a:pt x="725" y="0"/>
                  </a:lnTo>
                  <a:lnTo>
                    <a:pt x="814" y="21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işliḍ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44C27306-59BB-41B8-9C50-CDB880905BD9}"/>
                </a:ext>
              </a:extLst>
            </p:cNvPr>
            <p:cNvSpPr/>
            <p:nvPr/>
          </p:nvSpPr>
          <p:spPr bwMode="auto">
            <a:xfrm>
              <a:off x="3667126" y="2000250"/>
              <a:ext cx="1044575" cy="3173413"/>
            </a:xfrm>
            <a:custGeom>
              <a:avLst/>
              <a:gdLst>
                <a:gd name="T0" fmla="*/ 83 w 658"/>
                <a:gd name="T1" fmla="*/ 1999 h 1999"/>
                <a:gd name="T2" fmla="*/ 0 w 658"/>
                <a:gd name="T3" fmla="*/ 0 h 1999"/>
                <a:gd name="T4" fmla="*/ 575 w 658"/>
                <a:gd name="T5" fmla="*/ 0 h 1999"/>
                <a:gd name="T6" fmla="*/ 658 w 658"/>
                <a:gd name="T7" fmla="*/ 1999 h 1999"/>
                <a:gd name="T8" fmla="*/ 83 w 658"/>
                <a:gd name="T9" fmla="*/ 1999 h 1999"/>
              </a:gdLst>
              <a:ahLst/>
              <a:cxnLst>
                <a:cxn ang="0">
                  <a:pos x="T0" y="T1"/>
                </a:cxn>
                <a:cxn ang="0">
                  <a:pos x="T2" y="T3"/>
                </a:cxn>
                <a:cxn ang="0">
                  <a:pos x="T4" y="T5"/>
                </a:cxn>
                <a:cxn ang="0">
                  <a:pos x="T6" y="T7"/>
                </a:cxn>
                <a:cxn ang="0">
                  <a:pos x="T8" y="T9"/>
                </a:cxn>
              </a:cxnLst>
              <a:rect l="0" t="0" r="r" b="b"/>
              <a:pathLst>
                <a:path w="658" h="1999">
                  <a:moveTo>
                    <a:pt x="83" y="1999"/>
                  </a:moveTo>
                  <a:lnTo>
                    <a:pt x="0" y="0"/>
                  </a:lnTo>
                  <a:lnTo>
                    <a:pt x="575" y="0"/>
                  </a:lnTo>
                  <a:lnTo>
                    <a:pt x="658" y="1999"/>
                  </a:lnTo>
                  <a:lnTo>
                    <a:pt x="83" y="199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îŝḻîďè">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C19238A3-5F55-48D4-8750-872F739935F5}"/>
                </a:ext>
              </a:extLst>
            </p:cNvPr>
            <p:cNvSpPr/>
            <p:nvPr/>
          </p:nvSpPr>
          <p:spPr bwMode="auto">
            <a:xfrm>
              <a:off x="3667126" y="2000250"/>
              <a:ext cx="1044575" cy="3173413"/>
            </a:xfrm>
            <a:custGeom>
              <a:avLst/>
              <a:gdLst>
                <a:gd name="T0" fmla="*/ 83 w 658"/>
                <a:gd name="T1" fmla="*/ 1999 h 1999"/>
                <a:gd name="T2" fmla="*/ 0 w 658"/>
                <a:gd name="T3" fmla="*/ 0 h 1999"/>
                <a:gd name="T4" fmla="*/ 575 w 658"/>
                <a:gd name="T5" fmla="*/ 0 h 1999"/>
                <a:gd name="T6" fmla="*/ 658 w 658"/>
                <a:gd name="T7" fmla="*/ 1999 h 1999"/>
                <a:gd name="T8" fmla="*/ 83 w 658"/>
                <a:gd name="T9" fmla="*/ 1999 h 1999"/>
              </a:gdLst>
              <a:ahLst/>
              <a:cxnLst>
                <a:cxn ang="0">
                  <a:pos x="T0" y="T1"/>
                </a:cxn>
                <a:cxn ang="0">
                  <a:pos x="T2" y="T3"/>
                </a:cxn>
                <a:cxn ang="0">
                  <a:pos x="T4" y="T5"/>
                </a:cxn>
                <a:cxn ang="0">
                  <a:pos x="T6" y="T7"/>
                </a:cxn>
                <a:cxn ang="0">
                  <a:pos x="T8" y="T9"/>
                </a:cxn>
              </a:cxnLst>
              <a:rect l="0" t="0" r="r" b="b"/>
              <a:pathLst>
                <a:path w="658" h="1999">
                  <a:moveTo>
                    <a:pt x="83" y="1999"/>
                  </a:moveTo>
                  <a:lnTo>
                    <a:pt x="0" y="0"/>
                  </a:lnTo>
                  <a:lnTo>
                    <a:pt x="575" y="0"/>
                  </a:lnTo>
                  <a:lnTo>
                    <a:pt x="658" y="1999"/>
                  </a:lnTo>
                  <a:lnTo>
                    <a:pt x="83" y="199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îṣļîḍè">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E16B4F19-CE60-4E6C-AAC9-C50EFDF65775}"/>
                </a:ext>
              </a:extLst>
            </p:cNvPr>
            <p:cNvSpPr/>
            <p:nvPr/>
          </p:nvSpPr>
          <p:spPr bwMode="auto">
            <a:xfrm>
              <a:off x="6507163" y="2913063"/>
              <a:ext cx="74613" cy="1136650"/>
            </a:xfrm>
            <a:custGeom>
              <a:avLst/>
              <a:gdLst>
                <a:gd name="T0" fmla="*/ 15 w 23"/>
                <a:gd name="T1" fmla="*/ 326 h 345"/>
                <a:gd name="T2" fmla="*/ 14 w 23"/>
                <a:gd name="T3" fmla="*/ 11 h 345"/>
                <a:gd name="T4" fmla="*/ 0 w 23"/>
                <a:gd name="T5" fmla="*/ 0 h 345"/>
                <a:gd name="T6" fmla="*/ 5 w 23"/>
                <a:gd name="T7" fmla="*/ 178 h 345"/>
                <a:gd name="T8" fmla="*/ 7 w 23"/>
                <a:gd name="T9" fmla="*/ 326 h 345"/>
                <a:gd name="T10" fmla="*/ 15 w 23"/>
                <a:gd name="T11" fmla="*/ 326 h 345"/>
              </a:gdLst>
              <a:ahLst/>
              <a:cxnLst>
                <a:cxn ang="0">
                  <a:pos x="T0" y="T1"/>
                </a:cxn>
                <a:cxn ang="0">
                  <a:pos x="T2" y="T3"/>
                </a:cxn>
                <a:cxn ang="0">
                  <a:pos x="T4" y="T5"/>
                </a:cxn>
                <a:cxn ang="0">
                  <a:pos x="T6" y="T7"/>
                </a:cxn>
                <a:cxn ang="0">
                  <a:pos x="T8" y="T9"/>
                </a:cxn>
                <a:cxn ang="0">
                  <a:pos x="T10" y="T11"/>
                </a:cxn>
              </a:cxnLst>
              <a:rect l="0" t="0" r="r" b="b"/>
              <a:pathLst>
                <a:path w="23" h="345">
                  <a:moveTo>
                    <a:pt x="15" y="326"/>
                  </a:moveTo>
                  <a:cubicBezTo>
                    <a:pt x="19" y="217"/>
                    <a:pt x="23" y="66"/>
                    <a:pt x="14" y="11"/>
                  </a:cubicBezTo>
                  <a:cubicBezTo>
                    <a:pt x="0" y="0"/>
                    <a:pt x="0" y="0"/>
                    <a:pt x="0" y="0"/>
                  </a:cubicBezTo>
                  <a:cubicBezTo>
                    <a:pt x="0" y="0"/>
                    <a:pt x="3" y="10"/>
                    <a:pt x="5" y="178"/>
                  </a:cubicBezTo>
                  <a:cubicBezTo>
                    <a:pt x="7" y="345"/>
                    <a:pt x="9" y="301"/>
                    <a:pt x="7" y="326"/>
                  </a:cubicBezTo>
                  <a:lnTo>
                    <a:pt x="15" y="326"/>
                  </a:lnTo>
                  <a:close/>
                </a:path>
              </a:pathLst>
            </a:custGeom>
            <a:solidFill>
              <a:srgbClr val="D1E3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îşľïdè">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4B0A90DA-2B61-45BB-A24A-F1AD9453247D}"/>
                </a:ext>
              </a:extLst>
            </p:cNvPr>
            <p:cNvSpPr/>
            <p:nvPr/>
          </p:nvSpPr>
          <p:spPr bwMode="auto">
            <a:xfrm>
              <a:off x="6532563" y="2600325"/>
              <a:ext cx="623888" cy="688975"/>
            </a:xfrm>
            <a:custGeom>
              <a:avLst/>
              <a:gdLst>
                <a:gd name="T0" fmla="*/ 32 w 189"/>
                <a:gd name="T1" fmla="*/ 59 h 209"/>
                <a:gd name="T2" fmla="*/ 167 w 189"/>
                <a:gd name="T3" fmla="*/ 0 h 209"/>
                <a:gd name="T4" fmla="*/ 67 w 189"/>
                <a:gd name="T5" fmla="*/ 85 h 209"/>
                <a:gd name="T6" fmla="*/ 0 w 189"/>
                <a:gd name="T7" fmla="*/ 209 h 209"/>
                <a:gd name="T8" fmla="*/ 32 w 189"/>
                <a:gd name="T9" fmla="*/ 59 h 209"/>
              </a:gdLst>
              <a:ahLst/>
              <a:cxnLst>
                <a:cxn ang="0">
                  <a:pos x="T0" y="T1"/>
                </a:cxn>
                <a:cxn ang="0">
                  <a:pos x="T2" y="T3"/>
                </a:cxn>
                <a:cxn ang="0">
                  <a:pos x="T4" y="T5"/>
                </a:cxn>
                <a:cxn ang="0">
                  <a:pos x="T6" y="T7"/>
                </a:cxn>
                <a:cxn ang="0">
                  <a:pos x="T8" y="T9"/>
                </a:cxn>
              </a:cxnLst>
              <a:rect l="0" t="0" r="r" b="b"/>
              <a:pathLst>
                <a:path w="189" h="209">
                  <a:moveTo>
                    <a:pt x="32" y="59"/>
                  </a:moveTo>
                  <a:cubicBezTo>
                    <a:pt x="58" y="25"/>
                    <a:pt x="112" y="0"/>
                    <a:pt x="167" y="0"/>
                  </a:cubicBezTo>
                  <a:cubicBezTo>
                    <a:pt x="189" y="0"/>
                    <a:pt x="102" y="41"/>
                    <a:pt x="67" y="85"/>
                  </a:cubicBezTo>
                  <a:cubicBezTo>
                    <a:pt x="40" y="119"/>
                    <a:pt x="10" y="177"/>
                    <a:pt x="0" y="209"/>
                  </a:cubicBezTo>
                  <a:cubicBezTo>
                    <a:pt x="5" y="142"/>
                    <a:pt x="7" y="94"/>
                    <a:pt x="32" y="59"/>
                  </a:cubicBezTo>
                  <a:close/>
                </a:path>
              </a:pathLst>
            </a:custGeom>
            <a:solidFill>
              <a:srgbClr val="D1E3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ís1îd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50B6A534-AC6A-4795-BDE5-5146B62DA946}"/>
                </a:ext>
              </a:extLst>
            </p:cNvPr>
            <p:cNvSpPr/>
            <p:nvPr/>
          </p:nvSpPr>
          <p:spPr bwMode="auto">
            <a:xfrm>
              <a:off x="5965826" y="2867025"/>
              <a:ext cx="584200" cy="725488"/>
            </a:xfrm>
            <a:custGeom>
              <a:avLst/>
              <a:gdLst>
                <a:gd name="T0" fmla="*/ 153 w 177"/>
                <a:gd name="T1" fmla="*/ 68 h 220"/>
                <a:gd name="T2" fmla="*/ 22 w 177"/>
                <a:gd name="T3" fmla="*/ 2 h 220"/>
                <a:gd name="T4" fmla="*/ 117 w 177"/>
                <a:gd name="T5" fmla="*/ 92 h 220"/>
                <a:gd name="T6" fmla="*/ 177 w 177"/>
                <a:gd name="T7" fmla="*/ 220 h 220"/>
                <a:gd name="T8" fmla="*/ 153 w 177"/>
                <a:gd name="T9" fmla="*/ 68 h 220"/>
              </a:gdLst>
              <a:ahLst/>
              <a:cxnLst>
                <a:cxn ang="0">
                  <a:pos x="T0" y="T1"/>
                </a:cxn>
                <a:cxn ang="0">
                  <a:pos x="T2" y="T3"/>
                </a:cxn>
                <a:cxn ang="0">
                  <a:pos x="T4" y="T5"/>
                </a:cxn>
                <a:cxn ang="0">
                  <a:pos x="T6" y="T7"/>
                </a:cxn>
                <a:cxn ang="0">
                  <a:pos x="T8" y="T9"/>
                </a:cxn>
              </a:cxnLst>
              <a:rect l="0" t="0" r="r" b="b"/>
              <a:pathLst>
                <a:path w="177" h="220">
                  <a:moveTo>
                    <a:pt x="153" y="68"/>
                  </a:moveTo>
                  <a:cubicBezTo>
                    <a:pt x="130" y="32"/>
                    <a:pt x="78" y="5"/>
                    <a:pt x="22" y="2"/>
                  </a:cubicBezTo>
                  <a:cubicBezTo>
                    <a:pt x="0" y="0"/>
                    <a:pt x="85" y="46"/>
                    <a:pt x="117" y="92"/>
                  </a:cubicBezTo>
                  <a:cubicBezTo>
                    <a:pt x="142" y="128"/>
                    <a:pt x="169" y="188"/>
                    <a:pt x="177" y="220"/>
                  </a:cubicBezTo>
                  <a:cubicBezTo>
                    <a:pt x="176" y="152"/>
                    <a:pt x="177" y="105"/>
                    <a:pt x="153" y="68"/>
                  </a:cubicBezTo>
                  <a:close/>
                </a:path>
              </a:pathLst>
            </a:custGeom>
            <a:solidFill>
              <a:srgbClr val="D1E3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iŝľiḓé">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CAE0BDFD-1C6F-4549-BCAC-44949D8C4995}"/>
                </a:ext>
              </a:extLst>
            </p:cNvPr>
            <p:cNvSpPr/>
            <p:nvPr/>
          </p:nvSpPr>
          <p:spPr bwMode="auto">
            <a:xfrm>
              <a:off x="6021388" y="2257425"/>
              <a:ext cx="554038" cy="873125"/>
            </a:xfrm>
            <a:custGeom>
              <a:avLst/>
              <a:gdLst>
                <a:gd name="T0" fmla="*/ 147 w 168"/>
                <a:gd name="T1" fmla="*/ 106 h 265"/>
                <a:gd name="T2" fmla="*/ 21 w 168"/>
                <a:gd name="T3" fmla="*/ 7 h 265"/>
                <a:gd name="T4" fmla="*/ 113 w 168"/>
                <a:gd name="T5" fmla="*/ 130 h 265"/>
                <a:gd name="T6" fmla="*/ 163 w 168"/>
                <a:gd name="T7" fmla="*/ 265 h 265"/>
                <a:gd name="T8" fmla="*/ 147 w 168"/>
                <a:gd name="T9" fmla="*/ 106 h 265"/>
              </a:gdLst>
              <a:ahLst/>
              <a:cxnLst>
                <a:cxn ang="0">
                  <a:pos x="T0" y="T1"/>
                </a:cxn>
                <a:cxn ang="0">
                  <a:pos x="T2" y="T3"/>
                </a:cxn>
                <a:cxn ang="0">
                  <a:pos x="T4" y="T5"/>
                </a:cxn>
                <a:cxn ang="0">
                  <a:pos x="T6" y="T7"/>
                </a:cxn>
                <a:cxn ang="0">
                  <a:pos x="T8" y="T9"/>
                </a:cxn>
              </a:cxnLst>
              <a:rect l="0" t="0" r="r" b="b"/>
              <a:pathLst>
                <a:path w="168" h="265">
                  <a:moveTo>
                    <a:pt x="147" y="106"/>
                  </a:moveTo>
                  <a:cubicBezTo>
                    <a:pt x="125" y="64"/>
                    <a:pt x="75" y="23"/>
                    <a:pt x="21" y="7"/>
                  </a:cubicBezTo>
                  <a:cubicBezTo>
                    <a:pt x="0" y="0"/>
                    <a:pt x="88" y="74"/>
                    <a:pt x="113" y="130"/>
                  </a:cubicBezTo>
                  <a:cubicBezTo>
                    <a:pt x="133" y="174"/>
                    <a:pt x="157" y="230"/>
                    <a:pt x="163" y="265"/>
                  </a:cubicBezTo>
                  <a:cubicBezTo>
                    <a:pt x="165" y="196"/>
                    <a:pt x="168" y="148"/>
                    <a:pt x="147" y="106"/>
                  </a:cubicBezTo>
                  <a:close/>
                </a:path>
              </a:pathLst>
            </a:custGeom>
            <a:solidFill>
              <a:srgbClr val="D1E3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ïśḻïḋ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0F0E15C3-4534-434C-A4A4-4C49F68310D4}"/>
                </a:ext>
              </a:extLst>
            </p:cNvPr>
            <p:cNvSpPr/>
            <p:nvPr/>
          </p:nvSpPr>
          <p:spPr bwMode="auto">
            <a:xfrm>
              <a:off x="6354763" y="3740150"/>
              <a:ext cx="366713" cy="412750"/>
            </a:xfrm>
            <a:custGeom>
              <a:avLst/>
              <a:gdLst>
                <a:gd name="T0" fmla="*/ 56 w 111"/>
                <a:gd name="T1" fmla="*/ 125 h 125"/>
                <a:gd name="T2" fmla="*/ 56 w 111"/>
                <a:gd name="T3" fmla="*/ 125 h 125"/>
                <a:gd name="T4" fmla="*/ 106 w 111"/>
                <a:gd name="T5" fmla="*/ 78 h 125"/>
                <a:gd name="T6" fmla="*/ 111 w 111"/>
                <a:gd name="T7" fmla="*/ 0 h 125"/>
                <a:gd name="T8" fmla="*/ 0 w 111"/>
                <a:gd name="T9" fmla="*/ 0 h 125"/>
                <a:gd name="T10" fmla="*/ 5 w 111"/>
                <a:gd name="T11" fmla="*/ 78 h 125"/>
                <a:gd name="T12" fmla="*/ 56 w 111"/>
                <a:gd name="T13" fmla="*/ 125 h 125"/>
              </a:gdLst>
              <a:ahLst/>
              <a:cxnLst>
                <a:cxn ang="0">
                  <a:pos x="T0" y="T1"/>
                </a:cxn>
                <a:cxn ang="0">
                  <a:pos x="T2" y="T3"/>
                </a:cxn>
                <a:cxn ang="0">
                  <a:pos x="T4" y="T5"/>
                </a:cxn>
                <a:cxn ang="0">
                  <a:pos x="T6" y="T7"/>
                </a:cxn>
                <a:cxn ang="0">
                  <a:pos x="T8" y="T9"/>
                </a:cxn>
                <a:cxn ang="0">
                  <a:pos x="T10" y="T11"/>
                </a:cxn>
                <a:cxn ang="0">
                  <a:pos x="T12" y="T13"/>
                </a:cxn>
              </a:cxnLst>
              <a:rect l="0" t="0" r="r" b="b"/>
              <a:pathLst>
                <a:path w="111" h="125">
                  <a:moveTo>
                    <a:pt x="56" y="125"/>
                  </a:moveTo>
                  <a:cubicBezTo>
                    <a:pt x="56" y="125"/>
                    <a:pt x="56" y="125"/>
                    <a:pt x="56" y="125"/>
                  </a:cubicBezTo>
                  <a:cubicBezTo>
                    <a:pt x="82" y="125"/>
                    <a:pt x="105" y="104"/>
                    <a:pt x="106" y="78"/>
                  </a:cubicBezTo>
                  <a:cubicBezTo>
                    <a:pt x="111" y="0"/>
                    <a:pt x="111" y="0"/>
                    <a:pt x="111" y="0"/>
                  </a:cubicBezTo>
                  <a:cubicBezTo>
                    <a:pt x="0" y="0"/>
                    <a:pt x="0" y="0"/>
                    <a:pt x="0" y="0"/>
                  </a:cubicBezTo>
                  <a:cubicBezTo>
                    <a:pt x="5" y="78"/>
                    <a:pt x="5" y="78"/>
                    <a:pt x="5" y="78"/>
                  </a:cubicBezTo>
                  <a:cubicBezTo>
                    <a:pt x="6" y="104"/>
                    <a:pt x="29" y="125"/>
                    <a:pt x="56" y="125"/>
                  </a:cubicBezTo>
                  <a:close/>
                </a:path>
              </a:pathLst>
            </a:custGeom>
            <a:solidFill>
              <a:srgbClr val="E3EE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i$lïḓ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746599AA-5BF6-4A8A-998C-77A0EF1214D5}"/>
                </a:ext>
              </a:extLst>
            </p:cNvPr>
            <p:cNvSpPr/>
            <p:nvPr/>
          </p:nvSpPr>
          <p:spPr bwMode="auto">
            <a:xfrm>
              <a:off x="6321426" y="3690938"/>
              <a:ext cx="433388" cy="104775"/>
            </a:xfrm>
            <a:custGeom>
              <a:avLst/>
              <a:gdLst>
                <a:gd name="T0" fmla="*/ 7 w 273"/>
                <a:gd name="T1" fmla="*/ 66 h 66"/>
                <a:gd name="T2" fmla="*/ 266 w 273"/>
                <a:gd name="T3" fmla="*/ 66 h 66"/>
                <a:gd name="T4" fmla="*/ 273 w 273"/>
                <a:gd name="T5" fmla="*/ 0 h 66"/>
                <a:gd name="T6" fmla="*/ 0 w 273"/>
                <a:gd name="T7" fmla="*/ 0 h 66"/>
                <a:gd name="T8" fmla="*/ 7 w 273"/>
                <a:gd name="T9" fmla="*/ 66 h 66"/>
              </a:gdLst>
              <a:ahLst/>
              <a:cxnLst>
                <a:cxn ang="0">
                  <a:pos x="T0" y="T1"/>
                </a:cxn>
                <a:cxn ang="0">
                  <a:pos x="T2" y="T3"/>
                </a:cxn>
                <a:cxn ang="0">
                  <a:pos x="T4" y="T5"/>
                </a:cxn>
                <a:cxn ang="0">
                  <a:pos x="T6" y="T7"/>
                </a:cxn>
                <a:cxn ang="0">
                  <a:pos x="T8" y="T9"/>
                </a:cxn>
              </a:cxnLst>
              <a:rect l="0" t="0" r="r" b="b"/>
              <a:pathLst>
                <a:path w="273" h="66">
                  <a:moveTo>
                    <a:pt x="7" y="66"/>
                  </a:moveTo>
                  <a:lnTo>
                    <a:pt x="266" y="66"/>
                  </a:lnTo>
                  <a:lnTo>
                    <a:pt x="273" y="0"/>
                  </a:lnTo>
                  <a:lnTo>
                    <a:pt x="0" y="0"/>
                  </a:lnTo>
                  <a:lnTo>
                    <a:pt x="7" y="66"/>
                  </a:lnTo>
                  <a:close/>
                </a:path>
              </a:pathLst>
            </a:custGeom>
            <a:solidFill>
              <a:srgbClr val="E3EE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íṥlíḑè">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D7BBC4F3-1A41-4FE7-A2F6-F4671DB38F52}"/>
                </a:ext>
              </a:extLst>
            </p:cNvPr>
            <p:cNvSpPr/>
            <p:nvPr/>
          </p:nvSpPr>
          <p:spPr bwMode="auto">
            <a:xfrm>
              <a:off x="8080376" y="1295400"/>
              <a:ext cx="273050" cy="738188"/>
            </a:xfrm>
            <a:prstGeom prst="rect">
              <a:avLst/>
            </a:prstGeom>
            <a:solidFill>
              <a:srgbClr val="D1E3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7" name="í$ḻïďè">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16375D9B-B25A-4E24-B750-46678BAB3EB6}"/>
                </a:ext>
              </a:extLst>
            </p:cNvPr>
            <p:cNvSpPr/>
            <p:nvPr/>
          </p:nvSpPr>
          <p:spPr bwMode="auto">
            <a:xfrm>
              <a:off x="7945438" y="1295400"/>
              <a:ext cx="134938" cy="677863"/>
            </a:xfrm>
            <a:prstGeom prst="rect">
              <a:avLst/>
            </a:prstGeom>
            <a:solidFill>
              <a:srgbClr val="F3F8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8" name="işḷiḍ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B13ECF71-CADE-4CEA-B48A-4EC20C0657FD}"/>
                </a:ext>
              </a:extLst>
            </p:cNvPr>
            <p:cNvSpPr/>
            <p:nvPr/>
          </p:nvSpPr>
          <p:spPr bwMode="auto">
            <a:xfrm>
              <a:off x="7673976" y="1295400"/>
              <a:ext cx="271463" cy="738188"/>
            </a:xfrm>
            <a:prstGeom prst="rect">
              <a:avLst/>
            </a:prstGeom>
            <a:solidFill>
              <a:srgbClr val="D1E3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9" name="ïśḻïď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3F88353B-6089-4DF5-80CD-BB4EB15A7462}"/>
                </a:ext>
              </a:extLst>
            </p:cNvPr>
            <p:cNvSpPr/>
            <p:nvPr/>
          </p:nvSpPr>
          <p:spPr bwMode="auto">
            <a:xfrm>
              <a:off x="7539038" y="1295400"/>
              <a:ext cx="134938" cy="677863"/>
            </a:xfrm>
            <a:prstGeom prst="rect">
              <a:avLst/>
            </a:prstGeom>
            <a:solidFill>
              <a:srgbClr val="F3F8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0" name="íšḷíḓ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E2968224-E98B-43AE-9B15-6917F39C6457}"/>
                </a:ext>
              </a:extLst>
            </p:cNvPr>
            <p:cNvSpPr/>
            <p:nvPr/>
          </p:nvSpPr>
          <p:spPr bwMode="auto">
            <a:xfrm>
              <a:off x="7265988" y="1295400"/>
              <a:ext cx="273050" cy="738188"/>
            </a:xfrm>
            <a:prstGeom prst="rect">
              <a:avLst/>
            </a:prstGeom>
            <a:solidFill>
              <a:srgbClr val="D1E3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1" name="iṡľïḍé">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9CDBFBAC-3AA2-4A06-B47C-AF159BCF7B3F}"/>
                </a:ext>
              </a:extLst>
            </p:cNvPr>
            <p:cNvSpPr/>
            <p:nvPr/>
          </p:nvSpPr>
          <p:spPr bwMode="auto">
            <a:xfrm>
              <a:off x="7129463" y="1295400"/>
              <a:ext cx="136525" cy="677863"/>
            </a:xfrm>
            <a:prstGeom prst="rect">
              <a:avLst/>
            </a:prstGeom>
            <a:solidFill>
              <a:srgbClr val="F3F8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2" name="îş1iďé">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A2016C51-1E06-468E-AB06-BD0576D9EBB9}"/>
                </a:ext>
              </a:extLst>
            </p:cNvPr>
            <p:cNvSpPr/>
            <p:nvPr/>
          </p:nvSpPr>
          <p:spPr bwMode="auto">
            <a:xfrm>
              <a:off x="6859588" y="1295400"/>
              <a:ext cx="269875" cy="738188"/>
            </a:xfrm>
            <a:prstGeom prst="rect">
              <a:avLst/>
            </a:prstGeom>
            <a:solidFill>
              <a:srgbClr val="D1E3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3" name="îşlîḑè">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06735344-63A7-40A2-BFE9-22957B907170}"/>
                </a:ext>
              </a:extLst>
            </p:cNvPr>
            <p:cNvSpPr/>
            <p:nvPr/>
          </p:nvSpPr>
          <p:spPr bwMode="auto">
            <a:xfrm>
              <a:off x="6724651" y="1295400"/>
              <a:ext cx="134938" cy="677863"/>
            </a:xfrm>
            <a:prstGeom prst="rect">
              <a:avLst/>
            </a:prstGeom>
            <a:solidFill>
              <a:srgbClr val="F3F8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4" name="íSḷidè">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FC928CA4-9E75-4BE5-9AFD-8FB303D13331}"/>
                </a:ext>
              </a:extLst>
            </p:cNvPr>
            <p:cNvSpPr/>
            <p:nvPr/>
          </p:nvSpPr>
          <p:spPr bwMode="auto">
            <a:xfrm>
              <a:off x="6450013" y="1295400"/>
              <a:ext cx="274638" cy="738188"/>
            </a:xfrm>
            <a:prstGeom prst="rect">
              <a:avLst/>
            </a:prstGeom>
            <a:solidFill>
              <a:srgbClr val="D1E3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5" name="íṡļiḓ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9A2FC70C-83BD-4D23-ABEC-4519E5C100EB}"/>
                </a:ext>
              </a:extLst>
            </p:cNvPr>
            <p:cNvSpPr/>
            <p:nvPr/>
          </p:nvSpPr>
          <p:spPr bwMode="auto">
            <a:xfrm>
              <a:off x="6315076" y="1295400"/>
              <a:ext cx="134938" cy="677863"/>
            </a:xfrm>
            <a:prstGeom prst="rect">
              <a:avLst/>
            </a:prstGeom>
            <a:solidFill>
              <a:srgbClr val="F3F8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6" name="îSľiḓé">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0F77E377-A15A-48CB-BFFC-FC2EA287669E}"/>
                </a:ext>
              </a:extLst>
            </p:cNvPr>
            <p:cNvSpPr/>
            <p:nvPr/>
          </p:nvSpPr>
          <p:spPr bwMode="auto">
            <a:xfrm>
              <a:off x="6045201" y="1295400"/>
              <a:ext cx="269875" cy="738188"/>
            </a:xfrm>
            <a:prstGeom prst="rect">
              <a:avLst/>
            </a:prstGeom>
            <a:solidFill>
              <a:srgbClr val="D1E3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7" name="ïśļiḓé">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DA37250A-6566-4E0C-A23B-0AB1AA9975F6}"/>
                </a:ext>
              </a:extLst>
            </p:cNvPr>
            <p:cNvSpPr/>
            <p:nvPr/>
          </p:nvSpPr>
          <p:spPr bwMode="auto">
            <a:xfrm>
              <a:off x="5910263" y="1295400"/>
              <a:ext cx="134938" cy="677863"/>
            </a:xfrm>
            <a:prstGeom prst="rect">
              <a:avLst/>
            </a:prstGeom>
            <a:solidFill>
              <a:srgbClr val="F3F8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8" name="iṣľíḋ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8326973D-C53D-4FC1-A3A1-313FC49DE609}"/>
                </a:ext>
              </a:extLst>
            </p:cNvPr>
            <p:cNvSpPr/>
            <p:nvPr/>
          </p:nvSpPr>
          <p:spPr bwMode="auto">
            <a:xfrm>
              <a:off x="5635626" y="1295400"/>
              <a:ext cx="274638" cy="738188"/>
            </a:xfrm>
            <a:prstGeom prst="rect">
              <a:avLst/>
            </a:prstGeom>
            <a:solidFill>
              <a:srgbClr val="D1E3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9" name="ïṧlíḓé">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EDD63D2A-39DC-4103-8283-3C770E7C7DFE}"/>
                </a:ext>
              </a:extLst>
            </p:cNvPr>
            <p:cNvSpPr/>
            <p:nvPr/>
          </p:nvSpPr>
          <p:spPr bwMode="auto">
            <a:xfrm>
              <a:off x="5500688" y="1295400"/>
              <a:ext cx="134938" cy="677863"/>
            </a:xfrm>
            <a:prstGeom prst="rect">
              <a:avLst/>
            </a:prstGeom>
            <a:solidFill>
              <a:srgbClr val="F3F8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60" name="islïḑ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667EE7A8-2B10-4B28-B39B-2FB897B6A659}"/>
                </a:ext>
              </a:extLst>
            </p:cNvPr>
            <p:cNvSpPr/>
            <p:nvPr/>
          </p:nvSpPr>
          <p:spPr bwMode="auto">
            <a:xfrm>
              <a:off x="5230813" y="1295400"/>
              <a:ext cx="269875" cy="738188"/>
            </a:xfrm>
            <a:prstGeom prst="rect">
              <a:avLst/>
            </a:prstGeom>
            <a:solidFill>
              <a:srgbClr val="D1E3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61" name="ïṡ1iḑ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3C051A56-5D91-4053-AE2F-1C96C0FF1BBE}"/>
                </a:ext>
              </a:extLst>
            </p:cNvPr>
            <p:cNvSpPr/>
            <p:nvPr/>
          </p:nvSpPr>
          <p:spPr bwMode="auto">
            <a:xfrm>
              <a:off x="3533776" y="5589588"/>
              <a:ext cx="5119688" cy="296863"/>
            </a:xfrm>
            <a:prstGeom prst="ellipse">
              <a:avLst/>
            </a:prstGeom>
            <a:solidFill>
              <a:srgbClr val="F0F6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iṥ1îḓè">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AAC7F7DE-E72A-4018-83DC-D5626E523348}"/>
                </a:ext>
              </a:extLst>
            </p:cNvPr>
            <p:cNvSpPr/>
            <p:nvPr/>
          </p:nvSpPr>
          <p:spPr bwMode="auto">
            <a:xfrm>
              <a:off x="7489826" y="2408238"/>
              <a:ext cx="333375" cy="752475"/>
            </a:xfrm>
            <a:custGeom>
              <a:avLst/>
              <a:gdLst>
                <a:gd name="T0" fmla="*/ 35 w 101"/>
                <a:gd name="T1" fmla="*/ 0 h 228"/>
                <a:gd name="T2" fmla="*/ 45 w 101"/>
                <a:gd name="T3" fmla="*/ 13 h 228"/>
                <a:gd name="T4" fmla="*/ 54 w 101"/>
                <a:gd name="T5" fmla="*/ 25 h 228"/>
                <a:gd name="T6" fmla="*/ 70 w 101"/>
                <a:gd name="T7" fmla="*/ 51 h 228"/>
                <a:gd name="T8" fmla="*/ 85 w 101"/>
                <a:gd name="T9" fmla="*/ 79 h 228"/>
                <a:gd name="T10" fmla="*/ 91 w 101"/>
                <a:gd name="T11" fmla="*/ 93 h 228"/>
                <a:gd name="T12" fmla="*/ 97 w 101"/>
                <a:gd name="T13" fmla="*/ 109 h 228"/>
                <a:gd name="T14" fmla="*/ 98 w 101"/>
                <a:gd name="T15" fmla="*/ 112 h 228"/>
                <a:gd name="T16" fmla="*/ 99 w 101"/>
                <a:gd name="T17" fmla="*/ 114 h 228"/>
                <a:gd name="T18" fmla="*/ 100 w 101"/>
                <a:gd name="T19" fmla="*/ 118 h 228"/>
                <a:gd name="T20" fmla="*/ 101 w 101"/>
                <a:gd name="T21" fmla="*/ 131 h 228"/>
                <a:gd name="T22" fmla="*/ 96 w 101"/>
                <a:gd name="T23" fmla="*/ 150 h 228"/>
                <a:gd name="T24" fmla="*/ 81 w 101"/>
                <a:gd name="T25" fmla="*/ 180 h 228"/>
                <a:gd name="T26" fmla="*/ 42 w 101"/>
                <a:gd name="T27" fmla="*/ 228 h 228"/>
                <a:gd name="T28" fmla="*/ 25 w 101"/>
                <a:gd name="T29" fmla="*/ 214 h 228"/>
                <a:gd name="T30" fmla="*/ 51 w 101"/>
                <a:gd name="T31" fmla="*/ 164 h 228"/>
                <a:gd name="T32" fmla="*/ 60 w 101"/>
                <a:gd name="T33" fmla="*/ 139 h 228"/>
                <a:gd name="T34" fmla="*/ 61 w 101"/>
                <a:gd name="T35" fmla="*/ 129 h 228"/>
                <a:gd name="T36" fmla="*/ 61 w 101"/>
                <a:gd name="T37" fmla="*/ 127 h 228"/>
                <a:gd name="T38" fmla="*/ 61 w 101"/>
                <a:gd name="T39" fmla="*/ 127 h 228"/>
                <a:gd name="T40" fmla="*/ 60 w 101"/>
                <a:gd name="T41" fmla="*/ 126 h 228"/>
                <a:gd name="T42" fmla="*/ 59 w 101"/>
                <a:gd name="T43" fmla="*/ 123 h 228"/>
                <a:gd name="T44" fmla="*/ 32 w 101"/>
                <a:gd name="T45" fmla="*/ 74 h 228"/>
                <a:gd name="T46" fmla="*/ 17 w 101"/>
                <a:gd name="T47" fmla="*/ 51 h 228"/>
                <a:gd name="T48" fmla="*/ 0 w 101"/>
                <a:gd name="T49" fmla="*/ 28 h 228"/>
                <a:gd name="T50" fmla="*/ 35 w 101"/>
                <a:gd name="T51" fmla="*/ 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1" h="228">
                  <a:moveTo>
                    <a:pt x="35" y="0"/>
                  </a:moveTo>
                  <a:cubicBezTo>
                    <a:pt x="38" y="5"/>
                    <a:pt x="41" y="9"/>
                    <a:pt x="45" y="13"/>
                  </a:cubicBezTo>
                  <a:cubicBezTo>
                    <a:pt x="48" y="17"/>
                    <a:pt x="51" y="21"/>
                    <a:pt x="54" y="25"/>
                  </a:cubicBezTo>
                  <a:cubicBezTo>
                    <a:pt x="59" y="34"/>
                    <a:pt x="65" y="42"/>
                    <a:pt x="70" y="51"/>
                  </a:cubicBezTo>
                  <a:cubicBezTo>
                    <a:pt x="75" y="60"/>
                    <a:pt x="80" y="69"/>
                    <a:pt x="85" y="79"/>
                  </a:cubicBezTo>
                  <a:cubicBezTo>
                    <a:pt x="87" y="84"/>
                    <a:pt x="89" y="89"/>
                    <a:pt x="91" y="93"/>
                  </a:cubicBezTo>
                  <a:cubicBezTo>
                    <a:pt x="93" y="98"/>
                    <a:pt x="95" y="103"/>
                    <a:pt x="97" y="109"/>
                  </a:cubicBezTo>
                  <a:cubicBezTo>
                    <a:pt x="98" y="112"/>
                    <a:pt x="98" y="112"/>
                    <a:pt x="98" y="112"/>
                  </a:cubicBezTo>
                  <a:cubicBezTo>
                    <a:pt x="99" y="114"/>
                    <a:pt x="99" y="114"/>
                    <a:pt x="99" y="114"/>
                  </a:cubicBezTo>
                  <a:cubicBezTo>
                    <a:pt x="99" y="116"/>
                    <a:pt x="99" y="117"/>
                    <a:pt x="100" y="118"/>
                  </a:cubicBezTo>
                  <a:cubicBezTo>
                    <a:pt x="101" y="123"/>
                    <a:pt x="101" y="127"/>
                    <a:pt x="101" y="131"/>
                  </a:cubicBezTo>
                  <a:cubicBezTo>
                    <a:pt x="100" y="138"/>
                    <a:pt x="98" y="144"/>
                    <a:pt x="96" y="150"/>
                  </a:cubicBezTo>
                  <a:cubicBezTo>
                    <a:pt x="92" y="161"/>
                    <a:pt x="87" y="171"/>
                    <a:pt x="81" y="180"/>
                  </a:cubicBezTo>
                  <a:cubicBezTo>
                    <a:pt x="70" y="198"/>
                    <a:pt x="57" y="213"/>
                    <a:pt x="42" y="228"/>
                  </a:cubicBezTo>
                  <a:cubicBezTo>
                    <a:pt x="25" y="214"/>
                    <a:pt x="25" y="214"/>
                    <a:pt x="25" y="214"/>
                  </a:cubicBezTo>
                  <a:cubicBezTo>
                    <a:pt x="35" y="198"/>
                    <a:pt x="44" y="180"/>
                    <a:pt x="51" y="164"/>
                  </a:cubicBezTo>
                  <a:cubicBezTo>
                    <a:pt x="55" y="155"/>
                    <a:pt x="58" y="147"/>
                    <a:pt x="60" y="139"/>
                  </a:cubicBezTo>
                  <a:cubicBezTo>
                    <a:pt x="61" y="135"/>
                    <a:pt x="61" y="132"/>
                    <a:pt x="61" y="129"/>
                  </a:cubicBezTo>
                  <a:cubicBezTo>
                    <a:pt x="61" y="128"/>
                    <a:pt x="61" y="128"/>
                    <a:pt x="61" y="127"/>
                  </a:cubicBezTo>
                  <a:cubicBezTo>
                    <a:pt x="61" y="127"/>
                    <a:pt x="61" y="127"/>
                    <a:pt x="61" y="127"/>
                  </a:cubicBezTo>
                  <a:cubicBezTo>
                    <a:pt x="60" y="126"/>
                    <a:pt x="60" y="126"/>
                    <a:pt x="60" y="126"/>
                  </a:cubicBezTo>
                  <a:cubicBezTo>
                    <a:pt x="59" y="123"/>
                    <a:pt x="59" y="123"/>
                    <a:pt x="59" y="123"/>
                  </a:cubicBezTo>
                  <a:cubicBezTo>
                    <a:pt x="52" y="106"/>
                    <a:pt x="42" y="90"/>
                    <a:pt x="32" y="74"/>
                  </a:cubicBezTo>
                  <a:cubicBezTo>
                    <a:pt x="27" y="66"/>
                    <a:pt x="22" y="59"/>
                    <a:pt x="17" y="51"/>
                  </a:cubicBezTo>
                  <a:cubicBezTo>
                    <a:pt x="11" y="43"/>
                    <a:pt x="5" y="35"/>
                    <a:pt x="0" y="28"/>
                  </a:cubicBezTo>
                  <a:lnTo>
                    <a:pt x="35" y="0"/>
                  </a:lnTo>
                  <a:close/>
                </a:path>
              </a:pathLst>
            </a:custGeom>
            <a:solidFill>
              <a:srgbClr val="B55B5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ïśľiďé">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F190208E-2689-4701-8BB5-A9D52D70BC2B}"/>
                </a:ext>
              </a:extLst>
            </p:cNvPr>
            <p:cNvSpPr/>
            <p:nvPr/>
          </p:nvSpPr>
          <p:spPr bwMode="auto">
            <a:xfrm>
              <a:off x="7523163" y="3094038"/>
              <a:ext cx="122238" cy="119063"/>
            </a:xfrm>
            <a:custGeom>
              <a:avLst/>
              <a:gdLst>
                <a:gd name="T0" fmla="*/ 21 w 37"/>
                <a:gd name="T1" fmla="*/ 0 h 36"/>
                <a:gd name="T2" fmla="*/ 0 w 37"/>
                <a:gd name="T3" fmla="*/ 4 h 36"/>
                <a:gd name="T4" fmla="*/ 19 w 37"/>
                <a:gd name="T5" fmla="*/ 36 h 36"/>
                <a:gd name="T6" fmla="*/ 37 w 37"/>
                <a:gd name="T7" fmla="*/ 15 h 36"/>
                <a:gd name="T8" fmla="*/ 21 w 37"/>
                <a:gd name="T9" fmla="*/ 0 h 36"/>
              </a:gdLst>
              <a:ahLst/>
              <a:cxnLst>
                <a:cxn ang="0">
                  <a:pos x="T0" y="T1"/>
                </a:cxn>
                <a:cxn ang="0">
                  <a:pos x="T2" y="T3"/>
                </a:cxn>
                <a:cxn ang="0">
                  <a:pos x="T4" y="T5"/>
                </a:cxn>
                <a:cxn ang="0">
                  <a:pos x="T6" y="T7"/>
                </a:cxn>
                <a:cxn ang="0">
                  <a:pos x="T8" y="T9"/>
                </a:cxn>
              </a:cxnLst>
              <a:rect l="0" t="0" r="r" b="b"/>
              <a:pathLst>
                <a:path w="37" h="36">
                  <a:moveTo>
                    <a:pt x="21" y="0"/>
                  </a:moveTo>
                  <a:cubicBezTo>
                    <a:pt x="0" y="4"/>
                    <a:pt x="0" y="4"/>
                    <a:pt x="0" y="4"/>
                  </a:cubicBezTo>
                  <a:cubicBezTo>
                    <a:pt x="19" y="36"/>
                    <a:pt x="19" y="36"/>
                    <a:pt x="19" y="36"/>
                  </a:cubicBezTo>
                  <a:cubicBezTo>
                    <a:pt x="19" y="36"/>
                    <a:pt x="34" y="29"/>
                    <a:pt x="37" y="15"/>
                  </a:cubicBezTo>
                  <a:lnTo>
                    <a:pt x="21" y="0"/>
                  </a:lnTo>
                  <a:close/>
                </a:path>
              </a:pathLst>
            </a:custGeom>
            <a:solidFill>
              <a:srgbClr val="B55B5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iš1îḋ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69A1F855-E411-4D8C-A494-8E2F06250ABA}"/>
                </a:ext>
              </a:extLst>
            </p:cNvPr>
            <p:cNvSpPr/>
            <p:nvPr/>
          </p:nvSpPr>
          <p:spPr bwMode="auto">
            <a:xfrm>
              <a:off x="7446963" y="3108325"/>
              <a:ext cx="138113" cy="120650"/>
            </a:xfrm>
            <a:custGeom>
              <a:avLst/>
              <a:gdLst>
                <a:gd name="T0" fmla="*/ 0 w 87"/>
                <a:gd name="T1" fmla="*/ 22 h 76"/>
                <a:gd name="T2" fmla="*/ 35 w 87"/>
                <a:gd name="T3" fmla="*/ 76 h 76"/>
                <a:gd name="T4" fmla="*/ 87 w 87"/>
                <a:gd name="T5" fmla="*/ 66 h 76"/>
                <a:gd name="T6" fmla="*/ 48 w 87"/>
                <a:gd name="T7" fmla="*/ 0 h 76"/>
                <a:gd name="T8" fmla="*/ 0 w 87"/>
                <a:gd name="T9" fmla="*/ 22 h 76"/>
              </a:gdLst>
              <a:ahLst/>
              <a:cxnLst>
                <a:cxn ang="0">
                  <a:pos x="T0" y="T1"/>
                </a:cxn>
                <a:cxn ang="0">
                  <a:pos x="T2" y="T3"/>
                </a:cxn>
                <a:cxn ang="0">
                  <a:pos x="T4" y="T5"/>
                </a:cxn>
                <a:cxn ang="0">
                  <a:pos x="T6" y="T7"/>
                </a:cxn>
                <a:cxn ang="0">
                  <a:pos x="T8" y="T9"/>
                </a:cxn>
              </a:cxnLst>
              <a:rect l="0" t="0" r="r" b="b"/>
              <a:pathLst>
                <a:path w="87" h="76">
                  <a:moveTo>
                    <a:pt x="0" y="22"/>
                  </a:moveTo>
                  <a:lnTo>
                    <a:pt x="35" y="76"/>
                  </a:lnTo>
                  <a:lnTo>
                    <a:pt x="87" y="66"/>
                  </a:lnTo>
                  <a:lnTo>
                    <a:pt x="48" y="0"/>
                  </a:lnTo>
                  <a:lnTo>
                    <a:pt x="0" y="22"/>
                  </a:lnTo>
                  <a:close/>
                </a:path>
              </a:pathLst>
            </a:custGeom>
            <a:solidFill>
              <a:srgbClr val="B55B5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îslîdé">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B5563489-76BA-4246-987D-7D52312B951D}"/>
                </a:ext>
              </a:extLst>
            </p:cNvPr>
            <p:cNvSpPr/>
            <p:nvPr/>
          </p:nvSpPr>
          <p:spPr bwMode="auto">
            <a:xfrm>
              <a:off x="7107238" y="1970088"/>
              <a:ext cx="15875" cy="30163"/>
            </a:xfrm>
            <a:prstGeom prst="ellipse">
              <a:avLst/>
            </a:prstGeom>
            <a:solidFill>
              <a:srgbClr val="0F26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íšļíḋè">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4C241013-4793-4B15-8196-5E636203A62B}"/>
                </a:ext>
              </a:extLst>
            </p:cNvPr>
            <p:cNvSpPr/>
            <p:nvPr/>
          </p:nvSpPr>
          <p:spPr bwMode="auto">
            <a:xfrm>
              <a:off x="7083426" y="2000250"/>
              <a:ext cx="36513" cy="79375"/>
            </a:xfrm>
            <a:custGeom>
              <a:avLst/>
              <a:gdLst>
                <a:gd name="T0" fmla="*/ 11 w 11"/>
                <a:gd name="T1" fmla="*/ 0 h 24"/>
                <a:gd name="T2" fmla="*/ 0 w 11"/>
                <a:gd name="T3" fmla="*/ 20 h 24"/>
                <a:gd name="T4" fmla="*/ 11 w 11"/>
                <a:gd name="T5" fmla="*/ 22 h 24"/>
                <a:gd name="T6" fmla="*/ 11 w 11"/>
                <a:gd name="T7" fmla="*/ 0 h 24"/>
              </a:gdLst>
              <a:ahLst/>
              <a:cxnLst>
                <a:cxn ang="0">
                  <a:pos x="T0" y="T1"/>
                </a:cxn>
                <a:cxn ang="0">
                  <a:pos x="T2" y="T3"/>
                </a:cxn>
                <a:cxn ang="0">
                  <a:pos x="T4" y="T5"/>
                </a:cxn>
                <a:cxn ang="0">
                  <a:pos x="T6" y="T7"/>
                </a:cxn>
              </a:cxnLst>
              <a:rect l="0" t="0" r="r" b="b"/>
              <a:pathLst>
                <a:path w="11" h="24">
                  <a:moveTo>
                    <a:pt x="11" y="0"/>
                  </a:moveTo>
                  <a:cubicBezTo>
                    <a:pt x="11" y="0"/>
                    <a:pt x="6" y="13"/>
                    <a:pt x="0" y="20"/>
                  </a:cubicBezTo>
                  <a:cubicBezTo>
                    <a:pt x="4" y="24"/>
                    <a:pt x="11" y="22"/>
                    <a:pt x="11" y="22"/>
                  </a:cubicBezTo>
                  <a:lnTo>
                    <a:pt x="11" y="0"/>
                  </a:lnTo>
                  <a:close/>
                </a:path>
              </a:pathLst>
            </a:custGeom>
            <a:solidFill>
              <a:srgbClr val="A0272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íš1îḋé">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5219C68D-BE67-4E4B-BA2C-6FDD97548D29}"/>
                </a:ext>
              </a:extLst>
            </p:cNvPr>
            <p:cNvSpPr/>
            <p:nvPr/>
          </p:nvSpPr>
          <p:spPr bwMode="auto">
            <a:xfrm>
              <a:off x="7110413" y="1917700"/>
              <a:ext cx="46038" cy="22225"/>
            </a:xfrm>
            <a:custGeom>
              <a:avLst/>
              <a:gdLst>
                <a:gd name="T0" fmla="*/ 13 w 14"/>
                <a:gd name="T1" fmla="*/ 7 h 7"/>
                <a:gd name="T2" fmla="*/ 12 w 14"/>
                <a:gd name="T3" fmla="*/ 7 h 7"/>
                <a:gd name="T4" fmla="*/ 2 w 14"/>
                <a:gd name="T5" fmla="*/ 5 h 7"/>
                <a:gd name="T6" fmla="*/ 0 w 14"/>
                <a:gd name="T7" fmla="*/ 4 h 7"/>
                <a:gd name="T8" fmla="*/ 1 w 14"/>
                <a:gd name="T9" fmla="*/ 3 h 7"/>
                <a:gd name="T10" fmla="*/ 14 w 14"/>
                <a:gd name="T11" fmla="*/ 5 h 7"/>
                <a:gd name="T12" fmla="*/ 14 w 14"/>
                <a:gd name="T13" fmla="*/ 7 h 7"/>
                <a:gd name="T14" fmla="*/ 13 w 14"/>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7">
                  <a:moveTo>
                    <a:pt x="13" y="7"/>
                  </a:moveTo>
                  <a:cubicBezTo>
                    <a:pt x="12" y="7"/>
                    <a:pt x="12" y="7"/>
                    <a:pt x="12" y="7"/>
                  </a:cubicBezTo>
                  <a:cubicBezTo>
                    <a:pt x="7" y="3"/>
                    <a:pt x="2" y="5"/>
                    <a:pt x="2" y="5"/>
                  </a:cubicBezTo>
                  <a:cubicBezTo>
                    <a:pt x="1" y="5"/>
                    <a:pt x="1" y="5"/>
                    <a:pt x="0" y="4"/>
                  </a:cubicBezTo>
                  <a:cubicBezTo>
                    <a:pt x="0" y="4"/>
                    <a:pt x="0" y="3"/>
                    <a:pt x="1" y="3"/>
                  </a:cubicBezTo>
                  <a:cubicBezTo>
                    <a:pt x="1" y="2"/>
                    <a:pt x="7" y="0"/>
                    <a:pt x="14" y="5"/>
                  </a:cubicBezTo>
                  <a:cubicBezTo>
                    <a:pt x="14" y="5"/>
                    <a:pt x="14" y="6"/>
                    <a:pt x="14" y="7"/>
                  </a:cubicBezTo>
                  <a:cubicBezTo>
                    <a:pt x="14" y="7"/>
                    <a:pt x="13" y="7"/>
                    <a:pt x="13" y="7"/>
                  </a:cubicBezTo>
                  <a:close/>
                </a:path>
              </a:pathLst>
            </a:custGeom>
            <a:solidFill>
              <a:srgbClr val="0F26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ï$1ïḓè">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F774063F-021C-41CC-9269-4D59BCEA57DE}"/>
                </a:ext>
              </a:extLst>
            </p:cNvPr>
            <p:cNvSpPr/>
            <p:nvPr/>
          </p:nvSpPr>
          <p:spPr bwMode="auto">
            <a:xfrm>
              <a:off x="7104063" y="2076450"/>
              <a:ext cx="296863" cy="319088"/>
            </a:xfrm>
            <a:custGeom>
              <a:avLst/>
              <a:gdLst>
                <a:gd name="T0" fmla="*/ 83 w 90"/>
                <a:gd name="T1" fmla="*/ 0 h 97"/>
                <a:gd name="T2" fmla="*/ 90 w 90"/>
                <a:gd name="T3" fmla="*/ 75 h 97"/>
                <a:gd name="T4" fmla="*/ 44 w 90"/>
                <a:gd name="T5" fmla="*/ 97 h 97"/>
                <a:gd name="T6" fmla="*/ 23 w 90"/>
                <a:gd name="T7" fmla="*/ 75 h 97"/>
                <a:gd name="T8" fmla="*/ 42 w 90"/>
                <a:gd name="T9" fmla="*/ 35 h 97"/>
                <a:gd name="T10" fmla="*/ 83 w 90"/>
                <a:gd name="T11" fmla="*/ 0 h 97"/>
              </a:gdLst>
              <a:ahLst/>
              <a:cxnLst>
                <a:cxn ang="0">
                  <a:pos x="T0" y="T1"/>
                </a:cxn>
                <a:cxn ang="0">
                  <a:pos x="T2" y="T3"/>
                </a:cxn>
                <a:cxn ang="0">
                  <a:pos x="T4" y="T5"/>
                </a:cxn>
                <a:cxn ang="0">
                  <a:pos x="T6" y="T7"/>
                </a:cxn>
                <a:cxn ang="0">
                  <a:pos x="T8" y="T9"/>
                </a:cxn>
                <a:cxn ang="0">
                  <a:pos x="T10" y="T11"/>
                </a:cxn>
              </a:cxnLst>
              <a:rect l="0" t="0" r="r" b="b"/>
              <a:pathLst>
                <a:path w="90" h="97">
                  <a:moveTo>
                    <a:pt x="83" y="0"/>
                  </a:moveTo>
                  <a:cubicBezTo>
                    <a:pt x="79" y="21"/>
                    <a:pt x="74" y="61"/>
                    <a:pt x="90" y="75"/>
                  </a:cubicBezTo>
                  <a:cubicBezTo>
                    <a:pt x="90" y="75"/>
                    <a:pt x="84" y="97"/>
                    <a:pt x="44" y="97"/>
                  </a:cubicBezTo>
                  <a:cubicBezTo>
                    <a:pt x="0" y="97"/>
                    <a:pt x="23" y="75"/>
                    <a:pt x="23" y="75"/>
                  </a:cubicBezTo>
                  <a:cubicBezTo>
                    <a:pt x="47" y="69"/>
                    <a:pt x="46" y="51"/>
                    <a:pt x="42" y="35"/>
                  </a:cubicBezTo>
                  <a:lnTo>
                    <a:pt x="83" y="0"/>
                  </a:lnTo>
                  <a:close/>
                </a:path>
              </a:pathLst>
            </a:custGeom>
            <a:solidFill>
              <a:srgbClr val="B55B5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íšlîďé">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EB4078AD-ACC2-4149-AF74-8CA40BFC0C7F}"/>
                </a:ext>
              </a:extLst>
            </p:cNvPr>
            <p:cNvSpPr/>
            <p:nvPr/>
          </p:nvSpPr>
          <p:spPr bwMode="auto">
            <a:xfrm>
              <a:off x="7150101" y="2273300"/>
              <a:ext cx="290513" cy="79375"/>
            </a:xfrm>
            <a:custGeom>
              <a:avLst/>
              <a:gdLst>
                <a:gd name="T0" fmla="*/ 81 w 88"/>
                <a:gd name="T1" fmla="*/ 22 h 24"/>
                <a:gd name="T2" fmla="*/ 81 w 88"/>
                <a:gd name="T3" fmla="*/ 5 h 24"/>
                <a:gd name="T4" fmla="*/ 15 w 88"/>
                <a:gd name="T5" fmla="*/ 5 h 24"/>
                <a:gd name="T6" fmla="*/ 4 w 88"/>
                <a:gd name="T7" fmla="*/ 24 h 24"/>
                <a:gd name="T8" fmla="*/ 81 w 88"/>
                <a:gd name="T9" fmla="*/ 22 h 24"/>
              </a:gdLst>
              <a:ahLst/>
              <a:cxnLst>
                <a:cxn ang="0">
                  <a:pos x="T0" y="T1"/>
                </a:cxn>
                <a:cxn ang="0">
                  <a:pos x="T2" y="T3"/>
                </a:cxn>
                <a:cxn ang="0">
                  <a:pos x="T4" y="T5"/>
                </a:cxn>
                <a:cxn ang="0">
                  <a:pos x="T6" y="T7"/>
                </a:cxn>
                <a:cxn ang="0">
                  <a:pos x="T8" y="T9"/>
                </a:cxn>
              </a:cxnLst>
              <a:rect l="0" t="0" r="r" b="b"/>
              <a:pathLst>
                <a:path w="88" h="24">
                  <a:moveTo>
                    <a:pt x="81" y="22"/>
                  </a:moveTo>
                  <a:cubicBezTo>
                    <a:pt x="84" y="16"/>
                    <a:pt x="88" y="8"/>
                    <a:pt x="81" y="5"/>
                  </a:cubicBezTo>
                  <a:cubicBezTo>
                    <a:pt x="73" y="2"/>
                    <a:pt x="30" y="0"/>
                    <a:pt x="15" y="5"/>
                  </a:cubicBezTo>
                  <a:cubicBezTo>
                    <a:pt x="0" y="10"/>
                    <a:pt x="4" y="24"/>
                    <a:pt x="4" y="24"/>
                  </a:cubicBezTo>
                  <a:lnTo>
                    <a:pt x="81" y="22"/>
                  </a:ln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i$1iḓè">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F19B4FAC-3DB1-4BAF-B96D-BEFB7872BD79}"/>
                </a:ext>
              </a:extLst>
            </p:cNvPr>
            <p:cNvSpPr/>
            <p:nvPr/>
          </p:nvSpPr>
          <p:spPr bwMode="auto">
            <a:xfrm>
              <a:off x="7697788" y="5629275"/>
              <a:ext cx="52388" cy="26988"/>
            </a:xfrm>
            <a:custGeom>
              <a:avLst/>
              <a:gdLst>
                <a:gd name="T0" fmla="*/ 8 w 16"/>
                <a:gd name="T1" fmla="*/ 8 h 8"/>
                <a:gd name="T2" fmla="*/ 1 w 16"/>
                <a:gd name="T3" fmla="*/ 6 h 8"/>
                <a:gd name="T4" fmla="*/ 1 w 16"/>
                <a:gd name="T5" fmla="*/ 3 h 8"/>
                <a:gd name="T6" fmla="*/ 3 w 16"/>
                <a:gd name="T7" fmla="*/ 1 h 8"/>
                <a:gd name="T8" fmla="*/ 16 w 16"/>
                <a:gd name="T9" fmla="*/ 6 h 8"/>
                <a:gd name="T10" fmla="*/ 16 w 16"/>
                <a:gd name="T11" fmla="*/ 7 h 8"/>
                <a:gd name="T12" fmla="*/ 15 w 16"/>
                <a:gd name="T13" fmla="*/ 7 h 8"/>
                <a:gd name="T14" fmla="*/ 8 w 16"/>
                <a:gd name="T15" fmla="*/ 8 h 8"/>
                <a:gd name="T16" fmla="*/ 4 w 16"/>
                <a:gd name="T17" fmla="*/ 2 h 8"/>
                <a:gd name="T18" fmla="*/ 3 w 16"/>
                <a:gd name="T19" fmla="*/ 3 h 8"/>
                <a:gd name="T20" fmla="*/ 2 w 16"/>
                <a:gd name="T21" fmla="*/ 4 h 8"/>
                <a:gd name="T22" fmla="*/ 2 w 16"/>
                <a:gd name="T23" fmla="*/ 5 h 8"/>
                <a:gd name="T24" fmla="*/ 14 w 16"/>
                <a:gd name="T25" fmla="*/ 6 h 8"/>
                <a:gd name="T26" fmla="*/ 4 w 16"/>
                <a:gd name="T27"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8">
                  <a:moveTo>
                    <a:pt x="8" y="8"/>
                  </a:moveTo>
                  <a:cubicBezTo>
                    <a:pt x="5" y="8"/>
                    <a:pt x="2" y="8"/>
                    <a:pt x="1" y="6"/>
                  </a:cubicBezTo>
                  <a:cubicBezTo>
                    <a:pt x="0" y="6"/>
                    <a:pt x="0" y="4"/>
                    <a:pt x="1" y="3"/>
                  </a:cubicBezTo>
                  <a:cubicBezTo>
                    <a:pt x="1" y="2"/>
                    <a:pt x="2" y="1"/>
                    <a:pt x="3" y="1"/>
                  </a:cubicBezTo>
                  <a:cubicBezTo>
                    <a:pt x="7" y="0"/>
                    <a:pt x="15" y="6"/>
                    <a:pt x="16" y="6"/>
                  </a:cubicBezTo>
                  <a:cubicBezTo>
                    <a:pt x="16" y="7"/>
                    <a:pt x="16" y="7"/>
                    <a:pt x="16" y="7"/>
                  </a:cubicBezTo>
                  <a:cubicBezTo>
                    <a:pt x="15" y="7"/>
                    <a:pt x="15" y="7"/>
                    <a:pt x="15" y="7"/>
                  </a:cubicBezTo>
                  <a:cubicBezTo>
                    <a:pt x="14" y="8"/>
                    <a:pt x="11" y="8"/>
                    <a:pt x="8" y="8"/>
                  </a:cubicBezTo>
                  <a:close/>
                  <a:moveTo>
                    <a:pt x="4" y="2"/>
                  </a:moveTo>
                  <a:cubicBezTo>
                    <a:pt x="3" y="3"/>
                    <a:pt x="3" y="3"/>
                    <a:pt x="3" y="3"/>
                  </a:cubicBezTo>
                  <a:cubicBezTo>
                    <a:pt x="3" y="3"/>
                    <a:pt x="2" y="3"/>
                    <a:pt x="2" y="4"/>
                  </a:cubicBezTo>
                  <a:cubicBezTo>
                    <a:pt x="1" y="5"/>
                    <a:pt x="2" y="5"/>
                    <a:pt x="2" y="5"/>
                  </a:cubicBezTo>
                  <a:cubicBezTo>
                    <a:pt x="3" y="7"/>
                    <a:pt x="9" y="7"/>
                    <a:pt x="14" y="6"/>
                  </a:cubicBezTo>
                  <a:cubicBezTo>
                    <a:pt x="11" y="5"/>
                    <a:pt x="7" y="2"/>
                    <a:pt x="4" y="2"/>
                  </a:cubicBez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íṩļíḋ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4926BD27-E945-45F8-A43C-465C5FE1566D}"/>
                </a:ext>
              </a:extLst>
            </p:cNvPr>
            <p:cNvSpPr/>
            <p:nvPr/>
          </p:nvSpPr>
          <p:spPr bwMode="auto">
            <a:xfrm>
              <a:off x="7716838" y="5608638"/>
              <a:ext cx="33338" cy="42863"/>
            </a:xfrm>
            <a:custGeom>
              <a:avLst/>
              <a:gdLst>
                <a:gd name="T0" fmla="*/ 9 w 10"/>
                <a:gd name="T1" fmla="*/ 13 h 13"/>
                <a:gd name="T2" fmla="*/ 9 w 10"/>
                <a:gd name="T3" fmla="*/ 13 h 13"/>
                <a:gd name="T4" fmla="*/ 1 w 10"/>
                <a:gd name="T5" fmla="*/ 2 h 13"/>
                <a:gd name="T6" fmla="*/ 3 w 10"/>
                <a:gd name="T7" fmla="*/ 0 h 13"/>
                <a:gd name="T8" fmla="*/ 6 w 10"/>
                <a:gd name="T9" fmla="*/ 1 h 13"/>
                <a:gd name="T10" fmla="*/ 10 w 10"/>
                <a:gd name="T11" fmla="*/ 13 h 13"/>
                <a:gd name="T12" fmla="*/ 10 w 10"/>
                <a:gd name="T13" fmla="*/ 13 h 13"/>
                <a:gd name="T14" fmla="*/ 9 w 10"/>
                <a:gd name="T15" fmla="*/ 13 h 13"/>
                <a:gd name="T16" fmla="*/ 3 w 10"/>
                <a:gd name="T17" fmla="*/ 1 h 13"/>
                <a:gd name="T18" fmla="*/ 3 w 10"/>
                <a:gd name="T19" fmla="*/ 1 h 13"/>
                <a:gd name="T20" fmla="*/ 2 w 10"/>
                <a:gd name="T21" fmla="*/ 2 h 13"/>
                <a:gd name="T22" fmla="*/ 8 w 10"/>
                <a:gd name="T23" fmla="*/ 11 h 13"/>
                <a:gd name="T24" fmla="*/ 5 w 10"/>
                <a:gd name="T25" fmla="*/ 2 h 13"/>
                <a:gd name="T26" fmla="*/ 3 w 10"/>
                <a:gd name="T27" fmla="*/ 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 h="13">
                  <a:moveTo>
                    <a:pt x="9" y="13"/>
                  </a:moveTo>
                  <a:cubicBezTo>
                    <a:pt x="9" y="13"/>
                    <a:pt x="9" y="13"/>
                    <a:pt x="9" y="13"/>
                  </a:cubicBezTo>
                  <a:cubicBezTo>
                    <a:pt x="6" y="12"/>
                    <a:pt x="0" y="5"/>
                    <a:pt x="1" y="2"/>
                  </a:cubicBezTo>
                  <a:cubicBezTo>
                    <a:pt x="1" y="1"/>
                    <a:pt x="1" y="0"/>
                    <a:pt x="3" y="0"/>
                  </a:cubicBezTo>
                  <a:cubicBezTo>
                    <a:pt x="4" y="0"/>
                    <a:pt x="5" y="0"/>
                    <a:pt x="6" y="1"/>
                  </a:cubicBezTo>
                  <a:cubicBezTo>
                    <a:pt x="9" y="4"/>
                    <a:pt x="10" y="12"/>
                    <a:pt x="10" y="13"/>
                  </a:cubicBezTo>
                  <a:cubicBezTo>
                    <a:pt x="10" y="13"/>
                    <a:pt x="10" y="13"/>
                    <a:pt x="10" y="13"/>
                  </a:cubicBezTo>
                  <a:lnTo>
                    <a:pt x="9" y="13"/>
                  </a:lnTo>
                  <a:close/>
                  <a:moveTo>
                    <a:pt x="3" y="1"/>
                  </a:moveTo>
                  <a:cubicBezTo>
                    <a:pt x="3" y="1"/>
                    <a:pt x="3" y="1"/>
                    <a:pt x="3" y="1"/>
                  </a:cubicBezTo>
                  <a:cubicBezTo>
                    <a:pt x="2" y="1"/>
                    <a:pt x="2" y="2"/>
                    <a:pt x="2" y="2"/>
                  </a:cubicBezTo>
                  <a:cubicBezTo>
                    <a:pt x="2" y="4"/>
                    <a:pt x="5" y="9"/>
                    <a:pt x="8" y="11"/>
                  </a:cubicBezTo>
                  <a:cubicBezTo>
                    <a:pt x="8" y="9"/>
                    <a:pt x="7" y="4"/>
                    <a:pt x="5" y="2"/>
                  </a:cubicBezTo>
                  <a:cubicBezTo>
                    <a:pt x="4" y="2"/>
                    <a:pt x="4" y="1"/>
                    <a:pt x="3" y="1"/>
                  </a:cubicBez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îṡ1iḓ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8557CF22-BEE8-40FA-9F73-D3FE3A4E7E36}"/>
                </a:ext>
              </a:extLst>
            </p:cNvPr>
            <p:cNvSpPr/>
            <p:nvPr/>
          </p:nvSpPr>
          <p:spPr bwMode="auto">
            <a:xfrm>
              <a:off x="7110413" y="5629275"/>
              <a:ext cx="61913" cy="26988"/>
            </a:xfrm>
            <a:custGeom>
              <a:avLst/>
              <a:gdLst>
                <a:gd name="T0" fmla="*/ 9 w 19"/>
                <a:gd name="T1" fmla="*/ 8 h 8"/>
                <a:gd name="T2" fmla="*/ 1 w 19"/>
                <a:gd name="T3" fmla="*/ 6 h 8"/>
                <a:gd name="T4" fmla="*/ 1 w 19"/>
                <a:gd name="T5" fmla="*/ 3 h 8"/>
                <a:gd name="T6" fmla="*/ 3 w 19"/>
                <a:gd name="T7" fmla="*/ 1 h 8"/>
                <a:gd name="T8" fmla="*/ 19 w 19"/>
                <a:gd name="T9" fmla="*/ 6 h 8"/>
                <a:gd name="T10" fmla="*/ 19 w 19"/>
                <a:gd name="T11" fmla="*/ 7 h 8"/>
                <a:gd name="T12" fmla="*/ 18 w 19"/>
                <a:gd name="T13" fmla="*/ 7 h 8"/>
                <a:gd name="T14" fmla="*/ 9 w 19"/>
                <a:gd name="T15" fmla="*/ 8 h 8"/>
                <a:gd name="T16" fmla="*/ 5 w 19"/>
                <a:gd name="T17" fmla="*/ 2 h 8"/>
                <a:gd name="T18" fmla="*/ 3 w 19"/>
                <a:gd name="T19" fmla="*/ 3 h 8"/>
                <a:gd name="T20" fmla="*/ 2 w 19"/>
                <a:gd name="T21" fmla="*/ 4 h 8"/>
                <a:gd name="T22" fmla="*/ 2 w 19"/>
                <a:gd name="T23" fmla="*/ 5 h 8"/>
                <a:gd name="T24" fmla="*/ 16 w 19"/>
                <a:gd name="T25" fmla="*/ 6 h 8"/>
                <a:gd name="T26" fmla="*/ 5 w 19"/>
                <a:gd name="T27"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8">
                  <a:moveTo>
                    <a:pt x="9" y="8"/>
                  </a:moveTo>
                  <a:cubicBezTo>
                    <a:pt x="6" y="8"/>
                    <a:pt x="2" y="8"/>
                    <a:pt x="1" y="6"/>
                  </a:cubicBezTo>
                  <a:cubicBezTo>
                    <a:pt x="0" y="5"/>
                    <a:pt x="0" y="4"/>
                    <a:pt x="1" y="3"/>
                  </a:cubicBezTo>
                  <a:cubicBezTo>
                    <a:pt x="1" y="2"/>
                    <a:pt x="2" y="1"/>
                    <a:pt x="3" y="1"/>
                  </a:cubicBezTo>
                  <a:cubicBezTo>
                    <a:pt x="8" y="0"/>
                    <a:pt x="18" y="6"/>
                    <a:pt x="19" y="6"/>
                  </a:cubicBezTo>
                  <a:cubicBezTo>
                    <a:pt x="19" y="7"/>
                    <a:pt x="19" y="7"/>
                    <a:pt x="19" y="7"/>
                  </a:cubicBezTo>
                  <a:cubicBezTo>
                    <a:pt x="18" y="7"/>
                    <a:pt x="18" y="7"/>
                    <a:pt x="18" y="7"/>
                  </a:cubicBezTo>
                  <a:cubicBezTo>
                    <a:pt x="17" y="8"/>
                    <a:pt x="13" y="8"/>
                    <a:pt x="9" y="8"/>
                  </a:cubicBezTo>
                  <a:close/>
                  <a:moveTo>
                    <a:pt x="5" y="2"/>
                  </a:moveTo>
                  <a:cubicBezTo>
                    <a:pt x="4" y="2"/>
                    <a:pt x="4" y="2"/>
                    <a:pt x="3" y="3"/>
                  </a:cubicBezTo>
                  <a:cubicBezTo>
                    <a:pt x="3" y="3"/>
                    <a:pt x="2" y="3"/>
                    <a:pt x="2" y="4"/>
                  </a:cubicBezTo>
                  <a:cubicBezTo>
                    <a:pt x="2" y="4"/>
                    <a:pt x="2" y="5"/>
                    <a:pt x="2" y="5"/>
                  </a:cubicBezTo>
                  <a:cubicBezTo>
                    <a:pt x="3" y="7"/>
                    <a:pt x="11" y="7"/>
                    <a:pt x="16" y="6"/>
                  </a:cubicBezTo>
                  <a:cubicBezTo>
                    <a:pt x="13" y="5"/>
                    <a:pt x="8" y="2"/>
                    <a:pt x="5" y="2"/>
                  </a:cubicBez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íṡḷíď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C3D39A09-88D8-4374-8673-B341131A5CF5}"/>
                </a:ext>
              </a:extLst>
            </p:cNvPr>
            <p:cNvSpPr/>
            <p:nvPr/>
          </p:nvSpPr>
          <p:spPr bwMode="auto">
            <a:xfrm>
              <a:off x="7132638" y="5608638"/>
              <a:ext cx="39688" cy="42863"/>
            </a:xfrm>
            <a:custGeom>
              <a:avLst/>
              <a:gdLst>
                <a:gd name="T0" fmla="*/ 11 w 12"/>
                <a:gd name="T1" fmla="*/ 13 h 13"/>
                <a:gd name="T2" fmla="*/ 11 w 12"/>
                <a:gd name="T3" fmla="*/ 13 h 13"/>
                <a:gd name="T4" fmla="*/ 1 w 12"/>
                <a:gd name="T5" fmla="*/ 2 h 13"/>
                <a:gd name="T6" fmla="*/ 4 w 12"/>
                <a:gd name="T7" fmla="*/ 0 h 13"/>
                <a:gd name="T8" fmla="*/ 7 w 12"/>
                <a:gd name="T9" fmla="*/ 1 h 13"/>
                <a:gd name="T10" fmla="*/ 12 w 12"/>
                <a:gd name="T11" fmla="*/ 13 h 13"/>
                <a:gd name="T12" fmla="*/ 12 w 12"/>
                <a:gd name="T13" fmla="*/ 13 h 13"/>
                <a:gd name="T14" fmla="*/ 11 w 12"/>
                <a:gd name="T15" fmla="*/ 13 h 13"/>
                <a:gd name="T16" fmla="*/ 4 w 12"/>
                <a:gd name="T17" fmla="*/ 1 h 13"/>
                <a:gd name="T18" fmla="*/ 4 w 12"/>
                <a:gd name="T19" fmla="*/ 1 h 13"/>
                <a:gd name="T20" fmla="*/ 2 w 12"/>
                <a:gd name="T21" fmla="*/ 2 h 13"/>
                <a:gd name="T22" fmla="*/ 10 w 12"/>
                <a:gd name="T23" fmla="*/ 11 h 13"/>
                <a:gd name="T24" fmla="*/ 6 w 12"/>
                <a:gd name="T25" fmla="*/ 2 h 13"/>
                <a:gd name="T26" fmla="*/ 4 w 12"/>
                <a:gd name="T27" fmla="*/ 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3">
                  <a:moveTo>
                    <a:pt x="11" y="13"/>
                  </a:moveTo>
                  <a:cubicBezTo>
                    <a:pt x="11" y="13"/>
                    <a:pt x="11" y="13"/>
                    <a:pt x="11" y="13"/>
                  </a:cubicBezTo>
                  <a:cubicBezTo>
                    <a:pt x="7" y="12"/>
                    <a:pt x="0" y="5"/>
                    <a:pt x="1" y="2"/>
                  </a:cubicBezTo>
                  <a:cubicBezTo>
                    <a:pt x="1" y="1"/>
                    <a:pt x="2" y="0"/>
                    <a:pt x="4" y="0"/>
                  </a:cubicBezTo>
                  <a:cubicBezTo>
                    <a:pt x="5" y="0"/>
                    <a:pt x="6" y="0"/>
                    <a:pt x="7" y="1"/>
                  </a:cubicBezTo>
                  <a:cubicBezTo>
                    <a:pt x="11" y="4"/>
                    <a:pt x="12" y="12"/>
                    <a:pt x="12" y="13"/>
                  </a:cubicBezTo>
                  <a:cubicBezTo>
                    <a:pt x="12" y="13"/>
                    <a:pt x="12" y="13"/>
                    <a:pt x="12" y="13"/>
                  </a:cubicBezTo>
                  <a:lnTo>
                    <a:pt x="11" y="13"/>
                  </a:lnTo>
                  <a:close/>
                  <a:moveTo>
                    <a:pt x="4" y="1"/>
                  </a:moveTo>
                  <a:cubicBezTo>
                    <a:pt x="4" y="1"/>
                    <a:pt x="4" y="1"/>
                    <a:pt x="4" y="1"/>
                  </a:cubicBezTo>
                  <a:cubicBezTo>
                    <a:pt x="2" y="2"/>
                    <a:pt x="2" y="2"/>
                    <a:pt x="2" y="2"/>
                  </a:cubicBezTo>
                  <a:cubicBezTo>
                    <a:pt x="2" y="4"/>
                    <a:pt x="7" y="9"/>
                    <a:pt x="10" y="11"/>
                  </a:cubicBezTo>
                  <a:cubicBezTo>
                    <a:pt x="10" y="9"/>
                    <a:pt x="9" y="4"/>
                    <a:pt x="6" y="2"/>
                  </a:cubicBezTo>
                  <a:cubicBezTo>
                    <a:pt x="6" y="2"/>
                    <a:pt x="5" y="1"/>
                    <a:pt x="4" y="1"/>
                  </a:cubicBez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iṥľïḋ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909304BF-C8EB-40CB-ACC2-B4861E2D97D7}"/>
                </a:ext>
              </a:extLst>
            </p:cNvPr>
            <p:cNvSpPr/>
            <p:nvPr/>
          </p:nvSpPr>
          <p:spPr bwMode="auto">
            <a:xfrm>
              <a:off x="7169151" y="5427663"/>
              <a:ext cx="109538" cy="223838"/>
            </a:xfrm>
            <a:custGeom>
              <a:avLst/>
              <a:gdLst>
                <a:gd name="T0" fmla="*/ 69 w 69"/>
                <a:gd name="T1" fmla="*/ 141 h 141"/>
                <a:gd name="T2" fmla="*/ 7 w 69"/>
                <a:gd name="T3" fmla="*/ 141 h 141"/>
                <a:gd name="T4" fmla="*/ 0 w 69"/>
                <a:gd name="T5" fmla="*/ 0 h 141"/>
                <a:gd name="T6" fmla="*/ 63 w 69"/>
                <a:gd name="T7" fmla="*/ 0 h 141"/>
                <a:gd name="T8" fmla="*/ 69 w 69"/>
                <a:gd name="T9" fmla="*/ 141 h 141"/>
              </a:gdLst>
              <a:ahLst/>
              <a:cxnLst>
                <a:cxn ang="0">
                  <a:pos x="T0" y="T1"/>
                </a:cxn>
                <a:cxn ang="0">
                  <a:pos x="T2" y="T3"/>
                </a:cxn>
                <a:cxn ang="0">
                  <a:pos x="T4" y="T5"/>
                </a:cxn>
                <a:cxn ang="0">
                  <a:pos x="T6" y="T7"/>
                </a:cxn>
                <a:cxn ang="0">
                  <a:pos x="T8" y="T9"/>
                </a:cxn>
              </a:cxnLst>
              <a:rect l="0" t="0" r="r" b="b"/>
              <a:pathLst>
                <a:path w="69" h="141">
                  <a:moveTo>
                    <a:pt x="69" y="141"/>
                  </a:moveTo>
                  <a:lnTo>
                    <a:pt x="7" y="141"/>
                  </a:lnTo>
                  <a:lnTo>
                    <a:pt x="0" y="0"/>
                  </a:lnTo>
                  <a:lnTo>
                    <a:pt x="63" y="0"/>
                  </a:lnTo>
                  <a:lnTo>
                    <a:pt x="69" y="141"/>
                  </a:lnTo>
                  <a:close/>
                </a:path>
              </a:pathLst>
            </a:custGeom>
            <a:solidFill>
              <a:srgbClr val="B55B5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íṧḻïḍ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84167F81-9981-477B-BBEA-204433EA8D3D}"/>
                </a:ext>
              </a:extLst>
            </p:cNvPr>
            <p:cNvSpPr/>
            <p:nvPr/>
          </p:nvSpPr>
          <p:spPr bwMode="auto">
            <a:xfrm>
              <a:off x="7713663" y="5427663"/>
              <a:ext cx="146050" cy="223838"/>
            </a:xfrm>
            <a:custGeom>
              <a:avLst/>
              <a:gdLst>
                <a:gd name="T0" fmla="*/ 92 w 92"/>
                <a:gd name="T1" fmla="*/ 141 h 141"/>
                <a:gd name="T2" fmla="*/ 31 w 92"/>
                <a:gd name="T3" fmla="*/ 141 h 141"/>
                <a:gd name="T4" fmla="*/ 0 w 92"/>
                <a:gd name="T5" fmla="*/ 0 h 141"/>
                <a:gd name="T6" fmla="*/ 60 w 92"/>
                <a:gd name="T7" fmla="*/ 0 h 141"/>
                <a:gd name="T8" fmla="*/ 92 w 92"/>
                <a:gd name="T9" fmla="*/ 141 h 141"/>
              </a:gdLst>
              <a:ahLst/>
              <a:cxnLst>
                <a:cxn ang="0">
                  <a:pos x="T0" y="T1"/>
                </a:cxn>
                <a:cxn ang="0">
                  <a:pos x="T2" y="T3"/>
                </a:cxn>
                <a:cxn ang="0">
                  <a:pos x="T4" y="T5"/>
                </a:cxn>
                <a:cxn ang="0">
                  <a:pos x="T6" y="T7"/>
                </a:cxn>
                <a:cxn ang="0">
                  <a:pos x="T8" y="T9"/>
                </a:cxn>
              </a:cxnLst>
              <a:rect l="0" t="0" r="r" b="b"/>
              <a:pathLst>
                <a:path w="92" h="141">
                  <a:moveTo>
                    <a:pt x="92" y="141"/>
                  </a:moveTo>
                  <a:lnTo>
                    <a:pt x="31" y="141"/>
                  </a:lnTo>
                  <a:lnTo>
                    <a:pt x="0" y="0"/>
                  </a:lnTo>
                  <a:lnTo>
                    <a:pt x="60" y="0"/>
                  </a:lnTo>
                  <a:lnTo>
                    <a:pt x="92" y="141"/>
                  </a:lnTo>
                  <a:close/>
                </a:path>
              </a:pathLst>
            </a:custGeom>
            <a:solidFill>
              <a:srgbClr val="B55B5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íś1îd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A30B179A-584E-49D4-8291-373B50FABEA7}"/>
                </a:ext>
              </a:extLst>
            </p:cNvPr>
            <p:cNvSpPr/>
            <p:nvPr/>
          </p:nvSpPr>
          <p:spPr bwMode="auto">
            <a:xfrm>
              <a:off x="7594601" y="5638800"/>
              <a:ext cx="296863" cy="112713"/>
            </a:xfrm>
            <a:custGeom>
              <a:avLst/>
              <a:gdLst>
                <a:gd name="T0" fmla="*/ 49 w 90"/>
                <a:gd name="T1" fmla="*/ 0 h 34"/>
                <a:gd name="T2" fmla="*/ 82 w 90"/>
                <a:gd name="T3" fmla="*/ 0 h 34"/>
                <a:gd name="T4" fmla="*/ 84 w 90"/>
                <a:gd name="T5" fmla="*/ 2 h 34"/>
                <a:gd name="T6" fmla="*/ 90 w 90"/>
                <a:gd name="T7" fmla="*/ 28 h 34"/>
                <a:gd name="T8" fmla="*/ 86 w 90"/>
                <a:gd name="T9" fmla="*/ 34 h 34"/>
                <a:gd name="T10" fmla="*/ 54 w 90"/>
                <a:gd name="T11" fmla="*/ 33 h 34"/>
                <a:gd name="T12" fmla="*/ 14 w 90"/>
                <a:gd name="T13" fmla="*/ 34 h 34"/>
                <a:gd name="T14" fmla="*/ 5 w 90"/>
                <a:gd name="T15" fmla="*/ 20 h 34"/>
                <a:gd name="T16" fmla="*/ 44 w 90"/>
                <a:gd name="T17" fmla="*/ 2 h 34"/>
                <a:gd name="T18" fmla="*/ 49 w 90"/>
                <a:gd name="T1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34">
                  <a:moveTo>
                    <a:pt x="49" y="0"/>
                  </a:moveTo>
                  <a:cubicBezTo>
                    <a:pt x="82" y="0"/>
                    <a:pt x="82" y="0"/>
                    <a:pt x="82" y="0"/>
                  </a:cubicBezTo>
                  <a:cubicBezTo>
                    <a:pt x="83" y="0"/>
                    <a:pt x="84" y="1"/>
                    <a:pt x="84" y="2"/>
                  </a:cubicBezTo>
                  <a:cubicBezTo>
                    <a:pt x="90" y="28"/>
                    <a:pt x="90" y="28"/>
                    <a:pt x="90" y="28"/>
                  </a:cubicBezTo>
                  <a:cubicBezTo>
                    <a:pt x="90" y="31"/>
                    <a:pt x="88" y="34"/>
                    <a:pt x="86" y="34"/>
                  </a:cubicBezTo>
                  <a:cubicBezTo>
                    <a:pt x="74" y="33"/>
                    <a:pt x="68" y="33"/>
                    <a:pt x="54" y="33"/>
                  </a:cubicBezTo>
                  <a:cubicBezTo>
                    <a:pt x="45" y="33"/>
                    <a:pt x="27" y="34"/>
                    <a:pt x="14" y="34"/>
                  </a:cubicBezTo>
                  <a:cubicBezTo>
                    <a:pt x="2" y="34"/>
                    <a:pt x="0" y="21"/>
                    <a:pt x="5" y="20"/>
                  </a:cubicBezTo>
                  <a:cubicBezTo>
                    <a:pt x="28" y="15"/>
                    <a:pt x="36" y="8"/>
                    <a:pt x="44" y="2"/>
                  </a:cubicBezTo>
                  <a:cubicBezTo>
                    <a:pt x="45" y="1"/>
                    <a:pt x="47" y="0"/>
                    <a:pt x="49" y="0"/>
                  </a:cubicBezTo>
                  <a:close/>
                </a:path>
              </a:pathLst>
            </a:custGeom>
            <a:solidFill>
              <a:srgbClr val="14365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iśḻiḋè">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AE73C266-01C9-4FC4-9BA7-FE9A39D2174D}"/>
                </a:ext>
              </a:extLst>
            </p:cNvPr>
            <p:cNvSpPr/>
            <p:nvPr/>
          </p:nvSpPr>
          <p:spPr bwMode="auto">
            <a:xfrm>
              <a:off x="6938963" y="5638800"/>
              <a:ext cx="376238" cy="112713"/>
            </a:xfrm>
            <a:custGeom>
              <a:avLst/>
              <a:gdLst>
                <a:gd name="T0" fmla="*/ 73 w 114"/>
                <a:gd name="T1" fmla="*/ 0 h 34"/>
                <a:gd name="T2" fmla="*/ 105 w 114"/>
                <a:gd name="T3" fmla="*/ 0 h 34"/>
                <a:gd name="T4" fmla="*/ 108 w 114"/>
                <a:gd name="T5" fmla="*/ 2 h 34"/>
                <a:gd name="T6" fmla="*/ 114 w 114"/>
                <a:gd name="T7" fmla="*/ 28 h 34"/>
                <a:gd name="T8" fmla="*/ 110 w 114"/>
                <a:gd name="T9" fmla="*/ 34 h 34"/>
                <a:gd name="T10" fmla="*/ 67 w 114"/>
                <a:gd name="T11" fmla="*/ 33 h 34"/>
                <a:gd name="T12" fmla="*/ 15 w 114"/>
                <a:gd name="T13" fmla="*/ 34 h 34"/>
                <a:gd name="T14" fmla="*/ 5 w 114"/>
                <a:gd name="T15" fmla="*/ 20 h 34"/>
                <a:gd name="T16" fmla="*/ 66 w 114"/>
                <a:gd name="T17" fmla="*/ 2 h 34"/>
                <a:gd name="T18" fmla="*/ 73 w 114"/>
                <a:gd name="T1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34">
                  <a:moveTo>
                    <a:pt x="73" y="0"/>
                  </a:moveTo>
                  <a:cubicBezTo>
                    <a:pt x="105" y="0"/>
                    <a:pt x="105" y="0"/>
                    <a:pt x="105" y="0"/>
                  </a:cubicBezTo>
                  <a:cubicBezTo>
                    <a:pt x="107" y="0"/>
                    <a:pt x="108" y="1"/>
                    <a:pt x="108" y="2"/>
                  </a:cubicBezTo>
                  <a:cubicBezTo>
                    <a:pt x="114" y="28"/>
                    <a:pt x="114" y="28"/>
                    <a:pt x="114" y="28"/>
                  </a:cubicBezTo>
                  <a:cubicBezTo>
                    <a:pt x="114" y="31"/>
                    <a:pt x="112" y="34"/>
                    <a:pt x="110" y="34"/>
                  </a:cubicBezTo>
                  <a:cubicBezTo>
                    <a:pt x="98" y="33"/>
                    <a:pt x="81" y="33"/>
                    <a:pt x="67" y="33"/>
                  </a:cubicBezTo>
                  <a:cubicBezTo>
                    <a:pt x="50" y="33"/>
                    <a:pt x="35" y="34"/>
                    <a:pt x="15" y="34"/>
                  </a:cubicBezTo>
                  <a:cubicBezTo>
                    <a:pt x="3" y="34"/>
                    <a:pt x="0" y="21"/>
                    <a:pt x="5" y="20"/>
                  </a:cubicBezTo>
                  <a:cubicBezTo>
                    <a:pt x="28" y="15"/>
                    <a:pt x="46" y="15"/>
                    <a:pt x="66" y="2"/>
                  </a:cubicBezTo>
                  <a:cubicBezTo>
                    <a:pt x="68" y="1"/>
                    <a:pt x="71" y="0"/>
                    <a:pt x="73" y="0"/>
                  </a:cubicBezTo>
                  <a:close/>
                </a:path>
              </a:pathLst>
            </a:custGeom>
            <a:solidFill>
              <a:srgbClr val="14365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íś1iḋé">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66679492-4367-4273-85C5-9467644CF723}"/>
                </a:ext>
              </a:extLst>
            </p:cNvPr>
            <p:cNvSpPr/>
            <p:nvPr/>
          </p:nvSpPr>
          <p:spPr bwMode="auto">
            <a:xfrm>
              <a:off x="6351588" y="2457450"/>
              <a:ext cx="688975" cy="465138"/>
            </a:xfrm>
            <a:custGeom>
              <a:avLst/>
              <a:gdLst>
                <a:gd name="T0" fmla="*/ 209 w 209"/>
                <a:gd name="T1" fmla="*/ 26 h 141"/>
                <a:gd name="T2" fmla="*/ 173 w 209"/>
                <a:gd name="T3" fmla="*/ 75 h 141"/>
                <a:gd name="T4" fmla="*/ 131 w 209"/>
                <a:gd name="T5" fmla="*/ 121 h 141"/>
                <a:gd name="T6" fmla="*/ 125 w 209"/>
                <a:gd name="T7" fmla="*/ 126 h 141"/>
                <a:gd name="T8" fmla="*/ 124 w 209"/>
                <a:gd name="T9" fmla="*/ 128 h 141"/>
                <a:gd name="T10" fmla="*/ 123 w 209"/>
                <a:gd name="T11" fmla="*/ 129 h 141"/>
                <a:gd name="T12" fmla="*/ 121 w 209"/>
                <a:gd name="T13" fmla="*/ 130 h 141"/>
                <a:gd name="T14" fmla="*/ 115 w 209"/>
                <a:gd name="T15" fmla="*/ 134 h 141"/>
                <a:gd name="T16" fmla="*/ 94 w 209"/>
                <a:gd name="T17" fmla="*/ 140 h 141"/>
                <a:gd name="T18" fmla="*/ 59 w 209"/>
                <a:gd name="T19" fmla="*/ 137 h 141"/>
                <a:gd name="T20" fmla="*/ 0 w 209"/>
                <a:gd name="T21" fmla="*/ 116 h 141"/>
                <a:gd name="T22" fmla="*/ 7 w 209"/>
                <a:gd name="T23" fmla="*/ 95 h 141"/>
                <a:gd name="T24" fmla="*/ 64 w 209"/>
                <a:gd name="T25" fmla="*/ 103 h 141"/>
                <a:gd name="T26" fmla="*/ 89 w 209"/>
                <a:gd name="T27" fmla="*/ 102 h 141"/>
                <a:gd name="T28" fmla="*/ 95 w 209"/>
                <a:gd name="T29" fmla="*/ 100 h 141"/>
                <a:gd name="T30" fmla="*/ 95 w 209"/>
                <a:gd name="T31" fmla="*/ 99 h 141"/>
                <a:gd name="T32" fmla="*/ 95 w 209"/>
                <a:gd name="T33" fmla="*/ 99 h 141"/>
                <a:gd name="T34" fmla="*/ 95 w 209"/>
                <a:gd name="T35" fmla="*/ 99 h 141"/>
                <a:gd name="T36" fmla="*/ 96 w 209"/>
                <a:gd name="T37" fmla="*/ 99 h 141"/>
                <a:gd name="T38" fmla="*/ 97 w 209"/>
                <a:gd name="T39" fmla="*/ 98 h 141"/>
                <a:gd name="T40" fmla="*/ 102 w 209"/>
                <a:gd name="T41" fmla="*/ 92 h 141"/>
                <a:gd name="T42" fmla="*/ 138 w 209"/>
                <a:gd name="T43" fmla="*/ 47 h 141"/>
                <a:gd name="T44" fmla="*/ 173 w 209"/>
                <a:gd name="T45" fmla="*/ 0 h 141"/>
                <a:gd name="T46" fmla="*/ 209 w 209"/>
                <a:gd name="T47" fmla="*/ 2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9" h="141">
                  <a:moveTo>
                    <a:pt x="209" y="26"/>
                  </a:moveTo>
                  <a:cubicBezTo>
                    <a:pt x="198" y="43"/>
                    <a:pt x="186" y="59"/>
                    <a:pt x="173" y="75"/>
                  </a:cubicBezTo>
                  <a:cubicBezTo>
                    <a:pt x="160" y="91"/>
                    <a:pt x="146" y="106"/>
                    <a:pt x="131" y="121"/>
                  </a:cubicBezTo>
                  <a:cubicBezTo>
                    <a:pt x="125" y="126"/>
                    <a:pt x="125" y="126"/>
                    <a:pt x="125" y="126"/>
                  </a:cubicBezTo>
                  <a:cubicBezTo>
                    <a:pt x="124" y="128"/>
                    <a:pt x="124" y="128"/>
                    <a:pt x="124" y="128"/>
                  </a:cubicBezTo>
                  <a:cubicBezTo>
                    <a:pt x="123" y="129"/>
                    <a:pt x="123" y="129"/>
                    <a:pt x="123" y="129"/>
                  </a:cubicBezTo>
                  <a:cubicBezTo>
                    <a:pt x="121" y="130"/>
                    <a:pt x="121" y="130"/>
                    <a:pt x="121" y="130"/>
                  </a:cubicBezTo>
                  <a:cubicBezTo>
                    <a:pt x="119" y="131"/>
                    <a:pt x="117" y="133"/>
                    <a:pt x="115" y="134"/>
                  </a:cubicBezTo>
                  <a:cubicBezTo>
                    <a:pt x="107" y="138"/>
                    <a:pt x="100" y="139"/>
                    <a:pt x="94" y="140"/>
                  </a:cubicBezTo>
                  <a:cubicBezTo>
                    <a:pt x="81" y="141"/>
                    <a:pt x="70" y="139"/>
                    <a:pt x="59" y="137"/>
                  </a:cubicBezTo>
                  <a:cubicBezTo>
                    <a:pt x="38" y="132"/>
                    <a:pt x="19" y="125"/>
                    <a:pt x="0" y="116"/>
                  </a:cubicBezTo>
                  <a:cubicBezTo>
                    <a:pt x="7" y="95"/>
                    <a:pt x="7" y="95"/>
                    <a:pt x="7" y="95"/>
                  </a:cubicBezTo>
                  <a:cubicBezTo>
                    <a:pt x="26" y="99"/>
                    <a:pt x="45" y="102"/>
                    <a:pt x="64" y="103"/>
                  </a:cubicBezTo>
                  <a:cubicBezTo>
                    <a:pt x="73" y="104"/>
                    <a:pt x="82" y="104"/>
                    <a:pt x="89" y="102"/>
                  </a:cubicBezTo>
                  <a:cubicBezTo>
                    <a:pt x="92" y="101"/>
                    <a:pt x="95" y="100"/>
                    <a:pt x="95" y="100"/>
                  </a:cubicBezTo>
                  <a:cubicBezTo>
                    <a:pt x="95" y="99"/>
                    <a:pt x="95" y="99"/>
                    <a:pt x="95" y="99"/>
                  </a:cubicBezTo>
                  <a:cubicBezTo>
                    <a:pt x="95" y="99"/>
                    <a:pt x="95" y="99"/>
                    <a:pt x="95" y="99"/>
                  </a:cubicBezTo>
                  <a:cubicBezTo>
                    <a:pt x="95" y="99"/>
                    <a:pt x="95" y="99"/>
                    <a:pt x="95" y="99"/>
                  </a:cubicBezTo>
                  <a:cubicBezTo>
                    <a:pt x="96" y="99"/>
                    <a:pt x="96" y="99"/>
                    <a:pt x="96" y="99"/>
                  </a:cubicBezTo>
                  <a:cubicBezTo>
                    <a:pt x="97" y="98"/>
                    <a:pt x="97" y="98"/>
                    <a:pt x="97" y="98"/>
                  </a:cubicBezTo>
                  <a:cubicBezTo>
                    <a:pt x="102" y="92"/>
                    <a:pt x="102" y="92"/>
                    <a:pt x="102" y="92"/>
                  </a:cubicBezTo>
                  <a:cubicBezTo>
                    <a:pt x="114" y="78"/>
                    <a:pt x="126" y="63"/>
                    <a:pt x="138" y="47"/>
                  </a:cubicBezTo>
                  <a:cubicBezTo>
                    <a:pt x="150" y="32"/>
                    <a:pt x="161" y="16"/>
                    <a:pt x="173" y="0"/>
                  </a:cubicBezTo>
                  <a:lnTo>
                    <a:pt x="209" y="26"/>
                  </a:lnTo>
                  <a:close/>
                </a:path>
              </a:pathLst>
            </a:custGeom>
            <a:solidFill>
              <a:srgbClr val="B55B5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iṣlïd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507C828A-1BCF-414C-B99B-E341C3300D28}"/>
                </a:ext>
              </a:extLst>
            </p:cNvPr>
            <p:cNvSpPr/>
            <p:nvPr/>
          </p:nvSpPr>
          <p:spPr bwMode="auto">
            <a:xfrm>
              <a:off x="7410451" y="2322513"/>
              <a:ext cx="355600" cy="415925"/>
            </a:xfrm>
            <a:custGeom>
              <a:avLst/>
              <a:gdLst>
                <a:gd name="T0" fmla="*/ 49 w 108"/>
                <a:gd name="T1" fmla="*/ 7 h 126"/>
                <a:gd name="T2" fmla="*/ 108 w 108"/>
                <a:gd name="T3" fmla="*/ 88 h 126"/>
                <a:gd name="T4" fmla="*/ 53 w 108"/>
                <a:gd name="T5" fmla="*/ 126 h 126"/>
                <a:gd name="T6" fmla="*/ 16 w 108"/>
                <a:gd name="T7" fmla="*/ 64 h 126"/>
                <a:gd name="T8" fmla="*/ 49 w 108"/>
                <a:gd name="T9" fmla="*/ 7 h 126"/>
              </a:gdLst>
              <a:ahLst/>
              <a:cxnLst>
                <a:cxn ang="0">
                  <a:pos x="T0" y="T1"/>
                </a:cxn>
                <a:cxn ang="0">
                  <a:pos x="T2" y="T3"/>
                </a:cxn>
                <a:cxn ang="0">
                  <a:pos x="T4" y="T5"/>
                </a:cxn>
                <a:cxn ang="0">
                  <a:pos x="T6" y="T7"/>
                </a:cxn>
                <a:cxn ang="0">
                  <a:pos x="T8" y="T9"/>
                </a:cxn>
              </a:cxnLst>
              <a:rect l="0" t="0" r="r" b="b"/>
              <a:pathLst>
                <a:path w="108" h="126">
                  <a:moveTo>
                    <a:pt x="49" y="7"/>
                  </a:moveTo>
                  <a:cubicBezTo>
                    <a:pt x="77" y="13"/>
                    <a:pt x="108" y="88"/>
                    <a:pt x="108" y="88"/>
                  </a:cubicBezTo>
                  <a:cubicBezTo>
                    <a:pt x="53" y="126"/>
                    <a:pt x="53" y="126"/>
                    <a:pt x="53" y="126"/>
                  </a:cubicBezTo>
                  <a:cubicBezTo>
                    <a:pt x="53" y="126"/>
                    <a:pt x="32" y="97"/>
                    <a:pt x="16" y="64"/>
                  </a:cubicBezTo>
                  <a:cubicBezTo>
                    <a:pt x="0" y="29"/>
                    <a:pt x="21" y="0"/>
                    <a:pt x="49" y="7"/>
                  </a:cubicBezTo>
                  <a:close/>
                </a:path>
              </a:pathLst>
            </a:custGeom>
            <a:solidFill>
              <a:srgbClr val="DCE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iŝ1ídè">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4D8DD1E1-9569-466B-9C94-F7819918BF73}"/>
                </a:ext>
              </a:extLst>
            </p:cNvPr>
            <p:cNvSpPr/>
            <p:nvPr/>
          </p:nvSpPr>
          <p:spPr bwMode="auto">
            <a:xfrm>
              <a:off x="7505701" y="2500313"/>
              <a:ext cx="88900" cy="238125"/>
            </a:xfrm>
            <a:custGeom>
              <a:avLst/>
              <a:gdLst>
                <a:gd name="T0" fmla="*/ 0 w 27"/>
                <a:gd name="T1" fmla="*/ 0 h 72"/>
                <a:gd name="T2" fmla="*/ 27 w 27"/>
                <a:gd name="T3" fmla="*/ 70 h 72"/>
                <a:gd name="T4" fmla="*/ 24 w 27"/>
                <a:gd name="T5" fmla="*/ 72 h 72"/>
                <a:gd name="T6" fmla="*/ 0 w 27"/>
                <a:gd name="T7" fmla="*/ 35 h 72"/>
                <a:gd name="T8" fmla="*/ 0 w 27"/>
                <a:gd name="T9" fmla="*/ 0 h 72"/>
              </a:gdLst>
              <a:ahLst/>
              <a:cxnLst>
                <a:cxn ang="0">
                  <a:pos x="T0" y="T1"/>
                </a:cxn>
                <a:cxn ang="0">
                  <a:pos x="T2" y="T3"/>
                </a:cxn>
                <a:cxn ang="0">
                  <a:pos x="T4" y="T5"/>
                </a:cxn>
                <a:cxn ang="0">
                  <a:pos x="T6" y="T7"/>
                </a:cxn>
                <a:cxn ang="0">
                  <a:pos x="T8" y="T9"/>
                </a:cxn>
              </a:cxnLst>
              <a:rect l="0" t="0" r="r" b="b"/>
              <a:pathLst>
                <a:path w="27" h="72">
                  <a:moveTo>
                    <a:pt x="0" y="0"/>
                  </a:moveTo>
                  <a:cubicBezTo>
                    <a:pt x="27" y="70"/>
                    <a:pt x="27" y="70"/>
                    <a:pt x="27" y="70"/>
                  </a:cubicBezTo>
                  <a:cubicBezTo>
                    <a:pt x="24" y="72"/>
                    <a:pt x="24" y="72"/>
                    <a:pt x="24" y="72"/>
                  </a:cubicBezTo>
                  <a:cubicBezTo>
                    <a:pt x="24" y="72"/>
                    <a:pt x="13" y="56"/>
                    <a:pt x="0" y="35"/>
                  </a:cubicBezTo>
                  <a:lnTo>
                    <a:pt x="0" y="0"/>
                  </a:lnTo>
                  <a:close/>
                </a:path>
              </a:pathLst>
            </a:custGeom>
            <a:solidFill>
              <a:srgbClr val="B8D5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ïŝḻïḓé">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18CE6186-5976-42BD-810C-41583A2BE2CC}"/>
                </a:ext>
              </a:extLst>
            </p:cNvPr>
            <p:cNvSpPr/>
            <p:nvPr/>
          </p:nvSpPr>
          <p:spPr bwMode="auto">
            <a:xfrm>
              <a:off x="6926263" y="2316163"/>
              <a:ext cx="646113" cy="869950"/>
            </a:xfrm>
            <a:custGeom>
              <a:avLst/>
              <a:gdLst>
                <a:gd name="T0" fmla="*/ 32 w 196"/>
                <a:gd name="T1" fmla="*/ 10 h 264"/>
                <a:gd name="T2" fmla="*/ 30 w 196"/>
                <a:gd name="T3" fmla="*/ 264 h 264"/>
                <a:gd name="T4" fmla="*/ 187 w 196"/>
                <a:gd name="T5" fmla="*/ 264 h 264"/>
                <a:gd name="T6" fmla="*/ 196 w 196"/>
                <a:gd name="T7" fmla="*/ 9 h 264"/>
                <a:gd name="T8" fmla="*/ 144 w 196"/>
                <a:gd name="T9" fmla="*/ 2 h 264"/>
                <a:gd name="T10" fmla="*/ 77 w 196"/>
                <a:gd name="T11" fmla="*/ 2 h 264"/>
                <a:gd name="T12" fmla="*/ 32 w 196"/>
                <a:gd name="T13" fmla="*/ 10 h 264"/>
              </a:gdLst>
              <a:ahLst/>
              <a:cxnLst>
                <a:cxn ang="0">
                  <a:pos x="T0" y="T1"/>
                </a:cxn>
                <a:cxn ang="0">
                  <a:pos x="T2" y="T3"/>
                </a:cxn>
                <a:cxn ang="0">
                  <a:pos x="T4" y="T5"/>
                </a:cxn>
                <a:cxn ang="0">
                  <a:pos x="T6" y="T7"/>
                </a:cxn>
                <a:cxn ang="0">
                  <a:pos x="T8" y="T9"/>
                </a:cxn>
                <a:cxn ang="0">
                  <a:pos x="T10" y="T11"/>
                </a:cxn>
                <a:cxn ang="0">
                  <a:pos x="T12" y="T13"/>
                </a:cxn>
              </a:cxnLst>
              <a:rect l="0" t="0" r="r" b="b"/>
              <a:pathLst>
                <a:path w="196" h="264">
                  <a:moveTo>
                    <a:pt x="32" y="10"/>
                  </a:moveTo>
                  <a:cubicBezTo>
                    <a:pt x="32" y="10"/>
                    <a:pt x="0" y="45"/>
                    <a:pt x="30" y="264"/>
                  </a:cubicBezTo>
                  <a:cubicBezTo>
                    <a:pt x="77" y="264"/>
                    <a:pt x="164" y="264"/>
                    <a:pt x="187" y="264"/>
                  </a:cubicBezTo>
                  <a:cubicBezTo>
                    <a:pt x="188" y="240"/>
                    <a:pt x="173" y="122"/>
                    <a:pt x="196" y="9"/>
                  </a:cubicBezTo>
                  <a:cubicBezTo>
                    <a:pt x="196" y="9"/>
                    <a:pt x="169" y="3"/>
                    <a:pt x="144" y="2"/>
                  </a:cubicBezTo>
                  <a:cubicBezTo>
                    <a:pt x="123" y="1"/>
                    <a:pt x="94" y="0"/>
                    <a:pt x="77" y="2"/>
                  </a:cubicBezTo>
                  <a:cubicBezTo>
                    <a:pt x="53" y="4"/>
                    <a:pt x="32" y="10"/>
                    <a:pt x="32" y="10"/>
                  </a:cubicBezTo>
                  <a:close/>
                </a:path>
              </a:pathLst>
            </a:custGeom>
            <a:solidFill>
              <a:srgbClr val="DCE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ïšlïḋé">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2CC992BA-53FA-4D7A-BDF4-40E89484D828}"/>
                </a:ext>
              </a:extLst>
            </p:cNvPr>
            <p:cNvSpPr/>
            <p:nvPr/>
          </p:nvSpPr>
          <p:spPr bwMode="auto">
            <a:xfrm>
              <a:off x="6981826" y="2557463"/>
              <a:ext cx="104775" cy="223838"/>
            </a:xfrm>
            <a:custGeom>
              <a:avLst/>
              <a:gdLst>
                <a:gd name="T0" fmla="*/ 32 w 32"/>
                <a:gd name="T1" fmla="*/ 0 h 68"/>
                <a:gd name="T2" fmla="*/ 1 w 32"/>
                <a:gd name="T3" fmla="*/ 68 h 68"/>
                <a:gd name="T4" fmla="*/ 0 w 32"/>
                <a:gd name="T5" fmla="*/ 30 h 68"/>
                <a:gd name="T6" fmla="*/ 32 w 32"/>
                <a:gd name="T7" fmla="*/ 0 h 68"/>
              </a:gdLst>
              <a:ahLst/>
              <a:cxnLst>
                <a:cxn ang="0">
                  <a:pos x="T0" y="T1"/>
                </a:cxn>
                <a:cxn ang="0">
                  <a:pos x="T2" y="T3"/>
                </a:cxn>
                <a:cxn ang="0">
                  <a:pos x="T4" y="T5"/>
                </a:cxn>
                <a:cxn ang="0">
                  <a:pos x="T6" y="T7"/>
                </a:cxn>
              </a:cxnLst>
              <a:rect l="0" t="0" r="r" b="b"/>
              <a:pathLst>
                <a:path w="32" h="68">
                  <a:moveTo>
                    <a:pt x="32" y="0"/>
                  </a:moveTo>
                  <a:cubicBezTo>
                    <a:pt x="31" y="1"/>
                    <a:pt x="28" y="36"/>
                    <a:pt x="1" y="68"/>
                  </a:cubicBezTo>
                  <a:cubicBezTo>
                    <a:pt x="0" y="54"/>
                    <a:pt x="0" y="41"/>
                    <a:pt x="0" y="30"/>
                  </a:cubicBezTo>
                  <a:lnTo>
                    <a:pt x="32" y="0"/>
                  </a:lnTo>
                  <a:close/>
                </a:path>
              </a:pathLst>
            </a:custGeom>
            <a:solidFill>
              <a:srgbClr val="B8D5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išliḍ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D4EEDC3A-22F2-4001-B9EB-BA2E1C0AD296}"/>
                </a:ext>
              </a:extLst>
            </p:cNvPr>
            <p:cNvSpPr/>
            <p:nvPr/>
          </p:nvSpPr>
          <p:spPr bwMode="auto">
            <a:xfrm>
              <a:off x="6780213" y="2319338"/>
              <a:ext cx="363538" cy="434975"/>
            </a:xfrm>
            <a:custGeom>
              <a:avLst/>
              <a:gdLst>
                <a:gd name="T0" fmla="*/ 107 w 110"/>
                <a:gd name="T1" fmla="*/ 33 h 132"/>
                <a:gd name="T2" fmla="*/ 56 w 110"/>
                <a:gd name="T3" fmla="*/ 132 h 132"/>
                <a:gd name="T4" fmla="*/ 0 w 110"/>
                <a:gd name="T5" fmla="*/ 94 h 132"/>
                <a:gd name="T6" fmla="*/ 41 w 110"/>
                <a:gd name="T7" fmla="*/ 29 h 132"/>
                <a:gd name="T8" fmla="*/ 107 w 110"/>
                <a:gd name="T9" fmla="*/ 33 h 132"/>
              </a:gdLst>
              <a:ahLst/>
              <a:cxnLst>
                <a:cxn ang="0">
                  <a:pos x="T0" y="T1"/>
                </a:cxn>
                <a:cxn ang="0">
                  <a:pos x="T2" y="T3"/>
                </a:cxn>
                <a:cxn ang="0">
                  <a:pos x="T4" y="T5"/>
                </a:cxn>
                <a:cxn ang="0">
                  <a:pos x="T6" y="T7"/>
                </a:cxn>
                <a:cxn ang="0">
                  <a:pos x="T8" y="T9"/>
                </a:cxn>
              </a:cxnLst>
              <a:rect l="0" t="0" r="r" b="b"/>
              <a:pathLst>
                <a:path w="110" h="132">
                  <a:moveTo>
                    <a:pt x="107" y="33"/>
                  </a:moveTo>
                  <a:cubicBezTo>
                    <a:pt x="110" y="61"/>
                    <a:pt x="56" y="132"/>
                    <a:pt x="56" y="132"/>
                  </a:cubicBezTo>
                  <a:cubicBezTo>
                    <a:pt x="0" y="94"/>
                    <a:pt x="0" y="94"/>
                    <a:pt x="0" y="94"/>
                  </a:cubicBezTo>
                  <a:cubicBezTo>
                    <a:pt x="0" y="94"/>
                    <a:pt x="16" y="55"/>
                    <a:pt x="41" y="29"/>
                  </a:cubicBezTo>
                  <a:cubicBezTo>
                    <a:pt x="71" y="0"/>
                    <a:pt x="102" y="3"/>
                    <a:pt x="107" y="33"/>
                  </a:cubicBezTo>
                  <a:close/>
                </a:path>
              </a:pathLst>
            </a:custGeom>
            <a:solidFill>
              <a:srgbClr val="DCE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i$ļíď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D16C0EC3-0DB6-49D3-BCD8-4C40B35A9949}"/>
                </a:ext>
              </a:extLst>
            </p:cNvPr>
            <p:cNvSpPr/>
            <p:nvPr/>
          </p:nvSpPr>
          <p:spPr bwMode="auto">
            <a:xfrm>
              <a:off x="6238876" y="2705100"/>
              <a:ext cx="149225" cy="155575"/>
            </a:xfrm>
            <a:custGeom>
              <a:avLst/>
              <a:gdLst>
                <a:gd name="T0" fmla="*/ 45 w 45"/>
                <a:gd name="T1" fmla="*/ 23 h 47"/>
                <a:gd name="T2" fmla="*/ 23 w 45"/>
                <a:gd name="T3" fmla="*/ 0 h 47"/>
                <a:gd name="T4" fmla="*/ 0 w 45"/>
                <a:gd name="T5" fmla="*/ 30 h 47"/>
                <a:gd name="T6" fmla="*/ 39 w 45"/>
                <a:gd name="T7" fmla="*/ 42 h 47"/>
                <a:gd name="T8" fmla="*/ 45 w 45"/>
                <a:gd name="T9" fmla="*/ 23 h 47"/>
              </a:gdLst>
              <a:ahLst/>
              <a:cxnLst>
                <a:cxn ang="0">
                  <a:pos x="T0" y="T1"/>
                </a:cxn>
                <a:cxn ang="0">
                  <a:pos x="T2" y="T3"/>
                </a:cxn>
                <a:cxn ang="0">
                  <a:pos x="T4" y="T5"/>
                </a:cxn>
                <a:cxn ang="0">
                  <a:pos x="T6" y="T7"/>
                </a:cxn>
                <a:cxn ang="0">
                  <a:pos x="T8" y="T9"/>
                </a:cxn>
              </a:cxnLst>
              <a:rect l="0" t="0" r="r" b="b"/>
              <a:pathLst>
                <a:path w="45" h="47">
                  <a:moveTo>
                    <a:pt x="45" y="23"/>
                  </a:moveTo>
                  <a:cubicBezTo>
                    <a:pt x="23" y="0"/>
                    <a:pt x="23" y="0"/>
                    <a:pt x="23" y="0"/>
                  </a:cubicBezTo>
                  <a:cubicBezTo>
                    <a:pt x="0" y="30"/>
                    <a:pt x="0" y="30"/>
                    <a:pt x="0" y="30"/>
                  </a:cubicBezTo>
                  <a:cubicBezTo>
                    <a:pt x="0" y="30"/>
                    <a:pt x="18" y="47"/>
                    <a:pt x="39" y="42"/>
                  </a:cubicBezTo>
                  <a:lnTo>
                    <a:pt x="45" y="23"/>
                  </a:lnTo>
                  <a:close/>
                </a:path>
              </a:pathLst>
            </a:custGeom>
            <a:solidFill>
              <a:srgbClr val="B55B5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ïṡliḑè">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AAAAC8A1-4D34-4F30-B565-ED6691AF7675}"/>
                </a:ext>
              </a:extLst>
            </p:cNvPr>
            <p:cNvSpPr/>
            <p:nvPr/>
          </p:nvSpPr>
          <p:spPr bwMode="auto">
            <a:xfrm>
              <a:off x="6186488" y="2665413"/>
              <a:ext cx="128588" cy="138113"/>
            </a:xfrm>
            <a:custGeom>
              <a:avLst/>
              <a:gdLst>
                <a:gd name="T0" fmla="*/ 21 w 81"/>
                <a:gd name="T1" fmla="*/ 0 h 87"/>
                <a:gd name="T2" fmla="*/ 0 w 81"/>
                <a:gd name="T3" fmla="*/ 65 h 87"/>
                <a:gd name="T4" fmla="*/ 33 w 81"/>
                <a:gd name="T5" fmla="*/ 87 h 87"/>
                <a:gd name="T6" fmla="*/ 81 w 81"/>
                <a:gd name="T7" fmla="*/ 25 h 87"/>
                <a:gd name="T8" fmla="*/ 21 w 81"/>
                <a:gd name="T9" fmla="*/ 0 h 87"/>
              </a:gdLst>
              <a:ahLst/>
              <a:cxnLst>
                <a:cxn ang="0">
                  <a:pos x="T0" y="T1"/>
                </a:cxn>
                <a:cxn ang="0">
                  <a:pos x="T2" y="T3"/>
                </a:cxn>
                <a:cxn ang="0">
                  <a:pos x="T4" y="T5"/>
                </a:cxn>
                <a:cxn ang="0">
                  <a:pos x="T6" y="T7"/>
                </a:cxn>
                <a:cxn ang="0">
                  <a:pos x="T8" y="T9"/>
                </a:cxn>
              </a:cxnLst>
              <a:rect l="0" t="0" r="r" b="b"/>
              <a:pathLst>
                <a:path w="81" h="87">
                  <a:moveTo>
                    <a:pt x="21" y="0"/>
                  </a:moveTo>
                  <a:lnTo>
                    <a:pt x="0" y="65"/>
                  </a:lnTo>
                  <a:lnTo>
                    <a:pt x="33" y="87"/>
                  </a:lnTo>
                  <a:lnTo>
                    <a:pt x="81" y="25"/>
                  </a:lnTo>
                  <a:lnTo>
                    <a:pt x="21" y="0"/>
                  </a:lnTo>
                  <a:close/>
                </a:path>
              </a:pathLst>
            </a:custGeom>
            <a:solidFill>
              <a:srgbClr val="B55B5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îšlîḋé">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34BFC4B6-C0AD-423E-BAD6-AF4581713E5A}"/>
                </a:ext>
              </a:extLst>
            </p:cNvPr>
            <p:cNvSpPr/>
            <p:nvPr/>
          </p:nvSpPr>
          <p:spPr bwMode="auto">
            <a:xfrm>
              <a:off x="7169151" y="5427663"/>
              <a:ext cx="103188" cy="115888"/>
            </a:xfrm>
            <a:custGeom>
              <a:avLst/>
              <a:gdLst>
                <a:gd name="T0" fmla="*/ 0 w 65"/>
                <a:gd name="T1" fmla="*/ 0 h 73"/>
                <a:gd name="T2" fmla="*/ 5 w 65"/>
                <a:gd name="T3" fmla="*/ 73 h 73"/>
                <a:gd name="T4" fmla="*/ 65 w 65"/>
                <a:gd name="T5" fmla="*/ 73 h 73"/>
                <a:gd name="T6" fmla="*/ 63 w 65"/>
                <a:gd name="T7" fmla="*/ 0 h 73"/>
                <a:gd name="T8" fmla="*/ 0 w 65"/>
                <a:gd name="T9" fmla="*/ 0 h 73"/>
              </a:gdLst>
              <a:ahLst/>
              <a:cxnLst>
                <a:cxn ang="0">
                  <a:pos x="T0" y="T1"/>
                </a:cxn>
                <a:cxn ang="0">
                  <a:pos x="T2" y="T3"/>
                </a:cxn>
                <a:cxn ang="0">
                  <a:pos x="T4" y="T5"/>
                </a:cxn>
                <a:cxn ang="0">
                  <a:pos x="T6" y="T7"/>
                </a:cxn>
                <a:cxn ang="0">
                  <a:pos x="T8" y="T9"/>
                </a:cxn>
              </a:cxnLst>
              <a:rect l="0" t="0" r="r" b="b"/>
              <a:pathLst>
                <a:path w="65" h="73">
                  <a:moveTo>
                    <a:pt x="0" y="0"/>
                  </a:moveTo>
                  <a:lnTo>
                    <a:pt x="5" y="73"/>
                  </a:lnTo>
                  <a:lnTo>
                    <a:pt x="65" y="73"/>
                  </a:lnTo>
                  <a:lnTo>
                    <a:pt x="63" y="0"/>
                  </a:lnTo>
                  <a:lnTo>
                    <a:pt x="0" y="0"/>
                  </a:lnTo>
                  <a:close/>
                </a:path>
              </a:pathLst>
            </a:custGeom>
            <a:solidFill>
              <a:srgbClr val="9E454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íṥļíḍè">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4FF628F1-BB20-4040-A0C8-472F385AAF90}"/>
                </a:ext>
              </a:extLst>
            </p:cNvPr>
            <p:cNvSpPr/>
            <p:nvPr/>
          </p:nvSpPr>
          <p:spPr bwMode="auto">
            <a:xfrm>
              <a:off x="7713663" y="5427663"/>
              <a:ext cx="122238" cy="115888"/>
            </a:xfrm>
            <a:custGeom>
              <a:avLst/>
              <a:gdLst>
                <a:gd name="T0" fmla="*/ 60 w 77"/>
                <a:gd name="T1" fmla="*/ 0 h 73"/>
                <a:gd name="T2" fmla="*/ 0 w 77"/>
                <a:gd name="T3" fmla="*/ 0 h 73"/>
                <a:gd name="T4" fmla="*/ 15 w 77"/>
                <a:gd name="T5" fmla="*/ 73 h 73"/>
                <a:gd name="T6" fmla="*/ 77 w 77"/>
                <a:gd name="T7" fmla="*/ 73 h 73"/>
                <a:gd name="T8" fmla="*/ 60 w 77"/>
                <a:gd name="T9" fmla="*/ 0 h 73"/>
              </a:gdLst>
              <a:ahLst/>
              <a:cxnLst>
                <a:cxn ang="0">
                  <a:pos x="T0" y="T1"/>
                </a:cxn>
                <a:cxn ang="0">
                  <a:pos x="T2" y="T3"/>
                </a:cxn>
                <a:cxn ang="0">
                  <a:pos x="T4" y="T5"/>
                </a:cxn>
                <a:cxn ang="0">
                  <a:pos x="T6" y="T7"/>
                </a:cxn>
                <a:cxn ang="0">
                  <a:pos x="T8" y="T9"/>
                </a:cxn>
              </a:cxnLst>
              <a:rect l="0" t="0" r="r" b="b"/>
              <a:pathLst>
                <a:path w="77" h="73">
                  <a:moveTo>
                    <a:pt x="60" y="0"/>
                  </a:moveTo>
                  <a:lnTo>
                    <a:pt x="0" y="0"/>
                  </a:lnTo>
                  <a:lnTo>
                    <a:pt x="15" y="73"/>
                  </a:lnTo>
                  <a:lnTo>
                    <a:pt x="77" y="73"/>
                  </a:lnTo>
                  <a:lnTo>
                    <a:pt x="60" y="0"/>
                  </a:lnTo>
                  <a:close/>
                </a:path>
              </a:pathLst>
            </a:custGeom>
            <a:solidFill>
              <a:srgbClr val="9E454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ísľîḓ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69AE6F14-8F0B-4EA2-B5A1-D89C62BBA581}"/>
                </a:ext>
              </a:extLst>
            </p:cNvPr>
            <p:cNvSpPr/>
            <p:nvPr/>
          </p:nvSpPr>
          <p:spPr bwMode="auto">
            <a:xfrm>
              <a:off x="7097713" y="1798638"/>
              <a:ext cx="293688" cy="446088"/>
            </a:xfrm>
            <a:custGeom>
              <a:avLst/>
              <a:gdLst>
                <a:gd name="T0" fmla="*/ 87 w 89"/>
                <a:gd name="T1" fmla="*/ 51 h 135"/>
                <a:gd name="T2" fmla="*/ 71 w 89"/>
                <a:gd name="T3" fmla="*/ 113 h 135"/>
                <a:gd name="T4" fmla="*/ 6 w 89"/>
                <a:gd name="T5" fmla="*/ 93 h 135"/>
                <a:gd name="T6" fmla="*/ 33 w 89"/>
                <a:gd name="T7" fmla="*/ 12 h 135"/>
                <a:gd name="T8" fmla="*/ 87 w 89"/>
                <a:gd name="T9" fmla="*/ 51 h 135"/>
              </a:gdLst>
              <a:ahLst/>
              <a:cxnLst>
                <a:cxn ang="0">
                  <a:pos x="T0" y="T1"/>
                </a:cxn>
                <a:cxn ang="0">
                  <a:pos x="T2" y="T3"/>
                </a:cxn>
                <a:cxn ang="0">
                  <a:pos x="T4" y="T5"/>
                </a:cxn>
                <a:cxn ang="0">
                  <a:pos x="T6" y="T7"/>
                </a:cxn>
                <a:cxn ang="0">
                  <a:pos x="T8" y="T9"/>
                </a:cxn>
              </a:cxnLst>
              <a:rect l="0" t="0" r="r" b="b"/>
              <a:pathLst>
                <a:path w="89" h="135">
                  <a:moveTo>
                    <a:pt x="87" y="51"/>
                  </a:moveTo>
                  <a:cubicBezTo>
                    <a:pt x="86" y="80"/>
                    <a:pt x="86" y="98"/>
                    <a:pt x="71" y="113"/>
                  </a:cubicBezTo>
                  <a:cubicBezTo>
                    <a:pt x="49" y="135"/>
                    <a:pt x="13" y="122"/>
                    <a:pt x="6" y="93"/>
                  </a:cubicBezTo>
                  <a:cubicBezTo>
                    <a:pt x="0" y="66"/>
                    <a:pt x="4" y="23"/>
                    <a:pt x="33" y="12"/>
                  </a:cubicBezTo>
                  <a:cubicBezTo>
                    <a:pt x="61" y="0"/>
                    <a:pt x="89" y="22"/>
                    <a:pt x="87" y="51"/>
                  </a:cubicBezTo>
                  <a:close/>
                </a:path>
              </a:pathLst>
            </a:custGeom>
            <a:solidFill>
              <a:srgbClr val="B55B5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ïşľid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B59FDA5E-BF71-4C40-8370-B2DB1ACF522E}"/>
                </a:ext>
              </a:extLst>
            </p:cNvPr>
            <p:cNvSpPr/>
            <p:nvPr/>
          </p:nvSpPr>
          <p:spPr bwMode="auto">
            <a:xfrm>
              <a:off x="6978651" y="1684338"/>
              <a:ext cx="514350" cy="469900"/>
            </a:xfrm>
            <a:custGeom>
              <a:avLst/>
              <a:gdLst>
                <a:gd name="T0" fmla="*/ 67 w 156"/>
                <a:gd name="T1" fmla="*/ 67 h 143"/>
                <a:gd name="T2" fmla="*/ 111 w 156"/>
                <a:gd name="T3" fmla="*/ 140 h 143"/>
                <a:gd name="T4" fmla="*/ 152 w 156"/>
                <a:gd name="T5" fmla="*/ 81 h 143"/>
                <a:gd name="T6" fmla="*/ 142 w 156"/>
                <a:gd name="T7" fmla="*/ 47 h 143"/>
                <a:gd name="T8" fmla="*/ 135 w 156"/>
                <a:gd name="T9" fmla="*/ 23 h 143"/>
                <a:gd name="T10" fmla="*/ 88 w 156"/>
                <a:gd name="T11" fmla="*/ 0 h 143"/>
                <a:gd name="T12" fmla="*/ 62 w 156"/>
                <a:gd name="T13" fmla="*/ 26 h 143"/>
                <a:gd name="T14" fmla="*/ 39 w 156"/>
                <a:gd name="T15" fmla="*/ 6 h 143"/>
                <a:gd name="T16" fmla="*/ 67 w 156"/>
                <a:gd name="T17" fmla="*/ 67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143">
                  <a:moveTo>
                    <a:pt x="67" y="67"/>
                  </a:moveTo>
                  <a:cubicBezTo>
                    <a:pt x="67" y="101"/>
                    <a:pt x="78" y="143"/>
                    <a:pt x="111" y="140"/>
                  </a:cubicBezTo>
                  <a:cubicBezTo>
                    <a:pt x="133" y="138"/>
                    <a:pt x="150" y="98"/>
                    <a:pt x="152" y="81"/>
                  </a:cubicBezTo>
                  <a:cubicBezTo>
                    <a:pt x="156" y="55"/>
                    <a:pt x="156" y="50"/>
                    <a:pt x="142" y="47"/>
                  </a:cubicBezTo>
                  <a:cubicBezTo>
                    <a:pt x="148" y="44"/>
                    <a:pt x="150" y="27"/>
                    <a:pt x="135" y="23"/>
                  </a:cubicBezTo>
                  <a:cubicBezTo>
                    <a:pt x="115" y="18"/>
                    <a:pt x="76" y="13"/>
                    <a:pt x="88" y="0"/>
                  </a:cubicBezTo>
                  <a:cubicBezTo>
                    <a:pt x="63" y="4"/>
                    <a:pt x="57" y="14"/>
                    <a:pt x="62" y="26"/>
                  </a:cubicBezTo>
                  <a:cubicBezTo>
                    <a:pt x="47" y="25"/>
                    <a:pt x="38" y="17"/>
                    <a:pt x="39" y="6"/>
                  </a:cubicBezTo>
                  <a:cubicBezTo>
                    <a:pt x="15" y="16"/>
                    <a:pt x="0" y="70"/>
                    <a:pt x="67" y="67"/>
                  </a:cubicBezTo>
                  <a:close/>
                </a:path>
              </a:pathLst>
            </a:custGeom>
            <a:solidFill>
              <a:srgbClr val="0F26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ïṩḷidè">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9CE7BBC0-47C3-4781-BC80-FE921556E585}"/>
                </a:ext>
              </a:extLst>
            </p:cNvPr>
            <p:cNvSpPr/>
            <p:nvPr/>
          </p:nvSpPr>
          <p:spPr bwMode="auto">
            <a:xfrm>
              <a:off x="7177088" y="1944688"/>
              <a:ext cx="85725" cy="131763"/>
            </a:xfrm>
            <a:custGeom>
              <a:avLst/>
              <a:gdLst>
                <a:gd name="T0" fmla="*/ 24 w 26"/>
                <a:gd name="T1" fmla="*/ 16 h 40"/>
                <a:gd name="T2" fmla="*/ 13 w 26"/>
                <a:gd name="T3" fmla="*/ 34 h 40"/>
                <a:gd name="T4" fmla="*/ 0 w 26"/>
                <a:gd name="T5" fmla="*/ 26 h 40"/>
                <a:gd name="T6" fmla="*/ 12 w 26"/>
                <a:gd name="T7" fmla="*/ 3 h 40"/>
                <a:gd name="T8" fmla="*/ 24 w 26"/>
                <a:gd name="T9" fmla="*/ 16 h 40"/>
              </a:gdLst>
              <a:ahLst/>
              <a:cxnLst>
                <a:cxn ang="0">
                  <a:pos x="T0" y="T1"/>
                </a:cxn>
                <a:cxn ang="0">
                  <a:pos x="T2" y="T3"/>
                </a:cxn>
                <a:cxn ang="0">
                  <a:pos x="T4" y="T5"/>
                </a:cxn>
                <a:cxn ang="0">
                  <a:pos x="T6" y="T7"/>
                </a:cxn>
                <a:cxn ang="0">
                  <a:pos x="T8" y="T9"/>
                </a:cxn>
              </a:cxnLst>
              <a:rect l="0" t="0" r="r" b="b"/>
              <a:pathLst>
                <a:path w="26" h="40">
                  <a:moveTo>
                    <a:pt x="24" y="16"/>
                  </a:moveTo>
                  <a:cubicBezTo>
                    <a:pt x="23" y="23"/>
                    <a:pt x="18" y="30"/>
                    <a:pt x="13" y="34"/>
                  </a:cubicBezTo>
                  <a:cubicBezTo>
                    <a:pt x="6" y="40"/>
                    <a:pt x="0" y="34"/>
                    <a:pt x="0" y="26"/>
                  </a:cubicBezTo>
                  <a:cubicBezTo>
                    <a:pt x="0" y="18"/>
                    <a:pt x="4" y="5"/>
                    <a:pt x="12" y="3"/>
                  </a:cubicBezTo>
                  <a:cubicBezTo>
                    <a:pt x="21" y="0"/>
                    <a:pt x="26" y="7"/>
                    <a:pt x="24" y="16"/>
                  </a:cubicBezTo>
                  <a:close/>
                </a:path>
              </a:pathLst>
            </a:custGeom>
            <a:solidFill>
              <a:srgbClr val="B55B5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íṧlïḋè">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86B08073-72D3-47EA-9A54-2F027AA1CED2}"/>
                </a:ext>
              </a:extLst>
            </p:cNvPr>
            <p:cNvSpPr/>
            <p:nvPr/>
          </p:nvSpPr>
          <p:spPr bwMode="auto">
            <a:xfrm>
              <a:off x="7434263" y="1779588"/>
              <a:ext cx="85725" cy="79375"/>
            </a:xfrm>
            <a:custGeom>
              <a:avLst/>
              <a:gdLst>
                <a:gd name="T0" fmla="*/ 26 w 26"/>
                <a:gd name="T1" fmla="*/ 24 h 24"/>
                <a:gd name="T2" fmla="*/ 0 w 26"/>
                <a:gd name="T3" fmla="*/ 22 h 24"/>
                <a:gd name="T4" fmla="*/ 26 w 26"/>
                <a:gd name="T5" fmla="*/ 24 h 24"/>
              </a:gdLst>
              <a:ahLst/>
              <a:cxnLst>
                <a:cxn ang="0">
                  <a:pos x="T0" y="T1"/>
                </a:cxn>
                <a:cxn ang="0">
                  <a:pos x="T2" y="T3"/>
                </a:cxn>
                <a:cxn ang="0">
                  <a:pos x="T4" y="T5"/>
                </a:cxn>
              </a:cxnLst>
              <a:rect l="0" t="0" r="r" b="b"/>
              <a:pathLst>
                <a:path w="26" h="24">
                  <a:moveTo>
                    <a:pt x="26" y="24"/>
                  </a:moveTo>
                  <a:cubicBezTo>
                    <a:pt x="22" y="22"/>
                    <a:pt x="13" y="17"/>
                    <a:pt x="0" y="22"/>
                  </a:cubicBezTo>
                  <a:cubicBezTo>
                    <a:pt x="0" y="22"/>
                    <a:pt x="16" y="0"/>
                    <a:pt x="26" y="24"/>
                  </a:cubicBezTo>
                  <a:close/>
                </a:path>
              </a:pathLst>
            </a:custGeom>
            <a:solidFill>
              <a:srgbClr val="0F26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íṥļîḑ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5CC7EC10-183B-4257-9C8A-466CC0845B12}"/>
                </a:ext>
              </a:extLst>
            </p:cNvPr>
            <p:cNvSpPr/>
            <p:nvPr/>
          </p:nvSpPr>
          <p:spPr bwMode="auto">
            <a:xfrm>
              <a:off x="7208838" y="3186113"/>
              <a:ext cx="663575" cy="2333625"/>
            </a:xfrm>
            <a:custGeom>
              <a:avLst/>
              <a:gdLst>
                <a:gd name="T0" fmla="*/ 0 w 201"/>
                <a:gd name="T1" fmla="*/ 0 h 708"/>
                <a:gd name="T2" fmla="*/ 51 w 201"/>
                <a:gd name="T3" fmla="*/ 309 h 708"/>
                <a:gd name="T4" fmla="*/ 147 w 201"/>
                <a:gd name="T5" fmla="*/ 708 h 708"/>
                <a:gd name="T6" fmla="*/ 201 w 201"/>
                <a:gd name="T7" fmla="*/ 708 h 708"/>
                <a:gd name="T8" fmla="*/ 139 w 201"/>
                <a:gd name="T9" fmla="*/ 317 h 708"/>
                <a:gd name="T10" fmla="*/ 101 w 201"/>
                <a:gd name="T11" fmla="*/ 0 h 708"/>
                <a:gd name="T12" fmla="*/ 0 w 201"/>
                <a:gd name="T13" fmla="*/ 0 h 708"/>
              </a:gdLst>
              <a:ahLst/>
              <a:cxnLst>
                <a:cxn ang="0">
                  <a:pos x="T0" y="T1"/>
                </a:cxn>
                <a:cxn ang="0">
                  <a:pos x="T2" y="T3"/>
                </a:cxn>
                <a:cxn ang="0">
                  <a:pos x="T4" y="T5"/>
                </a:cxn>
                <a:cxn ang="0">
                  <a:pos x="T6" y="T7"/>
                </a:cxn>
                <a:cxn ang="0">
                  <a:pos x="T8" y="T9"/>
                </a:cxn>
                <a:cxn ang="0">
                  <a:pos x="T10" y="T11"/>
                </a:cxn>
                <a:cxn ang="0">
                  <a:pos x="T12" y="T13"/>
                </a:cxn>
              </a:cxnLst>
              <a:rect l="0" t="0" r="r" b="b"/>
              <a:pathLst>
                <a:path w="201" h="708">
                  <a:moveTo>
                    <a:pt x="0" y="0"/>
                  </a:moveTo>
                  <a:cubicBezTo>
                    <a:pt x="0" y="0"/>
                    <a:pt x="33" y="225"/>
                    <a:pt x="51" y="309"/>
                  </a:cubicBezTo>
                  <a:cubicBezTo>
                    <a:pt x="71" y="401"/>
                    <a:pt x="147" y="708"/>
                    <a:pt x="147" y="708"/>
                  </a:cubicBezTo>
                  <a:cubicBezTo>
                    <a:pt x="201" y="708"/>
                    <a:pt x="201" y="708"/>
                    <a:pt x="201" y="708"/>
                  </a:cubicBezTo>
                  <a:cubicBezTo>
                    <a:pt x="201" y="708"/>
                    <a:pt x="151" y="408"/>
                    <a:pt x="139" y="317"/>
                  </a:cubicBezTo>
                  <a:cubicBezTo>
                    <a:pt x="127" y="218"/>
                    <a:pt x="101" y="0"/>
                    <a:pt x="101" y="0"/>
                  </a:cubicBezTo>
                  <a:lnTo>
                    <a:pt x="0" y="0"/>
                  </a:lnTo>
                  <a:close/>
                </a:path>
              </a:pathLst>
            </a:custGeom>
            <a:solidFill>
              <a:srgbClr val="19437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îŝḷíd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FA089260-81A1-4769-84FD-FA2F03EE3168}"/>
                </a:ext>
              </a:extLst>
            </p:cNvPr>
            <p:cNvSpPr/>
            <p:nvPr/>
          </p:nvSpPr>
          <p:spPr bwMode="auto">
            <a:xfrm>
              <a:off x="7664451" y="5454650"/>
              <a:ext cx="217488" cy="68263"/>
            </a:xfrm>
            <a:custGeom>
              <a:avLst/>
              <a:gdLst>
                <a:gd name="T0" fmla="*/ 0 w 137"/>
                <a:gd name="T1" fmla="*/ 0 h 43"/>
                <a:gd name="T2" fmla="*/ 13 w 137"/>
                <a:gd name="T3" fmla="*/ 43 h 43"/>
                <a:gd name="T4" fmla="*/ 137 w 137"/>
                <a:gd name="T5" fmla="*/ 43 h 43"/>
                <a:gd name="T6" fmla="*/ 135 w 137"/>
                <a:gd name="T7" fmla="*/ 4 h 43"/>
                <a:gd name="T8" fmla="*/ 0 w 137"/>
                <a:gd name="T9" fmla="*/ 0 h 43"/>
              </a:gdLst>
              <a:ahLst/>
              <a:cxnLst>
                <a:cxn ang="0">
                  <a:pos x="T0" y="T1"/>
                </a:cxn>
                <a:cxn ang="0">
                  <a:pos x="T2" y="T3"/>
                </a:cxn>
                <a:cxn ang="0">
                  <a:pos x="T4" y="T5"/>
                </a:cxn>
                <a:cxn ang="0">
                  <a:pos x="T6" y="T7"/>
                </a:cxn>
                <a:cxn ang="0">
                  <a:pos x="T8" y="T9"/>
                </a:cxn>
              </a:cxnLst>
              <a:rect l="0" t="0" r="r" b="b"/>
              <a:pathLst>
                <a:path w="137" h="43">
                  <a:moveTo>
                    <a:pt x="0" y="0"/>
                  </a:moveTo>
                  <a:lnTo>
                    <a:pt x="13" y="43"/>
                  </a:lnTo>
                  <a:lnTo>
                    <a:pt x="137" y="43"/>
                  </a:lnTo>
                  <a:lnTo>
                    <a:pt x="135" y="4"/>
                  </a:lnTo>
                  <a:lnTo>
                    <a:pt x="0" y="0"/>
                  </a:lnTo>
                  <a:close/>
                </a:path>
              </a:pathLst>
            </a:custGeom>
            <a:solidFill>
              <a:srgbClr val="2C6B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íSļïdé">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C9648A2D-6016-493D-A5FD-DEE5C1246968}"/>
                </a:ext>
              </a:extLst>
            </p:cNvPr>
            <p:cNvSpPr/>
            <p:nvPr/>
          </p:nvSpPr>
          <p:spPr bwMode="auto">
            <a:xfrm>
              <a:off x="7248526" y="3446463"/>
              <a:ext cx="155575" cy="746125"/>
            </a:xfrm>
            <a:custGeom>
              <a:avLst/>
              <a:gdLst>
                <a:gd name="T0" fmla="*/ 9 w 47"/>
                <a:gd name="T1" fmla="*/ 1 h 226"/>
                <a:gd name="T2" fmla="*/ 38 w 47"/>
                <a:gd name="T3" fmla="*/ 226 h 226"/>
                <a:gd name="T4" fmla="*/ 0 w 47"/>
                <a:gd name="T5" fmla="*/ 2 h 226"/>
                <a:gd name="T6" fmla="*/ 9 w 47"/>
                <a:gd name="T7" fmla="*/ 1 h 226"/>
              </a:gdLst>
              <a:ahLst/>
              <a:cxnLst>
                <a:cxn ang="0">
                  <a:pos x="T0" y="T1"/>
                </a:cxn>
                <a:cxn ang="0">
                  <a:pos x="T2" y="T3"/>
                </a:cxn>
                <a:cxn ang="0">
                  <a:pos x="T4" y="T5"/>
                </a:cxn>
                <a:cxn ang="0">
                  <a:pos x="T6" y="T7"/>
                </a:cxn>
              </a:cxnLst>
              <a:rect l="0" t="0" r="r" b="b"/>
              <a:pathLst>
                <a:path w="47" h="226">
                  <a:moveTo>
                    <a:pt x="9" y="1"/>
                  </a:moveTo>
                  <a:cubicBezTo>
                    <a:pt x="47" y="9"/>
                    <a:pt x="43" y="152"/>
                    <a:pt x="38" y="226"/>
                  </a:cubicBezTo>
                  <a:cubicBezTo>
                    <a:pt x="27" y="174"/>
                    <a:pt x="11" y="74"/>
                    <a:pt x="0" y="2"/>
                  </a:cubicBezTo>
                  <a:cubicBezTo>
                    <a:pt x="2" y="1"/>
                    <a:pt x="5" y="0"/>
                    <a:pt x="9" y="1"/>
                  </a:cubicBezTo>
                  <a:close/>
                </a:path>
              </a:pathLst>
            </a:custGeom>
            <a:solidFill>
              <a:srgbClr val="133A6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iṥḷíḓ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16801CA4-8C3D-401B-B0A1-86FEB2935FE2}"/>
                </a:ext>
              </a:extLst>
            </p:cNvPr>
            <p:cNvSpPr/>
            <p:nvPr/>
          </p:nvSpPr>
          <p:spPr bwMode="auto">
            <a:xfrm>
              <a:off x="7011988" y="3186113"/>
              <a:ext cx="352425" cy="2333625"/>
            </a:xfrm>
            <a:custGeom>
              <a:avLst/>
              <a:gdLst>
                <a:gd name="T0" fmla="*/ 4 w 107"/>
                <a:gd name="T1" fmla="*/ 0 h 708"/>
                <a:gd name="T2" fmla="*/ 3 w 107"/>
                <a:gd name="T3" fmla="*/ 309 h 708"/>
                <a:gd name="T4" fmla="*/ 39 w 107"/>
                <a:gd name="T5" fmla="*/ 708 h 708"/>
                <a:gd name="T6" fmla="*/ 89 w 107"/>
                <a:gd name="T7" fmla="*/ 708 h 708"/>
                <a:gd name="T8" fmla="*/ 93 w 107"/>
                <a:gd name="T9" fmla="*/ 317 h 708"/>
                <a:gd name="T10" fmla="*/ 107 w 107"/>
                <a:gd name="T11" fmla="*/ 0 h 708"/>
                <a:gd name="T12" fmla="*/ 4 w 107"/>
                <a:gd name="T13" fmla="*/ 0 h 708"/>
              </a:gdLst>
              <a:ahLst/>
              <a:cxnLst>
                <a:cxn ang="0">
                  <a:pos x="T0" y="T1"/>
                </a:cxn>
                <a:cxn ang="0">
                  <a:pos x="T2" y="T3"/>
                </a:cxn>
                <a:cxn ang="0">
                  <a:pos x="T4" y="T5"/>
                </a:cxn>
                <a:cxn ang="0">
                  <a:pos x="T6" y="T7"/>
                </a:cxn>
                <a:cxn ang="0">
                  <a:pos x="T8" y="T9"/>
                </a:cxn>
                <a:cxn ang="0">
                  <a:pos x="T10" y="T11"/>
                </a:cxn>
                <a:cxn ang="0">
                  <a:pos x="T12" y="T13"/>
                </a:cxn>
              </a:cxnLst>
              <a:rect l="0" t="0" r="r" b="b"/>
              <a:pathLst>
                <a:path w="107" h="708">
                  <a:moveTo>
                    <a:pt x="4" y="0"/>
                  </a:moveTo>
                  <a:cubicBezTo>
                    <a:pt x="4" y="0"/>
                    <a:pt x="0" y="220"/>
                    <a:pt x="3" y="309"/>
                  </a:cubicBezTo>
                  <a:cubicBezTo>
                    <a:pt x="6" y="403"/>
                    <a:pt x="39" y="708"/>
                    <a:pt x="39" y="708"/>
                  </a:cubicBezTo>
                  <a:cubicBezTo>
                    <a:pt x="89" y="708"/>
                    <a:pt x="89" y="708"/>
                    <a:pt x="89" y="708"/>
                  </a:cubicBezTo>
                  <a:cubicBezTo>
                    <a:pt x="89" y="708"/>
                    <a:pt x="90" y="408"/>
                    <a:pt x="93" y="317"/>
                  </a:cubicBezTo>
                  <a:cubicBezTo>
                    <a:pt x="95" y="217"/>
                    <a:pt x="107" y="0"/>
                    <a:pt x="107" y="0"/>
                  </a:cubicBezTo>
                  <a:lnTo>
                    <a:pt x="4" y="0"/>
                  </a:lnTo>
                  <a:close/>
                </a:path>
              </a:pathLst>
            </a:custGeom>
            <a:solidFill>
              <a:srgbClr val="19437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îśľiḋé">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3609D0FD-0170-4C8D-A0A3-31DCD66786E4}"/>
                </a:ext>
              </a:extLst>
            </p:cNvPr>
            <p:cNvSpPr/>
            <p:nvPr/>
          </p:nvSpPr>
          <p:spPr bwMode="auto">
            <a:xfrm>
              <a:off x="7058026" y="3243263"/>
              <a:ext cx="119063" cy="2159000"/>
            </a:xfrm>
            <a:custGeom>
              <a:avLst/>
              <a:gdLst>
                <a:gd name="T0" fmla="*/ 35 w 36"/>
                <a:gd name="T1" fmla="*/ 655 h 655"/>
                <a:gd name="T2" fmla="*/ 35 w 36"/>
                <a:gd name="T3" fmla="*/ 655 h 655"/>
                <a:gd name="T4" fmla="*/ 3 w 36"/>
                <a:gd name="T5" fmla="*/ 292 h 655"/>
                <a:gd name="T6" fmla="*/ 3 w 36"/>
                <a:gd name="T7" fmla="*/ 0 h 655"/>
                <a:gd name="T8" fmla="*/ 4 w 36"/>
                <a:gd name="T9" fmla="*/ 0 h 655"/>
                <a:gd name="T10" fmla="*/ 4 w 36"/>
                <a:gd name="T11" fmla="*/ 0 h 655"/>
                <a:gd name="T12" fmla="*/ 4 w 36"/>
                <a:gd name="T13" fmla="*/ 292 h 655"/>
                <a:gd name="T14" fmla="*/ 36 w 36"/>
                <a:gd name="T15" fmla="*/ 655 h 655"/>
                <a:gd name="T16" fmla="*/ 35 w 36"/>
                <a:gd name="T17" fmla="*/ 655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655">
                  <a:moveTo>
                    <a:pt x="35" y="655"/>
                  </a:moveTo>
                  <a:cubicBezTo>
                    <a:pt x="35" y="655"/>
                    <a:pt x="35" y="655"/>
                    <a:pt x="35" y="655"/>
                  </a:cubicBezTo>
                  <a:cubicBezTo>
                    <a:pt x="26" y="570"/>
                    <a:pt x="5" y="366"/>
                    <a:pt x="3" y="292"/>
                  </a:cubicBezTo>
                  <a:cubicBezTo>
                    <a:pt x="0" y="218"/>
                    <a:pt x="2" y="50"/>
                    <a:pt x="3" y="0"/>
                  </a:cubicBezTo>
                  <a:cubicBezTo>
                    <a:pt x="4" y="0"/>
                    <a:pt x="4" y="0"/>
                    <a:pt x="4" y="0"/>
                  </a:cubicBezTo>
                  <a:cubicBezTo>
                    <a:pt x="4" y="0"/>
                    <a:pt x="4" y="0"/>
                    <a:pt x="4" y="0"/>
                  </a:cubicBezTo>
                  <a:cubicBezTo>
                    <a:pt x="3" y="50"/>
                    <a:pt x="1" y="218"/>
                    <a:pt x="4" y="292"/>
                  </a:cubicBezTo>
                  <a:cubicBezTo>
                    <a:pt x="6" y="366"/>
                    <a:pt x="27" y="570"/>
                    <a:pt x="36" y="655"/>
                  </a:cubicBezTo>
                  <a:cubicBezTo>
                    <a:pt x="35" y="655"/>
                    <a:pt x="35" y="655"/>
                    <a:pt x="35" y="655"/>
                  </a:cubicBezTo>
                  <a:close/>
                </a:path>
              </a:pathLst>
            </a:custGeom>
            <a:solidFill>
              <a:srgbClr val="2C6B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ïṩḷiḍ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AF8C30BD-E906-4EFE-9E48-6C3F3F9DB3C4}"/>
                </a:ext>
              </a:extLst>
            </p:cNvPr>
            <p:cNvSpPr/>
            <p:nvPr/>
          </p:nvSpPr>
          <p:spPr bwMode="auto">
            <a:xfrm>
              <a:off x="7107238" y="5454650"/>
              <a:ext cx="214313" cy="68263"/>
            </a:xfrm>
            <a:custGeom>
              <a:avLst/>
              <a:gdLst>
                <a:gd name="T0" fmla="*/ 0 w 135"/>
                <a:gd name="T1" fmla="*/ 0 h 43"/>
                <a:gd name="T2" fmla="*/ 6 w 135"/>
                <a:gd name="T3" fmla="*/ 43 h 43"/>
                <a:gd name="T4" fmla="*/ 133 w 135"/>
                <a:gd name="T5" fmla="*/ 43 h 43"/>
                <a:gd name="T6" fmla="*/ 135 w 135"/>
                <a:gd name="T7" fmla="*/ 4 h 43"/>
                <a:gd name="T8" fmla="*/ 0 w 135"/>
                <a:gd name="T9" fmla="*/ 0 h 43"/>
              </a:gdLst>
              <a:ahLst/>
              <a:cxnLst>
                <a:cxn ang="0">
                  <a:pos x="T0" y="T1"/>
                </a:cxn>
                <a:cxn ang="0">
                  <a:pos x="T2" y="T3"/>
                </a:cxn>
                <a:cxn ang="0">
                  <a:pos x="T4" y="T5"/>
                </a:cxn>
                <a:cxn ang="0">
                  <a:pos x="T6" y="T7"/>
                </a:cxn>
                <a:cxn ang="0">
                  <a:pos x="T8" y="T9"/>
                </a:cxn>
              </a:cxnLst>
              <a:rect l="0" t="0" r="r" b="b"/>
              <a:pathLst>
                <a:path w="135" h="43">
                  <a:moveTo>
                    <a:pt x="0" y="0"/>
                  </a:moveTo>
                  <a:lnTo>
                    <a:pt x="6" y="43"/>
                  </a:lnTo>
                  <a:lnTo>
                    <a:pt x="133" y="43"/>
                  </a:lnTo>
                  <a:lnTo>
                    <a:pt x="135" y="4"/>
                  </a:lnTo>
                  <a:lnTo>
                    <a:pt x="0" y="0"/>
                  </a:lnTo>
                  <a:close/>
                </a:path>
              </a:pathLst>
            </a:custGeom>
            <a:solidFill>
              <a:srgbClr val="2C6B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îsľîḑè">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40508EB2-5244-4A23-AE93-35350B64CBB6}"/>
                </a:ext>
              </a:extLst>
            </p:cNvPr>
            <p:cNvSpPr/>
            <p:nvPr/>
          </p:nvSpPr>
          <p:spPr bwMode="auto">
            <a:xfrm>
              <a:off x="4794251" y="1366838"/>
              <a:ext cx="758825" cy="758825"/>
            </a:xfrm>
            <a:custGeom>
              <a:avLst/>
              <a:gdLst>
                <a:gd name="T0" fmla="*/ 146 w 230"/>
                <a:gd name="T1" fmla="*/ 213 h 230"/>
                <a:gd name="T2" fmla="*/ 213 w 230"/>
                <a:gd name="T3" fmla="*/ 84 h 230"/>
                <a:gd name="T4" fmla="*/ 84 w 230"/>
                <a:gd name="T5" fmla="*/ 17 h 230"/>
                <a:gd name="T6" fmla="*/ 17 w 230"/>
                <a:gd name="T7" fmla="*/ 146 h 230"/>
                <a:gd name="T8" fmla="*/ 146 w 230"/>
                <a:gd name="T9" fmla="*/ 213 h 230"/>
              </a:gdLst>
              <a:ahLst/>
              <a:cxnLst>
                <a:cxn ang="0">
                  <a:pos x="T0" y="T1"/>
                </a:cxn>
                <a:cxn ang="0">
                  <a:pos x="T2" y="T3"/>
                </a:cxn>
                <a:cxn ang="0">
                  <a:pos x="T4" y="T5"/>
                </a:cxn>
                <a:cxn ang="0">
                  <a:pos x="T6" y="T7"/>
                </a:cxn>
                <a:cxn ang="0">
                  <a:pos x="T8" y="T9"/>
                </a:cxn>
              </a:cxnLst>
              <a:rect l="0" t="0" r="r" b="b"/>
              <a:pathLst>
                <a:path w="230" h="230">
                  <a:moveTo>
                    <a:pt x="146" y="213"/>
                  </a:moveTo>
                  <a:cubicBezTo>
                    <a:pt x="200" y="196"/>
                    <a:pt x="230" y="138"/>
                    <a:pt x="213" y="84"/>
                  </a:cubicBezTo>
                  <a:cubicBezTo>
                    <a:pt x="196" y="30"/>
                    <a:pt x="138" y="0"/>
                    <a:pt x="84" y="17"/>
                  </a:cubicBezTo>
                  <a:cubicBezTo>
                    <a:pt x="30" y="34"/>
                    <a:pt x="0" y="91"/>
                    <a:pt x="17" y="146"/>
                  </a:cubicBezTo>
                  <a:cubicBezTo>
                    <a:pt x="34" y="200"/>
                    <a:pt x="92" y="230"/>
                    <a:pt x="146" y="213"/>
                  </a:cubicBezTo>
                  <a:close/>
                </a:path>
              </a:pathLst>
            </a:custGeom>
            <a:solidFill>
              <a:srgbClr val="5592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iṩliď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468542EB-7694-4247-A481-6EB2E42484F2}"/>
                </a:ext>
              </a:extLst>
            </p:cNvPr>
            <p:cNvSpPr/>
            <p:nvPr/>
          </p:nvSpPr>
          <p:spPr bwMode="auto">
            <a:xfrm>
              <a:off x="4794251" y="2343150"/>
              <a:ext cx="498475" cy="674688"/>
            </a:xfrm>
            <a:custGeom>
              <a:avLst/>
              <a:gdLst>
                <a:gd name="T0" fmla="*/ 115 w 151"/>
                <a:gd name="T1" fmla="*/ 0 h 205"/>
                <a:gd name="T2" fmla="*/ 84 w 151"/>
                <a:gd name="T3" fmla="*/ 4 h 205"/>
                <a:gd name="T4" fmla="*/ 17 w 151"/>
                <a:gd name="T5" fmla="*/ 133 h 205"/>
                <a:gd name="T6" fmla="*/ 115 w 151"/>
                <a:gd name="T7" fmla="*/ 205 h 205"/>
                <a:gd name="T8" fmla="*/ 146 w 151"/>
                <a:gd name="T9" fmla="*/ 200 h 205"/>
                <a:gd name="T10" fmla="*/ 151 w 151"/>
                <a:gd name="T11" fmla="*/ 198 h 205"/>
                <a:gd name="T12" fmla="*/ 151 w 151"/>
                <a:gd name="T13" fmla="*/ 6 h 205"/>
                <a:gd name="T14" fmla="*/ 115 w 151"/>
                <a:gd name="T15" fmla="*/ 0 h 2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1" h="205">
                  <a:moveTo>
                    <a:pt x="115" y="0"/>
                  </a:moveTo>
                  <a:cubicBezTo>
                    <a:pt x="105" y="0"/>
                    <a:pt x="95" y="1"/>
                    <a:pt x="84" y="4"/>
                  </a:cubicBezTo>
                  <a:cubicBezTo>
                    <a:pt x="30" y="21"/>
                    <a:pt x="0" y="79"/>
                    <a:pt x="17" y="133"/>
                  </a:cubicBezTo>
                  <a:cubicBezTo>
                    <a:pt x="31" y="177"/>
                    <a:pt x="71" y="205"/>
                    <a:pt x="115" y="205"/>
                  </a:cubicBezTo>
                  <a:cubicBezTo>
                    <a:pt x="125" y="205"/>
                    <a:pt x="135" y="204"/>
                    <a:pt x="146" y="200"/>
                  </a:cubicBezTo>
                  <a:cubicBezTo>
                    <a:pt x="147" y="200"/>
                    <a:pt x="149" y="199"/>
                    <a:pt x="151" y="198"/>
                  </a:cubicBezTo>
                  <a:cubicBezTo>
                    <a:pt x="151" y="6"/>
                    <a:pt x="151" y="6"/>
                    <a:pt x="151" y="6"/>
                  </a:cubicBezTo>
                  <a:cubicBezTo>
                    <a:pt x="140" y="2"/>
                    <a:pt x="127" y="0"/>
                    <a:pt x="115" y="0"/>
                  </a:cubicBezTo>
                </a:path>
              </a:pathLst>
            </a:custGeom>
            <a:solidFill>
              <a:srgbClr val="AAC8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ïṡļîḓ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A97678B0-8BDF-4957-8F5E-428B8801946E}"/>
                </a:ext>
              </a:extLst>
            </p:cNvPr>
            <p:cNvSpPr/>
            <p:nvPr/>
          </p:nvSpPr>
          <p:spPr bwMode="auto">
            <a:xfrm>
              <a:off x="5292726" y="2362200"/>
              <a:ext cx="39688" cy="633413"/>
            </a:xfrm>
            <a:custGeom>
              <a:avLst/>
              <a:gdLst>
                <a:gd name="T0" fmla="*/ 0 w 12"/>
                <a:gd name="T1" fmla="*/ 0 h 192"/>
                <a:gd name="T2" fmla="*/ 0 w 12"/>
                <a:gd name="T3" fmla="*/ 192 h 192"/>
                <a:gd name="T4" fmla="*/ 12 w 12"/>
                <a:gd name="T5" fmla="*/ 187 h 192"/>
                <a:gd name="T6" fmla="*/ 12 w 12"/>
                <a:gd name="T7" fmla="*/ 6 h 192"/>
                <a:gd name="T8" fmla="*/ 0 w 12"/>
                <a:gd name="T9" fmla="*/ 0 h 192"/>
              </a:gdLst>
              <a:ahLst/>
              <a:cxnLst>
                <a:cxn ang="0">
                  <a:pos x="T0" y="T1"/>
                </a:cxn>
                <a:cxn ang="0">
                  <a:pos x="T2" y="T3"/>
                </a:cxn>
                <a:cxn ang="0">
                  <a:pos x="T4" y="T5"/>
                </a:cxn>
                <a:cxn ang="0">
                  <a:pos x="T6" y="T7"/>
                </a:cxn>
                <a:cxn ang="0">
                  <a:pos x="T8" y="T9"/>
                </a:cxn>
              </a:cxnLst>
              <a:rect l="0" t="0" r="r" b="b"/>
              <a:pathLst>
                <a:path w="12" h="192">
                  <a:moveTo>
                    <a:pt x="0" y="0"/>
                  </a:moveTo>
                  <a:cubicBezTo>
                    <a:pt x="0" y="192"/>
                    <a:pt x="0" y="192"/>
                    <a:pt x="0" y="192"/>
                  </a:cubicBezTo>
                  <a:cubicBezTo>
                    <a:pt x="4" y="191"/>
                    <a:pt x="8" y="189"/>
                    <a:pt x="12" y="187"/>
                  </a:cubicBezTo>
                  <a:cubicBezTo>
                    <a:pt x="12" y="6"/>
                    <a:pt x="12" y="6"/>
                    <a:pt x="12" y="6"/>
                  </a:cubicBezTo>
                  <a:cubicBezTo>
                    <a:pt x="8" y="4"/>
                    <a:pt x="4" y="2"/>
                    <a:pt x="0" y="0"/>
                  </a:cubicBezTo>
                </a:path>
              </a:pathLst>
            </a:custGeom>
            <a:solidFill>
              <a:srgbClr val="93BA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îSḷïďè">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ED8E0108-F735-41CE-9B0D-F1703BC6FA48}"/>
                </a:ext>
              </a:extLst>
            </p:cNvPr>
            <p:cNvSpPr/>
            <p:nvPr/>
          </p:nvSpPr>
          <p:spPr bwMode="auto">
            <a:xfrm>
              <a:off x="5332413" y="2382838"/>
              <a:ext cx="73025" cy="596900"/>
            </a:xfrm>
            <a:custGeom>
              <a:avLst/>
              <a:gdLst>
                <a:gd name="T0" fmla="*/ 0 w 22"/>
                <a:gd name="T1" fmla="*/ 0 h 181"/>
                <a:gd name="T2" fmla="*/ 0 w 22"/>
                <a:gd name="T3" fmla="*/ 181 h 181"/>
                <a:gd name="T4" fmla="*/ 22 w 22"/>
                <a:gd name="T5" fmla="*/ 166 h 181"/>
                <a:gd name="T6" fmla="*/ 22 w 22"/>
                <a:gd name="T7" fmla="*/ 76 h 181"/>
                <a:gd name="T8" fmla="*/ 9 w 22"/>
                <a:gd name="T9" fmla="*/ 76 h 181"/>
                <a:gd name="T10" fmla="*/ 9 w 22"/>
                <a:gd name="T11" fmla="*/ 43 h 181"/>
                <a:gd name="T12" fmla="*/ 22 w 22"/>
                <a:gd name="T13" fmla="*/ 43 h 181"/>
                <a:gd name="T14" fmla="*/ 22 w 22"/>
                <a:gd name="T15" fmla="*/ 15 h 181"/>
                <a:gd name="T16" fmla="*/ 0 w 22"/>
                <a:gd name="T17"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81">
                  <a:moveTo>
                    <a:pt x="0" y="0"/>
                  </a:moveTo>
                  <a:cubicBezTo>
                    <a:pt x="0" y="181"/>
                    <a:pt x="0" y="181"/>
                    <a:pt x="0" y="181"/>
                  </a:cubicBezTo>
                  <a:cubicBezTo>
                    <a:pt x="8" y="177"/>
                    <a:pt x="15" y="172"/>
                    <a:pt x="22" y="166"/>
                  </a:cubicBezTo>
                  <a:cubicBezTo>
                    <a:pt x="22" y="76"/>
                    <a:pt x="22" y="76"/>
                    <a:pt x="22" y="76"/>
                  </a:cubicBezTo>
                  <a:cubicBezTo>
                    <a:pt x="9" y="76"/>
                    <a:pt x="9" y="76"/>
                    <a:pt x="9" y="76"/>
                  </a:cubicBezTo>
                  <a:cubicBezTo>
                    <a:pt x="9" y="43"/>
                    <a:pt x="9" y="43"/>
                    <a:pt x="9" y="43"/>
                  </a:cubicBezTo>
                  <a:cubicBezTo>
                    <a:pt x="22" y="43"/>
                    <a:pt x="22" y="43"/>
                    <a:pt x="22" y="43"/>
                  </a:cubicBezTo>
                  <a:cubicBezTo>
                    <a:pt x="22" y="15"/>
                    <a:pt x="22" y="15"/>
                    <a:pt x="22" y="15"/>
                  </a:cubicBezTo>
                  <a:cubicBezTo>
                    <a:pt x="15" y="9"/>
                    <a:pt x="8" y="4"/>
                    <a:pt x="0" y="0"/>
                  </a:cubicBezTo>
                </a:path>
              </a:pathLst>
            </a:custGeom>
            <a:solidFill>
              <a:srgbClr val="A4C5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íṩļiḍé">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7EDAD51D-7D0F-43BF-AC40-26394A0ECDAA}"/>
                </a:ext>
              </a:extLst>
            </p:cNvPr>
            <p:cNvSpPr/>
            <p:nvPr/>
          </p:nvSpPr>
          <p:spPr bwMode="auto">
            <a:xfrm>
              <a:off x="5405438" y="2432050"/>
              <a:ext cx="117475" cy="496888"/>
            </a:xfrm>
            <a:custGeom>
              <a:avLst/>
              <a:gdLst>
                <a:gd name="T0" fmla="*/ 32 w 36"/>
                <a:gd name="T1" fmla="*/ 61 h 151"/>
                <a:gd name="T2" fmla="*/ 0 w 36"/>
                <a:gd name="T3" fmla="*/ 61 h 151"/>
                <a:gd name="T4" fmla="*/ 0 w 36"/>
                <a:gd name="T5" fmla="*/ 151 h 151"/>
                <a:gd name="T6" fmla="*/ 32 w 36"/>
                <a:gd name="T7" fmla="*/ 61 h 151"/>
                <a:gd name="T8" fmla="*/ 0 w 36"/>
                <a:gd name="T9" fmla="*/ 0 h 151"/>
                <a:gd name="T10" fmla="*/ 0 w 36"/>
                <a:gd name="T11" fmla="*/ 28 h 151"/>
                <a:gd name="T12" fmla="*/ 21 w 36"/>
                <a:gd name="T13" fmla="*/ 28 h 151"/>
                <a:gd name="T14" fmla="*/ 0 w 36"/>
                <a:gd name="T15" fmla="*/ 0 h 1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151">
                  <a:moveTo>
                    <a:pt x="32" y="61"/>
                  </a:moveTo>
                  <a:cubicBezTo>
                    <a:pt x="0" y="61"/>
                    <a:pt x="0" y="61"/>
                    <a:pt x="0" y="61"/>
                  </a:cubicBezTo>
                  <a:cubicBezTo>
                    <a:pt x="0" y="151"/>
                    <a:pt x="0" y="151"/>
                    <a:pt x="0" y="151"/>
                  </a:cubicBezTo>
                  <a:cubicBezTo>
                    <a:pt x="24" y="128"/>
                    <a:pt x="36" y="95"/>
                    <a:pt x="32" y="61"/>
                  </a:cubicBezTo>
                  <a:moveTo>
                    <a:pt x="0" y="0"/>
                  </a:moveTo>
                  <a:cubicBezTo>
                    <a:pt x="0" y="28"/>
                    <a:pt x="0" y="28"/>
                    <a:pt x="0" y="28"/>
                  </a:cubicBezTo>
                  <a:cubicBezTo>
                    <a:pt x="21" y="28"/>
                    <a:pt x="21" y="28"/>
                    <a:pt x="21" y="28"/>
                  </a:cubicBezTo>
                  <a:cubicBezTo>
                    <a:pt x="16" y="17"/>
                    <a:pt x="8" y="8"/>
                    <a:pt x="0" y="0"/>
                  </a:cubicBezTo>
                </a:path>
              </a:pathLst>
            </a:custGeom>
            <a:solidFill>
              <a:srgbClr val="AAC8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ï$ḷíḍ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AF471C4D-C7CE-49CC-B0D0-EAEB09FA098B}"/>
                </a:ext>
              </a:extLst>
            </p:cNvPr>
            <p:cNvSpPr/>
            <p:nvPr/>
          </p:nvSpPr>
          <p:spPr bwMode="auto">
            <a:xfrm>
              <a:off x="5362576" y="2524125"/>
              <a:ext cx="147638" cy="109538"/>
            </a:xfrm>
            <a:custGeom>
              <a:avLst/>
              <a:gdLst>
                <a:gd name="T0" fmla="*/ 34 w 45"/>
                <a:gd name="T1" fmla="*/ 0 h 33"/>
                <a:gd name="T2" fmla="*/ 13 w 45"/>
                <a:gd name="T3" fmla="*/ 0 h 33"/>
                <a:gd name="T4" fmla="*/ 0 w 45"/>
                <a:gd name="T5" fmla="*/ 0 h 33"/>
                <a:gd name="T6" fmla="*/ 0 w 45"/>
                <a:gd name="T7" fmla="*/ 33 h 33"/>
                <a:gd name="T8" fmla="*/ 13 w 45"/>
                <a:gd name="T9" fmla="*/ 33 h 33"/>
                <a:gd name="T10" fmla="*/ 45 w 45"/>
                <a:gd name="T11" fmla="*/ 33 h 33"/>
                <a:gd name="T12" fmla="*/ 41 w 45"/>
                <a:gd name="T13" fmla="*/ 17 h 33"/>
                <a:gd name="T14" fmla="*/ 34 w 45"/>
                <a:gd name="T15" fmla="*/ 0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33">
                  <a:moveTo>
                    <a:pt x="34" y="0"/>
                  </a:moveTo>
                  <a:cubicBezTo>
                    <a:pt x="13" y="0"/>
                    <a:pt x="13" y="0"/>
                    <a:pt x="13" y="0"/>
                  </a:cubicBezTo>
                  <a:cubicBezTo>
                    <a:pt x="0" y="0"/>
                    <a:pt x="0" y="0"/>
                    <a:pt x="0" y="0"/>
                  </a:cubicBezTo>
                  <a:cubicBezTo>
                    <a:pt x="0" y="33"/>
                    <a:pt x="0" y="33"/>
                    <a:pt x="0" y="33"/>
                  </a:cubicBezTo>
                  <a:cubicBezTo>
                    <a:pt x="13" y="33"/>
                    <a:pt x="13" y="33"/>
                    <a:pt x="13" y="33"/>
                  </a:cubicBezTo>
                  <a:cubicBezTo>
                    <a:pt x="45" y="33"/>
                    <a:pt x="45" y="33"/>
                    <a:pt x="45" y="33"/>
                  </a:cubicBezTo>
                  <a:cubicBezTo>
                    <a:pt x="44" y="27"/>
                    <a:pt x="43" y="22"/>
                    <a:pt x="41" y="17"/>
                  </a:cubicBezTo>
                  <a:cubicBezTo>
                    <a:pt x="39" y="11"/>
                    <a:pt x="37" y="5"/>
                    <a:pt x="34" y="0"/>
                  </a:cubicBezTo>
                </a:path>
              </a:pathLst>
            </a:custGeom>
            <a:solidFill>
              <a:srgbClr val="A4C5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4" name="iṥḻiḋè">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AE337655-F791-41A4-8979-5875F7C88968}"/>
                </a:ext>
              </a:extLst>
            </p:cNvPr>
            <p:cNvSpPr/>
            <p:nvPr/>
          </p:nvSpPr>
          <p:spPr bwMode="auto">
            <a:xfrm>
              <a:off x="4794251" y="3275013"/>
              <a:ext cx="758825" cy="679450"/>
            </a:xfrm>
            <a:custGeom>
              <a:avLst/>
              <a:gdLst>
                <a:gd name="T0" fmla="*/ 115 w 230"/>
                <a:gd name="T1" fmla="*/ 0 h 206"/>
                <a:gd name="T2" fmla="*/ 84 w 230"/>
                <a:gd name="T3" fmla="*/ 5 h 206"/>
                <a:gd name="T4" fmla="*/ 17 w 230"/>
                <a:gd name="T5" fmla="*/ 134 h 206"/>
                <a:gd name="T6" fmla="*/ 115 w 230"/>
                <a:gd name="T7" fmla="*/ 206 h 206"/>
                <a:gd name="T8" fmla="*/ 146 w 230"/>
                <a:gd name="T9" fmla="*/ 201 h 206"/>
                <a:gd name="T10" fmla="*/ 213 w 230"/>
                <a:gd name="T11" fmla="*/ 72 h 206"/>
                <a:gd name="T12" fmla="*/ 115 w 230"/>
                <a:gd name="T13" fmla="*/ 0 h 206"/>
              </a:gdLst>
              <a:ahLst/>
              <a:cxnLst>
                <a:cxn ang="0">
                  <a:pos x="T0" y="T1"/>
                </a:cxn>
                <a:cxn ang="0">
                  <a:pos x="T2" y="T3"/>
                </a:cxn>
                <a:cxn ang="0">
                  <a:pos x="T4" y="T5"/>
                </a:cxn>
                <a:cxn ang="0">
                  <a:pos x="T6" y="T7"/>
                </a:cxn>
                <a:cxn ang="0">
                  <a:pos x="T8" y="T9"/>
                </a:cxn>
                <a:cxn ang="0">
                  <a:pos x="T10" y="T11"/>
                </a:cxn>
                <a:cxn ang="0">
                  <a:pos x="T12" y="T13"/>
                </a:cxn>
              </a:cxnLst>
              <a:rect l="0" t="0" r="r" b="b"/>
              <a:pathLst>
                <a:path w="230" h="206">
                  <a:moveTo>
                    <a:pt x="115" y="0"/>
                  </a:moveTo>
                  <a:cubicBezTo>
                    <a:pt x="105" y="0"/>
                    <a:pt x="95" y="2"/>
                    <a:pt x="84" y="5"/>
                  </a:cubicBezTo>
                  <a:cubicBezTo>
                    <a:pt x="30" y="22"/>
                    <a:pt x="0" y="79"/>
                    <a:pt x="17" y="134"/>
                  </a:cubicBezTo>
                  <a:cubicBezTo>
                    <a:pt x="31" y="177"/>
                    <a:pt x="71" y="206"/>
                    <a:pt x="115" y="206"/>
                  </a:cubicBezTo>
                  <a:cubicBezTo>
                    <a:pt x="125" y="206"/>
                    <a:pt x="135" y="204"/>
                    <a:pt x="146" y="201"/>
                  </a:cubicBezTo>
                  <a:cubicBezTo>
                    <a:pt x="200" y="184"/>
                    <a:pt x="230" y="126"/>
                    <a:pt x="213" y="72"/>
                  </a:cubicBezTo>
                  <a:cubicBezTo>
                    <a:pt x="199" y="28"/>
                    <a:pt x="159" y="0"/>
                    <a:pt x="115" y="0"/>
                  </a:cubicBezTo>
                </a:path>
              </a:pathLst>
            </a:custGeom>
            <a:solidFill>
              <a:srgbClr val="AAC8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5" name="íŝľíḋ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414749F3-EA8C-4ABB-8DF5-2E03DD721054}"/>
                </a:ext>
              </a:extLst>
            </p:cNvPr>
            <p:cNvSpPr/>
            <p:nvPr/>
          </p:nvSpPr>
          <p:spPr bwMode="auto">
            <a:xfrm>
              <a:off x="4794251" y="4211638"/>
              <a:ext cx="728663" cy="676275"/>
            </a:xfrm>
            <a:custGeom>
              <a:avLst/>
              <a:gdLst>
                <a:gd name="T0" fmla="*/ 206 w 221"/>
                <a:gd name="T1" fmla="*/ 149 h 205"/>
                <a:gd name="T2" fmla="*/ 24 w 221"/>
                <a:gd name="T3" fmla="*/ 149 h 205"/>
                <a:gd name="T4" fmla="*/ 115 w 221"/>
                <a:gd name="T5" fmla="*/ 205 h 205"/>
                <a:gd name="T6" fmla="*/ 146 w 221"/>
                <a:gd name="T7" fmla="*/ 200 h 205"/>
                <a:gd name="T8" fmla="*/ 206 w 221"/>
                <a:gd name="T9" fmla="*/ 149 h 205"/>
                <a:gd name="T10" fmla="*/ 115 w 221"/>
                <a:gd name="T11" fmla="*/ 0 h 205"/>
                <a:gd name="T12" fmla="*/ 84 w 221"/>
                <a:gd name="T13" fmla="*/ 4 h 205"/>
                <a:gd name="T14" fmla="*/ 17 w 221"/>
                <a:gd name="T15" fmla="*/ 133 h 205"/>
                <a:gd name="T16" fmla="*/ 23 w 221"/>
                <a:gd name="T17" fmla="*/ 148 h 205"/>
                <a:gd name="T18" fmla="*/ 207 w 221"/>
                <a:gd name="T19" fmla="*/ 148 h 205"/>
                <a:gd name="T20" fmla="*/ 213 w 221"/>
                <a:gd name="T21" fmla="*/ 72 h 205"/>
                <a:gd name="T22" fmla="*/ 115 w 221"/>
                <a:gd name="T23"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1" h="205">
                  <a:moveTo>
                    <a:pt x="206" y="149"/>
                  </a:moveTo>
                  <a:cubicBezTo>
                    <a:pt x="24" y="149"/>
                    <a:pt x="24" y="149"/>
                    <a:pt x="24" y="149"/>
                  </a:cubicBezTo>
                  <a:cubicBezTo>
                    <a:pt x="41" y="184"/>
                    <a:pt x="77" y="205"/>
                    <a:pt x="115" y="205"/>
                  </a:cubicBezTo>
                  <a:cubicBezTo>
                    <a:pt x="125" y="205"/>
                    <a:pt x="135" y="203"/>
                    <a:pt x="146" y="200"/>
                  </a:cubicBezTo>
                  <a:cubicBezTo>
                    <a:pt x="173" y="192"/>
                    <a:pt x="194" y="173"/>
                    <a:pt x="206" y="149"/>
                  </a:cubicBezTo>
                  <a:moveTo>
                    <a:pt x="115" y="0"/>
                  </a:moveTo>
                  <a:cubicBezTo>
                    <a:pt x="105" y="0"/>
                    <a:pt x="95" y="1"/>
                    <a:pt x="84" y="4"/>
                  </a:cubicBezTo>
                  <a:cubicBezTo>
                    <a:pt x="30" y="21"/>
                    <a:pt x="0" y="79"/>
                    <a:pt x="17" y="133"/>
                  </a:cubicBezTo>
                  <a:cubicBezTo>
                    <a:pt x="19" y="138"/>
                    <a:pt x="21" y="143"/>
                    <a:pt x="23" y="148"/>
                  </a:cubicBezTo>
                  <a:cubicBezTo>
                    <a:pt x="207" y="148"/>
                    <a:pt x="207" y="148"/>
                    <a:pt x="207" y="148"/>
                  </a:cubicBezTo>
                  <a:cubicBezTo>
                    <a:pt x="218" y="125"/>
                    <a:pt x="221" y="98"/>
                    <a:pt x="213" y="72"/>
                  </a:cubicBezTo>
                  <a:cubicBezTo>
                    <a:pt x="199" y="28"/>
                    <a:pt x="159" y="0"/>
                    <a:pt x="115" y="0"/>
                  </a:cubicBezTo>
                </a:path>
              </a:pathLst>
            </a:custGeom>
            <a:solidFill>
              <a:srgbClr val="AAC8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ï$ḷiḍè">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A0C6245A-E9AE-4B65-ABA4-7724A4CFD1FA}"/>
                </a:ext>
              </a:extLst>
            </p:cNvPr>
            <p:cNvSpPr/>
            <p:nvPr/>
          </p:nvSpPr>
          <p:spPr bwMode="auto">
            <a:xfrm>
              <a:off x="4870451" y="4699000"/>
              <a:ext cx="606425" cy="3175"/>
            </a:xfrm>
            <a:custGeom>
              <a:avLst/>
              <a:gdLst>
                <a:gd name="T0" fmla="*/ 184 w 184"/>
                <a:gd name="T1" fmla="*/ 0 h 1"/>
                <a:gd name="T2" fmla="*/ 0 w 184"/>
                <a:gd name="T3" fmla="*/ 0 h 1"/>
                <a:gd name="T4" fmla="*/ 1 w 184"/>
                <a:gd name="T5" fmla="*/ 1 h 1"/>
                <a:gd name="T6" fmla="*/ 183 w 184"/>
                <a:gd name="T7" fmla="*/ 1 h 1"/>
                <a:gd name="T8" fmla="*/ 184 w 184"/>
                <a:gd name="T9" fmla="*/ 0 h 1"/>
              </a:gdLst>
              <a:ahLst/>
              <a:cxnLst>
                <a:cxn ang="0">
                  <a:pos x="T0" y="T1"/>
                </a:cxn>
                <a:cxn ang="0">
                  <a:pos x="T2" y="T3"/>
                </a:cxn>
                <a:cxn ang="0">
                  <a:pos x="T4" y="T5"/>
                </a:cxn>
                <a:cxn ang="0">
                  <a:pos x="T6" y="T7"/>
                </a:cxn>
                <a:cxn ang="0">
                  <a:pos x="T8" y="T9"/>
                </a:cxn>
              </a:cxnLst>
              <a:rect l="0" t="0" r="r" b="b"/>
              <a:pathLst>
                <a:path w="184" h="1">
                  <a:moveTo>
                    <a:pt x="184" y="0"/>
                  </a:moveTo>
                  <a:cubicBezTo>
                    <a:pt x="0" y="0"/>
                    <a:pt x="0" y="0"/>
                    <a:pt x="0" y="0"/>
                  </a:cubicBezTo>
                  <a:cubicBezTo>
                    <a:pt x="0" y="1"/>
                    <a:pt x="0" y="1"/>
                    <a:pt x="1" y="1"/>
                  </a:cubicBezTo>
                  <a:cubicBezTo>
                    <a:pt x="183" y="1"/>
                    <a:pt x="183" y="1"/>
                    <a:pt x="183" y="1"/>
                  </a:cubicBezTo>
                  <a:cubicBezTo>
                    <a:pt x="183" y="1"/>
                    <a:pt x="184" y="1"/>
                    <a:pt x="184" y="0"/>
                  </a:cubicBezTo>
                </a:path>
              </a:pathLst>
            </a:custGeom>
            <a:solidFill>
              <a:srgbClr val="93BA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íŝlid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F5E6F35D-DED5-4438-9D52-AE32047131B0}"/>
                </a:ext>
              </a:extLst>
            </p:cNvPr>
            <p:cNvSpPr/>
            <p:nvPr/>
          </p:nvSpPr>
          <p:spPr bwMode="auto">
            <a:xfrm>
              <a:off x="3860801" y="1406525"/>
              <a:ext cx="725488" cy="474663"/>
            </a:xfrm>
            <a:custGeom>
              <a:avLst/>
              <a:gdLst>
                <a:gd name="T0" fmla="*/ 115 w 220"/>
                <a:gd name="T1" fmla="*/ 0 h 144"/>
                <a:gd name="T2" fmla="*/ 84 w 220"/>
                <a:gd name="T3" fmla="*/ 5 h 144"/>
                <a:gd name="T4" fmla="*/ 17 w 220"/>
                <a:gd name="T5" fmla="*/ 134 h 144"/>
                <a:gd name="T6" fmla="*/ 20 w 220"/>
                <a:gd name="T7" fmla="*/ 144 h 144"/>
                <a:gd name="T8" fmla="*/ 209 w 220"/>
                <a:gd name="T9" fmla="*/ 144 h 144"/>
                <a:gd name="T10" fmla="*/ 212 w 220"/>
                <a:gd name="T11" fmla="*/ 72 h 144"/>
                <a:gd name="T12" fmla="*/ 115 w 220"/>
                <a:gd name="T13" fmla="*/ 0 h 144"/>
              </a:gdLst>
              <a:ahLst/>
              <a:cxnLst>
                <a:cxn ang="0">
                  <a:pos x="T0" y="T1"/>
                </a:cxn>
                <a:cxn ang="0">
                  <a:pos x="T2" y="T3"/>
                </a:cxn>
                <a:cxn ang="0">
                  <a:pos x="T4" y="T5"/>
                </a:cxn>
                <a:cxn ang="0">
                  <a:pos x="T6" y="T7"/>
                </a:cxn>
                <a:cxn ang="0">
                  <a:pos x="T8" y="T9"/>
                </a:cxn>
                <a:cxn ang="0">
                  <a:pos x="T10" y="T11"/>
                </a:cxn>
                <a:cxn ang="0">
                  <a:pos x="T12" y="T13"/>
                </a:cxn>
              </a:cxnLst>
              <a:rect l="0" t="0" r="r" b="b"/>
              <a:pathLst>
                <a:path w="220" h="144">
                  <a:moveTo>
                    <a:pt x="115" y="0"/>
                  </a:moveTo>
                  <a:cubicBezTo>
                    <a:pt x="104" y="0"/>
                    <a:pt x="94" y="2"/>
                    <a:pt x="84" y="5"/>
                  </a:cubicBezTo>
                  <a:cubicBezTo>
                    <a:pt x="30" y="22"/>
                    <a:pt x="0" y="79"/>
                    <a:pt x="17" y="134"/>
                  </a:cubicBezTo>
                  <a:cubicBezTo>
                    <a:pt x="18" y="137"/>
                    <a:pt x="19" y="141"/>
                    <a:pt x="20" y="144"/>
                  </a:cubicBezTo>
                  <a:cubicBezTo>
                    <a:pt x="209" y="144"/>
                    <a:pt x="209" y="144"/>
                    <a:pt x="209" y="144"/>
                  </a:cubicBezTo>
                  <a:cubicBezTo>
                    <a:pt x="218" y="122"/>
                    <a:pt x="220" y="97"/>
                    <a:pt x="212" y="72"/>
                  </a:cubicBezTo>
                  <a:cubicBezTo>
                    <a:pt x="199" y="28"/>
                    <a:pt x="158" y="0"/>
                    <a:pt x="115" y="0"/>
                  </a:cubicBezTo>
                </a:path>
              </a:pathLst>
            </a:custGeom>
            <a:solidFill>
              <a:srgbClr val="AAC8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 name="ïş1îdé">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0546083D-845E-48AB-AC1C-EED6A0E7E898}"/>
                </a:ext>
              </a:extLst>
            </p:cNvPr>
            <p:cNvSpPr/>
            <p:nvPr/>
          </p:nvSpPr>
          <p:spPr bwMode="auto">
            <a:xfrm>
              <a:off x="3927476" y="1881188"/>
              <a:ext cx="622300" cy="119063"/>
            </a:xfrm>
            <a:custGeom>
              <a:avLst/>
              <a:gdLst>
                <a:gd name="T0" fmla="*/ 189 w 189"/>
                <a:gd name="T1" fmla="*/ 0 h 36"/>
                <a:gd name="T2" fmla="*/ 0 w 189"/>
                <a:gd name="T3" fmla="*/ 0 h 36"/>
                <a:gd name="T4" fmla="*/ 27 w 189"/>
                <a:gd name="T5" fmla="*/ 36 h 36"/>
                <a:gd name="T6" fmla="*/ 162 w 189"/>
                <a:gd name="T7" fmla="*/ 36 h 36"/>
                <a:gd name="T8" fmla="*/ 189 w 189"/>
                <a:gd name="T9" fmla="*/ 0 h 36"/>
              </a:gdLst>
              <a:ahLst/>
              <a:cxnLst>
                <a:cxn ang="0">
                  <a:pos x="T0" y="T1"/>
                </a:cxn>
                <a:cxn ang="0">
                  <a:pos x="T2" y="T3"/>
                </a:cxn>
                <a:cxn ang="0">
                  <a:pos x="T4" y="T5"/>
                </a:cxn>
                <a:cxn ang="0">
                  <a:pos x="T6" y="T7"/>
                </a:cxn>
                <a:cxn ang="0">
                  <a:pos x="T8" y="T9"/>
                </a:cxn>
              </a:cxnLst>
              <a:rect l="0" t="0" r="r" b="b"/>
              <a:pathLst>
                <a:path w="189" h="36">
                  <a:moveTo>
                    <a:pt x="189" y="0"/>
                  </a:moveTo>
                  <a:cubicBezTo>
                    <a:pt x="0" y="0"/>
                    <a:pt x="0" y="0"/>
                    <a:pt x="0" y="0"/>
                  </a:cubicBezTo>
                  <a:cubicBezTo>
                    <a:pt x="7" y="14"/>
                    <a:pt x="16" y="26"/>
                    <a:pt x="27" y="36"/>
                  </a:cubicBezTo>
                  <a:cubicBezTo>
                    <a:pt x="162" y="36"/>
                    <a:pt x="162" y="36"/>
                    <a:pt x="162" y="36"/>
                  </a:cubicBezTo>
                  <a:cubicBezTo>
                    <a:pt x="174" y="26"/>
                    <a:pt x="183" y="14"/>
                    <a:pt x="189" y="0"/>
                  </a:cubicBezTo>
                </a:path>
              </a:pathLst>
            </a:custGeom>
            <a:solidFill>
              <a:srgbClr val="A4C5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9" name="íṥḻîḑ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DA684183-DD67-482A-9ADA-B6C0D1EB7867}"/>
                </a:ext>
              </a:extLst>
            </p:cNvPr>
            <p:cNvSpPr/>
            <p:nvPr/>
          </p:nvSpPr>
          <p:spPr bwMode="auto">
            <a:xfrm>
              <a:off x="4016376" y="2000250"/>
              <a:ext cx="444500" cy="85725"/>
            </a:xfrm>
            <a:custGeom>
              <a:avLst/>
              <a:gdLst>
                <a:gd name="T0" fmla="*/ 135 w 135"/>
                <a:gd name="T1" fmla="*/ 0 h 26"/>
                <a:gd name="T2" fmla="*/ 0 w 135"/>
                <a:gd name="T3" fmla="*/ 0 h 26"/>
                <a:gd name="T4" fmla="*/ 67 w 135"/>
                <a:gd name="T5" fmla="*/ 26 h 26"/>
                <a:gd name="T6" fmla="*/ 98 w 135"/>
                <a:gd name="T7" fmla="*/ 21 h 26"/>
                <a:gd name="T8" fmla="*/ 135 w 135"/>
                <a:gd name="T9" fmla="*/ 0 h 26"/>
              </a:gdLst>
              <a:ahLst/>
              <a:cxnLst>
                <a:cxn ang="0">
                  <a:pos x="T0" y="T1"/>
                </a:cxn>
                <a:cxn ang="0">
                  <a:pos x="T2" y="T3"/>
                </a:cxn>
                <a:cxn ang="0">
                  <a:pos x="T4" y="T5"/>
                </a:cxn>
                <a:cxn ang="0">
                  <a:pos x="T6" y="T7"/>
                </a:cxn>
                <a:cxn ang="0">
                  <a:pos x="T8" y="T9"/>
                </a:cxn>
              </a:cxnLst>
              <a:rect l="0" t="0" r="r" b="b"/>
              <a:pathLst>
                <a:path w="135" h="26">
                  <a:moveTo>
                    <a:pt x="135" y="0"/>
                  </a:moveTo>
                  <a:cubicBezTo>
                    <a:pt x="0" y="0"/>
                    <a:pt x="0" y="0"/>
                    <a:pt x="0" y="0"/>
                  </a:cubicBezTo>
                  <a:cubicBezTo>
                    <a:pt x="18" y="16"/>
                    <a:pt x="42" y="26"/>
                    <a:pt x="67" y="26"/>
                  </a:cubicBezTo>
                  <a:cubicBezTo>
                    <a:pt x="78" y="26"/>
                    <a:pt x="88" y="24"/>
                    <a:pt x="98" y="21"/>
                  </a:cubicBezTo>
                  <a:cubicBezTo>
                    <a:pt x="112" y="16"/>
                    <a:pt x="125" y="9"/>
                    <a:pt x="135" y="0"/>
                  </a:cubicBezTo>
                </a:path>
              </a:pathLst>
            </a:custGeom>
            <a:solidFill>
              <a:srgbClr val="AAC8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0" name="ïṡḷíḍè">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DB108E36-7493-4EDB-B683-926A8520BAEA}"/>
                </a:ext>
              </a:extLst>
            </p:cNvPr>
            <p:cNvSpPr/>
            <p:nvPr/>
          </p:nvSpPr>
          <p:spPr bwMode="auto">
            <a:xfrm>
              <a:off x="3860801" y="2343150"/>
              <a:ext cx="755650" cy="674688"/>
            </a:xfrm>
            <a:custGeom>
              <a:avLst/>
              <a:gdLst>
                <a:gd name="T0" fmla="*/ 115 w 229"/>
                <a:gd name="T1" fmla="*/ 0 h 205"/>
                <a:gd name="T2" fmla="*/ 84 w 229"/>
                <a:gd name="T3" fmla="*/ 4 h 205"/>
                <a:gd name="T4" fmla="*/ 17 w 229"/>
                <a:gd name="T5" fmla="*/ 133 h 205"/>
                <a:gd name="T6" fmla="*/ 114 w 229"/>
                <a:gd name="T7" fmla="*/ 205 h 205"/>
                <a:gd name="T8" fmla="*/ 145 w 229"/>
                <a:gd name="T9" fmla="*/ 200 h 205"/>
                <a:gd name="T10" fmla="*/ 212 w 229"/>
                <a:gd name="T11" fmla="*/ 72 h 205"/>
                <a:gd name="T12" fmla="*/ 115 w 229"/>
                <a:gd name="T13" fmla="*/ 0 h 205"/>
              </a:gdLst>
              <a:ahLst/>
              <a:cxnLst>
                <a:cxn ang="0">
                  <a:pos x="T0" y="T1"/>
                </a:cxn>
                <a:cxn ang="0">
                  <a:pos x="T2" y="T3"/>
                </a:cxn>
                <a:cxn ang="0">
                  <a:pos x="T4" y="T5"/>
                </a:cxn>
                <a:cxn ang="0">
                  <a:pos x="T6" y="T7"/>
                </a:cxn>
                <a:cxn ang="0">
                  <a:pos x="T8" y="T9"/>
                </a:cxn>
                <a:cxn ang="0">
                  <a:pos x="T10" y="T11"/>
                </a:cxn>
                <a:cxn ang="0">
                  <a:pos x="T12" y="T13"/>
                </a:cxn>
              </a:cxnLst>
              <a:rect l="0" t="0" r="r" b="b"/>
              <a:pathLst>
                <a:path w="229" h="205">
                  <a:moveTo>
                    <a:pt x="115" y="0"/>
                  </a:moveTo>
                  <a:cubicBezTo>
                    <a:pt x="104" y="0"/>
                    <a:pt x="94" y="1"/>
                    <a:pt x="84" y="4"/>
                  </a:cubicBezTo>
                  <a:cubicBezTo>
                    <a:pt x="30" y="21"/>
                    <a:pt x="0" y="79"/>
                    <a:pt x="17" y="133"/>
                  </a:cubicBezTo>
                  <a:cubicBezTo>
                    <a:pt x="30" y="177"/>
                    <a:pt x="71" y="205"/>
                    <a:pt x="114" y="205"/>
                  </a:cubicBezTo>
                  <a:cubicBezTo>
                    <a:pt x="125" y="205"/>
                    <a:pt x="135" y="204"/>
                    <a:pt x="145" y="200"/>
                  </a:cubicBezTo>
                  <a:cubicBezTo>
                    <a:pt x="199" y="183"/>
                    <a:pt x="229" y="126"/>
                    <a:pt x="212" y="72"/>
                  </a:cubicBezTo>
                  <a:cubicBezTo>
                    <a:pt x="199" y="28"/>
                    <a:pt x="158" y="0"/>
                    <a:pt x="115" y="0"/>
                  </a:cubicBezTo>
                </a:path>
              </a:pathLst>
            </a:custGeom>
            <a:solidFill>
              <a:srgbClr val="AAC8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1" name="ïslîḋ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7DCB8763-F11B-4F78-BA74-B766B0E179B3}"/>
                </a:ext>
              </a:extLst>
            </p:cNvPr>
            <p:cNvSpPr/>
            <p:nvPr/>
          </p:nvSpPr>
          <p:spPr bwMode="auto">
            <a:xfrm>
              <a:off x="3860801" y="3275013"/>
              <a:ext cx="755650" cy="679450"/>
            </a:xfrm>
            <a:custGeom>
              <a:avLst/>
              <a:gdLst>
                <a:gd name="T0" fmla="*/ 115 w 229"/>
                <a:gd name="T1" fmla="*/ 0 h 206"/>
                <a:gd name="T2" fmla="*/ 84 w 229"/>
                <a:gd name="T3" fmla="*/ 5 h 206"/>
                <a:gd name="T4" fmla="*/ 17 w 229"/>
                <a:gd name="T5" fmla="*/ 134 h 206"/>
                <a:gd name="T6" fmla="*/ 114 w 229"/>
                <a:gd name="T7" fmla="*/ 206 h 206"/>
                <a:gd name="T8" fmla="*/ 145 w 229"/>
                <a:gd name="T9" fmla="*/ 201 h 206"/>
                <a:gd name="T10" fmla="*/ 212 w 229"/>
                <a:gd name="T11" fmla="*/ 72 h 206"/>
                <a:gd name="T12" fmla="*/ 115 w 229"/>
                <a:gd name="T13" fmla="*/ 0 h 206"/>
              </a:gdLst>
              <a:ahLst/>
              <a:cxnLst>
                <a:cxn ang="0">
                  <a:pos x="T0" y="T1"/>
                </a:cxn>
                <a:cxn ang="0">
                  <a:pos x="T2" y="T3"/>
                </a:cxn>
                <a:cxn ang="0">
                  <a:pos x="T4" y="T5"/>
                </a:cxn>
                <a:cxn ang="0">
                  <a:pos x="T6" y="T7"/>
                </a:cxn>
                <a:cxn ang="0">
                  <a:pos x="T8" y="T9"/>
                </a:cxn>
                <a:cxn ang="0">
                  <a:pos x="T10" y="T11"/>
                </a:cxn>
                <a:cxn ang="0">
                  <a:pos x="T12" y="T13"/>
                </a:cxn>
              </a:cxnLst>
              <a:rect l="0" t="0" r="r" b="b"/>
              <a:pathLst>
                <a:path w="229" h="206">
                  <a:moveTo>
                    <a:pt x="115" y="0"/>
                  </a:moveTo>
                  <a:cubicBezTo>
                    <a:pt x="104" y="0"/>
                    <a:pt x="94" y="2"/>
                    <a:pt x="84" y="5"/>
                  </a:cubicBezTo>
                  <a:cubicBezTo>
                    <a:pt x="30" y="22"/>
                    <a:pt x="0" y="79"/>
                    <a:pt x="17" y="134"/>
                  </a:cubicBezTo>
                  <a:cubicBezTo>
                    <a:pt x="30" y="177"/>
                    <a:pt x="71" y="206"/>
                    <a:pt x="114" y="206"/>
                  </a:cubicBezTo>
                  <a:cubicBezTo>
                    <a:pt x="125" y="206"/>
                    <a:pt x="135" y="204"/>
                    <a:pt x="145" y="201"/>
                  </a:cubicBezTo>
                  <a:cubicBezTo>
                    <a:pt x="199" y="184"/>
                    <a:pt x="229" y="126"/>
                    <a:pt x="212" y="72"/>
                  </a:cubicBezTo>
                  <a:cubicBezTo>
                    <a:pt x="199" y="28"/>
                    <a:pt x="158" y="0"/>
                    <a:pt x="115" y="0"/>
                  </a:cubicBezTo>
                </a:path>
              </a:pathLst>
            </a:custGeom>
            <a:solidFill>
              <a:srgbClr val="AAC8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2" name="işḷíďé">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A9A1E31C-57E8-4413-943B-72709B522D7B}"/>
                </a:ext>
              </a:extLst>
            </p:cNvPr>
            <p:cNvSpPr/>
            <p:nvPr/>
          </p:nvSpPr>
          <p:spPr bwMode="auto">
            <a:xfrm>
              <a:off x="3860801" y="4211638"/>
              <a:ext cx="755650" cy="676275"/>
            </a:xfrm>
            <a:custGeom>
              <a:avLst/>
              <a:gdLst>
                <a:gd name="T0" fmla="*/ 115 w 229"/>
                <a:gd name="T1" fmla="*/ 0 h 205"/>
                <a:gd name="T2" fmla="*/ 84 w 229"/>
                <a:gd name="T3" fmla="*/ 4 h 205"/>
                <a:gd name="T4" fmla="*/ 17 w 229"/>
                <a:gd name="T5" fmla="*/ 133 h 205"/>
                <a:gd name="T6" fmla="*/ 114 w 229"/>
                <a:gd name="T7" fmla="*/ 205 h 205"/>
                <a:gd name="T8" fmla="*/ 145 w 229"/>
                <a:gd name="T9" fmla="*/ 200 h 205"/>
                <a:gd name="T10" fmla="*/ 212 w 229"/>
                <a:gd name="T11" fmla="*/ 72 h 205"/>
                <a:gd name="T12" fmla="*/ 115 w 229"/>
                <a:gd name="T13" fmla="*/ 0 h 205"/>
              </a:gdLst>
              <a:ahLst/>
              <a:cxnLst>
                <a:cxn ang="0">
                  <a:pos x="T0" y="T1"/>
                </a:cxn>
                <a:cxn ang="0">
                  <a:pos x="T2" y="T3"/>
                </a:cxn>
                <a:cxn ang="0">
                  <a:pos x="T4" y="T5"/>
                </a:cxn>
                <a:cxn ang="0">
                  <a:pos x="T6" y="T7"/>
                </a:cxn>
                <a:cxn ang="0">
                  <a:pos x="T8" y="T9"/>
                </a:cxn>
                <a:cxn ang="0">
                  <a:pos x="T10" y="T11"/>
                </a:cxn>
                <a:cxn ang="0">
                  <a:pos x="T12" y="T13"/>
                </a:cxn>
              </a:cxnLst>
              <a:rect l="0" t="0" r="r" b="b"/>
              <a:pathLst>
                <a:path w="229" h="205">
                  <a:moveTo>
                    <a:pt x="115" y="0"/>
                  </a:moveTo>
                  <a:cubicBezTo>
                    <a:pt x="104" y="0"/>
                    <a:pt x="94" y="1"/>
                    <a:pt x="84" y="4"/>
                  </a:cubicBezTo>
                  <a:cubicBezTo>
                    <a:pt x="30" y="21"/>
                    <a:pt x="0" y="79"/>
                    <a:pt x="17" y="133"/>
                  </a:cubicBezTo>
                  <a:cubicBezTo>
                    <a:pt x="30" y="177"/>
                    <a:pt x="71" y="205"/>
                    <a:pt x="114" y="205"/>
                  </a:cubicBezTo>
                  <a:cubicBezTo>
                    <a:pt x="125" y="205"/>
                    <a:pt x="135" y="203"/>
                    <a:pt x="145" y="200"/>
                  </a:cubicBezTo>
                  <a:cubicBezTo>
                    <a:pt x="199" y="183"/>
                    <a:pt x="229" y="126"/>
                    <a:pt x="212" y="72"/>
                  </a:cubicBezTo>
                  <a:cubicBezTo>
                    <a:pt x="199" y="28"/>
                    <a:pt x="158" y="0"/>
                    <a:pt x="115" y="0"/>
                  </a:cubicBezTo>
                </a:path>
              </a:pathLst>
            </a:custGeom>
            <a:solidFill>
              <a:srgbClr val="AAC8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3" name="ïsľïḋè">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38D15C44-61BD-4893-AD46-B50D0A97B45E}"/>
                </a:ext>
              </a:extLst>
            </p:cNvPr>
            <p:cNvSpPr/>
            <p:nvPr/>
          </p:nvSpPr>
          <p:spPr bwMode="auto">
            <a:xfrm>
              <a:off x="4754563" y="1874838"/>
              <a:ext cx="385763" cy="309563"/>
            </a:xfrm>
            <a:custGeom>
              <a:avLst/>
              <a:gdLst>
                <a:gd name="T0" fmla="*/ 116 w 117"/>
                <a:gd name="T1" fmla="*/ 94 h 94"/>
                <a:gd name="T2" fmla="*/ 0 w 117"/>
                <a:gd name="T3" fmla="*/ 1 h 94"/>
                <a:gd name="T4" fmla="*/ 3 w 117"/>
                <a:gd name="T5" fmla="*/ 0 h 94"/>
                <a:gd name="T6" fmla="*/ 117 w 117"/>
                <a:gd name="T7" fmla="*/ 90 h 94"/>
                <a:gd name="T8" fmla="*/ 116 w 117"/>
                <a:gd name="T9" fmla="*/ 94 h 94"/>
              </a:gdLst>
              <a:ahLst/>
              <a:cxnLst>
                <a:cxn ang="0">
                  <a:pos x="T0" y="T1"/>
                </a:cxn>
                <a:cxn ang="0">
                  <a:pos x="T2" y="T3"/>
                </a:cxn>
                <a:cxn ang="0">
                  <a:pos x="T4" y="T5"/>
                </a:cxn>
                <a:cxn ang="0">
                  <a:pos x="T6" y="T7"/>
                </a:cxn>
                <a:cxn ang="0">
                  <a:pos x="T8" y="T9"/>
                </a:cxn>
              </a:cxnLst>
              <a:rect l="0" t="0" r="r" b="b"/>
              <a:pathLst>
                <a:path w="117" h="94">
                  <a:moveTo>
                    <a:pt x="116" y="94"/>
                  </a:moveTo>
                  <a:cubicBezTo>
                    <a:pt x="62" y="90"/>
                    <a:pt x="16" y="53"/>
                    <a:pt x="0" y="1"/>
                  </a:cubicBezTo>
                  <a:cubicBezTo>
                    <a:pt x="3" y="0"/>
                    <a:pt x="3" y="0"/>
                    <a:pt x="3" y="0"/>
                  </a:cubicBezTo>
                  <a:cubicBezTo>
                    <a:pt x="19" y="50"/>
                    <a:pt x="64" y="86"/>
                    <a:pt x="117" y="90"/>
                  </a:cubicBezTo>
                  <a:lnTo>
                    <a:pt x="116" y="94"/>
                  </a:lnTo>
                  <a:close/>
                </a:path>
              </a:pathLst>
            </a:custGeom>
            <a:solidFill>
              <a:srgbClr val="5592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4" name="iṧļîďé">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64343B1B-35FD-4F08-B3FA-A2FD3AC3AD8C}"/>
                </a:ext>
              </a:extLst>
            </p:cNvPr>
            <p:cNvSpPr/>
            <p:nvPr/>
          </p:nvSpPr>
          <p:spPr bwMode="auto">
            <a:xfrm>
              <a:off x="4751388" y="1298575"/>
              <a:ext cx="565150" cy="325438"/>
            </a:xfrm>
            <a:custGeom>
              <a:avLst/>
              <a:gdLst>
                <a:gd name="T0" fmla="*/ 4 w 171"/>
                <a:gd name="T1" fmla="*/ 99 h 99"/>
                <a:gd name="T2" fmla="*/ 0 w 171"/>
                <a:gd name="T3" fmla="*/ 98 h 99"/>
                <a:gd name="T4" fmla="*/ 88 w 171"/>
                <a:gd name="T5" fmla="*/ 8 h 99"/>
                <a:gd name="T6" fmla="*/ 171 w 171"/>
                <a:gd name="T7" fmla="*/ 10 h 99"/>
                <a:gd name="T8" fmla="*/ 170 w 171"/>
                <a:gd name="T9" fmla="*/ 13 h 99"/>
                <a:gd name="T10" fmla="*/ 89 w 171"/>
                <a:gd name="T11" fmla="*/ 12 h 99"/>
                <a:gd name="T12" fmla="*/ 4 w 171"/>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171" h="99">
                  <a:moveTo>
                    <a:pt x="4" y="99"/>
                  </a:moveTo>
                  <a:cubicBezTo>
                    <a:pt x="0" y="98"/>
                    <a:pt x="0" y="98"/>
                    <a:pt x="0" y="98"/>
                  </a:cubicBezTo>
                  <a:cubicBezTo>
                    <a:pt x="13" y="55"/>
                    <a:pt x="46" y="22"/>
                    <a:pt x="88" y="8"/>
                  </a:cubicBezTo>
                  <a:cubicBezTo>
                    <a:pt x="115" y="0"/>
                    <a:pt x="144" y="0"/>
                    <a:pt x="171" y="10"/>
                  </a:cubicBezTo>
                  <a:cubicBezTo>
                    <a:pt x="170" y="13"/>
                    <a:pt x="170" y="13"/>
                    <a:pt x="170" y="13"/>
                  </a:cubicBezTo>
                  <a:cubicBezTo>
                    <a:pt x="144" y="4"/>
                    <a:pt x="116" y="4"/>
                    <a:pt x="89" y="12"/>
                  </a:cubicBezTo>
                  <a:cubicBezTo>
                    <a:pt x="48" y="25"/>
                    <a:pt x="16" y="58"/>
                    <a:pt x="4" y="99"/>
                  </a:cubicBezTo>
                  <a:close/>
                </a:path>
              </a:pathLst>
            </a:custGeom>
            <a:solidFill>
              <a:srgbClr val="5592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5" name="ïśḷîd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30CEBE0A-0160-4FD3-A8D7-54F96B5496B4}"/>
                </a:ext>
              </a:extLst>
            </p:cNvPr>
            <p:cNvSpPr/>
            <p:nvPr/>
          </p:nvSpPr>
          <p:spPr bwMode="auto">
            <a:xfrm>
              <a:off x="5399088" y="1370013"/>
              <a:ext cx="193675" cy="247650"/>
            </a:xfrm>
            <a:custGeom>
              <a:avLst/>
              <a:gdLst>
                <a:gd name="T0" fmla="*/ 56 w 59"/>
                <a:gd name="T1" fmla="*/ 75 h 75"/>
                <a:gd name="T2" fmla="*/ 0 w 59"/>
                <a:gd name="T3" fmla="*/ 3 h 75"/>
                <a:gd name="T4" fmla="*/ 2 w 59"/>
                <a:gd name="T5" fmla="*/ 0 h 75"/>
                <a:gd name="T6" fmla="*/ 59 w 59"/>
                <a:gd name="T7" fmla="*/ 74 h 75"/>
                <a:gd name="T8" fmla="*/ 56 w 59"/>
                <a:gd name="T9" fmla="*/ 75 h 75"/>
              </a:gdLst>
              <a:ahLst/>
              <a:cxnLst>
                <a:cxn ang="0">
                  <a:pos x="T0" y="T1"/>
                </a:cxn>
                <a:cxn ang="0">
                  <a:pos x="T2" y="T3"/>
                </a:cxn>
                <a:cxn ang="0">
                  <a:pos x="T4" y="T5"/>
                </a:cxn>
                <a:cxn ang="0">
                  <a:pos x="T6" y="T7"/>
                </a:cxn>
                <a:cxn ang="0">
                  <a:pos x="T8" y="T9"/>
                </a:cxn>
              </a:cxnLst>
              <a:rect l="0" t="0" r="r" b="b"/>
              <a:pathLst>
                <a:path w="59" h="75">
                  <a:moveTo>
                    <a:pt x="56" y="75"/>
                  </a:moveTo>
                  <a:cubicBezTo>
                    <a:pt x="46" y="45"/>
                    <a:pt x="26" y="20"/>
                    <a:pt x="0" y="3"/>
                  </a:cubicBezTo>
                  <a:cubicBezTo>
                    <a:pt x="2" y="0"/>
                    <a:pt x="2" y="0"/>
                    <a:pt x="2" y="0"/>
                  </a:cubicBezTo>
                  <a:cubicBezTo>
                    <a:pt x="29" y="17"/>
                    <a:pt x="50" y="43"/>
                    <a:pt x="59" y="74"/>
                  </a:cubicBezTo>
                  <a:lnTo>
                    <a:pt x="56" y="75"/>
                  </a:lnTo>
                  <a:close/>
                </a:path>
              </a:pathLst>
            </a:custGeom>
            <a:solidFill>
              <a:srgbClr val="5592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6" name="îSlïd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F5DDD409-4DC9-404E-A7FC-C02BD418FDC5}"/>
                </a:ext>
              </a:extLst>
            </p:cNvPr>
            <p:cNvSpPr/>
            <p:nvPr/>
          </p:nvSpPr>
          <p:spPr bwMode="auto">
            <a:xfrm>
              <a:off x="5038726" y="1531938"/>
              <a:ext cx="1636713" cy="1662113"/>
            </a:xfrm>
            <a:custGeom>
              <a:avLst/>
              <a:gdLst>
                <a:gd name="T0" fmla="*/ 64 w 496"/>
                <a:gd name="T1" fmla="*/ 346 h 504"/>
                <a:gd name="T2" fmla="*/ 119 w 496"/>
                <a:gd name="T3" fmla="*/ 324 h 504"/>
                <a:gd name="T4" fmla="*/ 95 w 496"/>
                <a:gd name="T5" fmla="*/ 311 h 504"/>
                <a:gd name="T6" fmla="*/ 76 w 496"/>
                <a:gd name="T7" fmla="*/ 261 h 504"/>
                <a:gd name="T8" fmla="*/ 129 w 496"/>
                <a:gd name="T9" fmla="*/ 242 h 504"/>
                <a:gd name="T10" fmla="*/ 105 w 496"/>
                <a:gd name="T11" fmla="*/ 230 h 504"/>
                <a:gd name="T12" fmla="*/ 87 w 496"/>
                <a:gd name="T13" fmla="*/ 179 h 504"/>
                <a:gd name="T14" fmla="*/ 140 w 496"/>
                <a:gd name="T15" fmla="*/ 160 h 504"/>
                <a:gd name="T16" fmla="*/ 26 w 496"/>
                <a:gd name="T17" fmla="*/ 101 h 504"/>
                <a:gd name="T18" fmla="*/ 6 w 496"/>
                <a:gd name="T19" fmla="*/ 54 h 504"/>
                <a:gd name="T20" fmla="*/ 61 w 496"/>
                <a:gd name="T21" fmla="*/ 32 h 504"/>
                <a:gd name="T22" fmla="*/ 301 w 496"/>
                <a:gd name="T23" fmla="*/ 157 h 504"/>
                <a:gd name="T24" fmla="*/ 276 w 496"/>
                <a:gd name="T25" fmla="*/ 56 h 504"/>
                <a:gd name="T26" fmla="*/ 280 w 496"/>
                <a:gd name="T27" fmla="*/ 27 h 504"/>
                <a:gd name="T28" fmla="*/ 304 w 496"/>
                <a:gd name="T29" fmla="*/ 7 h 504"/>
                <a:gd name="T30" fmla="*/ 355 w 496"/>
                <a:gd name="T31" fmla="*/ 31 h 504"/>
                <a:gd name="T32" fmla="*/ 433 w 496"/>
                <a:gd name="T33" fmla="*/ 236 h 504"/>
                <a:gd name="T34" fmla="*/ 470 w 496"/>
                <a:gd name="T35" fmla="*/ 276 h 504"/>
                <a:gd name="T36" fmla="*/ 483 w 496"/>
                <a:gd name="T37" fmla="*/ 284 h 504"/>
                <a:gd name="T38" fmla="*/ 491 w 496"/>
                <a:gd name="T39" fmla="*/ 308 h 504"/>
                <a:gd name="T40" fmla="*/ 395 w 496"/>
                <a:gd name="T41" fmla="*/ 491 h 504"/>
                <a:gd name="T42" fmla="*/ 371 w 496"/>
                <a:gd name="T43" fmla="*/ 499 h 504"/>
                <a:gd name="T44" fmla="*/ 337 w 496"/>
                <a:gd name="T45" fmla="*/ 481 h 504"/>
                <a:gd name="T46" fmla="*/ 296 w 496"/>
                <a:gd name="T47" fmla="*/ 473 h 504"/>
                <a:gd name="T48" fmla="*/ 196 w 496"/>
                <a:gd name="T49" fmla="*/ 451 h 504"/>
                <a:gd name="T50" fmla="*/ 84 w 496"/>
                <a:gd name="T51" fmla="*/ 393 h 504"/>
                <a:gd name="T52" fmla="*/ 64 w 496"/>
                <a:gd name="T53" fmla="*/ 346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96" h="504">
                  <a:moveTo>
                    <a:pt x="64" y="346"/>
                  </a:moveTo>
                  <a:cubicBezTo>
                    <a:pt x="72" y="323"/>
                    <a:pt x="98" y="313"/>
                    <a:pt x="119" y="324"/>
                  </a:cubicBezTo>
                  <a:cubicBezTo>
                    <a:pt x="95" y="311"/>
                    <a:pt x="95" y="311"/>
                    <a:pt x="95" y="311"/>
                  </a:cubicBezTo>
                  <a:cubicBezTo>
                    <a:pt x="77" y="302"/>
                    <a:pt x="68" y="280"/>
                    <a:pt x="76" y="261"/>
                  </a:cubicBezTo>
                  <a:cubicBezTo>
                    <a:pt x="85" y="240"/>
                    <a:pt x="110" y="232"/>
                    <a:pt x="129" y="242"/>
                  </a:cubicBezTo>
                  <a:cubicBezTo>
                    <a:pt x="105" y="230"/>
                    <a:pt x="105" y="230"/>
                    <a:pt x="105" y="230"/>
                  </a:cubicBezTo>
                  <a:cubicBezTo>
                    <a:pt x="87" y="220"/>
                    <a:pt x="78" y="198"/>
                    <a:pt x="87" y="179"/>
                  </a:cubicBezTo>
                  <a:cubicBezTo>
                    <a:pt x="96" y="158"/>
                    <a:pt x="120" y="150"/>
                    <a:pt x="140" y="160"/>
                  </a:cubicBezTo>
                  <a:cubicBezTo>
                    <a:pt x="26" y="101"/>
                    <a:pt x="26" y="101"/>
                    <a:pt x="26" y="101"/>
                  </a:cubicBezTo>
                  <a:cubicBezTo>
                    <a:pt x="9" y="92"/>
                    <a:pt x="0" y="72"/>
                    <a:pt x="6" y="54"/>
                  </a:cubicBezTo>
                  <a:cubicBezTo>
                    <a:pt x="14" y="31"/>
                    <a:pt x="40" y="21"/>
                    <a:pt x="61" y="32"/>
                  </a:cubicBezTo>
                  <a:cubicBezTo>
                    <a:pt x="301" y="157"/>
                    <a:pt x="301" y="157"/>
                    <a:pt x="301" y="157"/>
                  </a:cubicBezTo>
                  <a:cubicBezTo>
                    <a:pt x="276" y="56"/>
                    <a:pt x="276" y="56"/>
                    <a:pt x="276" y="56"/>
                  </a:cubicBezTo>
                  <a:cubicBezTo>
                    <a:pt x="274" y="46"/>
                    <a:pt x="275" y="36"/>
                    <a:pt x="280" y="27"/>
                  </a:cubicBezTo>
                  <a:cubicBezTo>
                    <a:pt x="285" y="18"/>
                    <a:pt x="293" y="10"/>
                    <a:pt x="304" y="7"/>
                  </a:cubicBezTo>
                  <a:cubicBezTo>
                    <a:pt x="325" y="0"/>
                    <a:pt x="347" y="11"/>
                    <a:pt x="355" y="31"/>
                  </a:cubicBezTo>
                  <a:cubicBezTo>
                    <a:pt x="433" y="236"/>
                    <a:pt x="433" y="236"/>
                    <a:pt x="433" y="236"/>
                  </a:cubicBezTo>
                  <a:cubicBezTo>
                    <a:pt x="440" y="253"/>
                    <a:pt x="453" y="268"/>
                    <a:pt x="470" y="276"/>
                  </a:cubicBezTo>
                  <a:cubicBezTo>
                    <a:pt x="483" y="284"/>
                    <a:pt x="483" y="284"/>
                    <a:pt x="483" y="284"/>
                  </a:cubicBezTo>
                  <a:cubicBezTo>
                    <a:pt x="492" y="288"/>
                    <a:pt x="496" y="299"/>
                    <a:pt x="491" y="308"/>
                  </a:cubicBezTo>
                  <a:cubicBezTo>
                    <a:pt x="395" y="491"/>
                    <a:pt x="395" y="491"/>
                    <a:pt x="395" y="491"/>
                  </a:cubicBezTo>
                  <a:cubicBezTo>
                    <a:pt x="390" y="500"/>
                    <a:pt x="379" y="504"/>
                    <a:pt x="371" y="499"/>
                  </a:cubicBezTo>
                  <a:cubicBezTo>
                    <a:pt x="337" y="481"/>
                    <a:pt x="337" y="481"/>
                    <a:pt x="337" y="481"/>
                  </a:cubicBezTo>
                  <a:cubicBezTo>
                    <a:pt x="324" y="475"/>
                    <a:pt x="310" y="472"/>
                    <a:pt x="296" y="473"/>
                  </a:cubicBezTo>
                  <a:cubicBezTo>
                    <a:pt x="261" y="475"/>
                    <a:pt x="227" y="467"/>
                    <a:pt x="196" y="451"/>
                  </a:cubicBezTo>
                  <a:cubicBezTo>
                    <a:pt x="84" y="393"/>
                    <a:pt x="84" y="393"/>
                    <a:pt x="84" y="393"/>
                  </a:cubicBezTo>
                  <a:cubicBezTo>
                    <a:pt x="67" y="384"/>
                    <a:pt x="58" y="364"/>
                    <a:pt x="64" y="346"/>
                  </a:cubicBez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 name="ïśļïḑe">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4C81C5AE-B696-4E6B-95AD-A561B5D706E2}"/>
                </a:ext>
              </a:extLst>
            </p:cNvPr>
            <p:cNvSpPr/>
            <p:nvPr/>
          </p:nvSpPr>
          <p:spPr bwMode="auto">
            <a:xfrm>
              <a:off x="5019676" y="1512888"/>
              <a:ext cx="1674813" cy="1690688"/>
            </a:xfrm>
            <a:custGeom>
              <a:avLst/>
              <a:gdLst>
                <a:gd name="T0" fmla="*/ 374 w 508"/>
                <a:gd name="T1" fmla="*/ 510 h 513"/>
                <a:gd name="T2" fmla="*/ 302 w 508"/>
                <a:gd name="T3" fmla="*/ 485 h 513"/>
                <a:gd name="T4" fmla="*/ 87 w 508"/>
                <a:gd name="T5" fmla="*/ 404 h 513"/>
                <a:gd name="T6" fmla="*/ 90 w 508"/>
                <a:gd name="T7" fmla="*/ 323 h 513"/>
                <a:gd name="T8" fmla="*/ 76 w 508"/>
                <a:gd name="T9" fmla="*/ 264 h 513"/>
                <a:gd name="T10" fmla="*/ 106 w 508"/>
                <a:gd name="T11" fmla="*/ 239 h 513"/>
                <a:gd name="T12" fmla="*/ 113 w 508"/>
                <a:gd name="T13" fmla="*/ 159 h 513"/>
                <a:gd name="T14" fmla="*/ 29 w 508"/>
                <a:gd name="T15" fmla="*/ 112 h 513"/>
                <a:gd name="T16" fmla="*/ 32 w 508"/>
                <a:gd name="T17" fmla="*/ 31 h 513"/>
                <a:gd name="T18" fmla="*/ 298 w 508"/>
                <a:gd name="T19" fmla="*/ 152 h 513"/>
                <a:gd name="T20" fmla="*/ 280 w 508"/>
                <a:gd name="T21" fmla="*/ 30 h 513"/>
                <a:gd name="T22" fmla="*/ 366 w 508"/>
                <a:gd name="T23" fmla="*/ 35 h 513"/>
                <a:gd name="T24" fmla="*/ 478 w 508"/>
                <a:gd name="T25" fmla="*/ 277 h 513"/>
                <a:gd name="T26" fmla="*/ 502 w 508"/>
                <a:gd name="T27" fmla="*/ 317 h 513"/>
                <a:gd name="T28" fmla="*/ 385 w 508"/>
                <a:gd name="T29" fmla="*/ 513 h 513"/>
                <a:gd name="T30" fmla="*/ 346 w 508"/>
                <a:gd name="T31" fmla="*/ 482 h 513"/>
                <a:gd name="T32" fmla="*/ 389 w 508"/>
                <a:gd name="T33" fmla="*/ 501 h 513"/>
                <a:gd name="T34" fmla="*/ 492 w 508"/>
                <a:gd name="T35" fmla="*/ 311 h 513"/>
                <a:gd name="T36" fmla="*/ 473 w 508"/>
                <a:gd name="T37" fmla="*/ 288 h 513"/>
                <a:gd name="T38" fmla="*/ 355 w 508"/>
                <a:gd name="T39" fmla="*/ 40 h 513"/>
                <a:gd name="T40" fmla="*/ 291 w 508"/>
                <a:gd name="T41" fmla="*/ 36 h 513"/>
                <a:gd name="T42" fmla="*/ 313 w 508"/>
                <a:gd name="T43" fmla="*/ 162 h 513"/>
                <a:gd name="T44" fmla="*/ 304 w 508"/>
                <a:gd name="T45" fmla="*/ 168 h 513"/>
                <a:gd name="T46" fmla="*/ 37 w 508"/>
                <a:gd name="T47" fmla="*/ 42 h 513"/>
                <a:gd name="T48" fmla="*/ 35 w 508"/>
                <a:gd name="T49" fmla="*/ 101 h 513"/>
                <a:gd name="T50" fmla="*/ 151 w 508"/>
                <a:gd name="T51" fmla="*/ 169 h 513"/>
                <a:gd name="T52" fmla="*/ 117 w 508"/>
                <a:gd name="T53" fmla="*/ 170 h 513"/>
                <a:gd name="T54" fmla="*/ 114 w 508"/>
                <a:gd name="T55" fmla="*/ 230 h 513"/>
                <a:gd name="T56" fmla="*/ 141 w 508"/>
                <a:gd name="T57" fmla="*/ 251 h 513"/>
                <a:gd name="T58" fmla="*/ 133 w 508"/>
                <a:gd name="T59" fmla="*/ 253 h 513"/>
                <a:gd name="T60" fmla="*/ 87 w 508"/>
                <a:gd name="T61" fmla="*/ 269 h 513"/>
                <a:gd name="T62" fmla="*/ 127 w 508"/>
                <a:gd name="T63" fmla="*/ 324 h 513"/>
                <a:gd name="T64" fmla="*/ 130 w 508"/>
                <a:gd name="T65" fmla="*/ 332 h 513"/>
                <a:gd name="T66" fmla="*/ 122 w 508"/>
                <a:gd name="T67" fmla="*/ 335 h 513"/>
                <a:gd name="T68" fmla="*/ 76 w 508"/>
                <a:gd name="T69" fmla="*/ 354 h 513"/>
                <a:gd name="T70" fmla="*/ 205 w 508"/>
                <a:gd name="T71" fmla="*/ 452 h 513"/>
                <a:gd name="T72" fmla="*/ 306 w 508"/>
                <a:gd name="T73" fmla="*/ 473 h 513"/>
                <a:gd name="T74" fmla="*/ 70 w 508"/>
                <a:gd name="T75" fmla="*/ 352 h 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8" h="513">
                  <a:moveTo>
                    <a:pt x="385" y="513"/>
                  </a:moveTo>
                  <a:cubicBezTo>
                    <a:pt x="381" y="513"/>
                    <a:pt x="377" y="512"/>
                    <a:pt x="374" y="510"/>
                  </a:cubicBezTo>
                  <a:cubicBezTo>
                    <a:pt x="340" y="493"/>
                    <a:pt x="340" y="493"/>
                    <a:pt x="340" y="493"/>
                  </a:cubicBezTo>
                  <a:cubicBezTo>
                    <a:pt x="329" y="487"/>
                    <a:pt x="316" y="484"/>
                    <a:pt x="302" y="485"/>
                  </a:cubicBezTo>
                  <a:cubicBezTo>
                    <a:pt x="266" y="487"/>
                    <a:pt x="231" y="479"/>
                    <a:pt x="199" y="463"/>
                  </a:cubicBezTo>
                  <a:cubicBezTo>
                    <a:pt x="87" y="404"/>
                    <a:pt x="87" y="404"/>
                    <a:pt x="87" y="404"/>
                  </a:cubicBezTo>
                  <a:cubicBezTo>
                    <a:pt x="67" y="394"/>
                    <a:pt x="57" y="370"/>
                    <a:pt x="64" y="350"/>
                  </a:cubicBezTo>
                  <a:cubicBezTo>
                    <a:pt x="69" y="337"/>
                    <a:pt x="78" y="327"/>
                    <a:pt x="90" y="323"/>
                  </a:cubicBezTo>
                  <a:cubicBezTo>
                    <a:pt x="92" y="322"/>
                    <a:pt x="93" y="321"/>
                    <a:pt x="95" y="321"/>
                  </a:cubicBezTo>
                  <a:cubicBezTo>
                    <a:pt x="76" y="309"/>
                    <a:pt x="68" y="285"/>
                    <a:pt x="76" y="264"/>
                  </a:cubicBezTo>
                  <a:cubicBezTo>
                    <a:pt x="81" y="253"/>
                    <a:pt x="91" y="244"/>
                    <a:pt x="103" y="240"/>
                  </a:cubicBezTo>
                  <a:cubicBezTo>
                    <a:pt x="104" y="240"/>
                    <a:pt x="105" y="239"/>
                    <a:pt x="106" y="239"/>
                  </a:cubicBezTo>
                  <a:cubicBezTo>
                    <a:pt x="86" y="227"/>
                    <a:pt x="78" y="203"/>
                    <a:pt x="87" y="183"/>
                  </a:cubicBezTo>
                  <a:cubicBezTo>
                    <a:pt x="92" y="171"/>
                    <a:pt x="101" y="163"/>
                    <a:pt x="113" y="159"/>
                  </a:cubicBezTo>
                  <a:cubicBezTo>
                    <a:pt x="114" y="158"/>
                    <a:pt x="115" y="158"/>
                    <a:pt x="116" y="158"/>
                  </a:cubicBezTo>
                  <a:cubicBezTo>
                    <a:pt x="29" y="112"/>
                    <a:pt x="29" y="112"/>
                    <a:pt x="29" y="112"/>
                  </a:cubicBezTo>
                  <a:cubicBezTo>
                    <a:pt x="9" y="102"/>
                    <a:pt x="0" y="78"/>
                    <a:pt x="7" y="58"/>
                  </a:cubicBezTo>
                  <a:cubicBezTo>
                    <a:pt x="11" y="45"/>
                    <a:pt x="20" y="35"/>
                    <a:pt x="32" y="31"/>
                  </a:cubicBezTo>
                  <a:cubicBezTo>
                    <a:pt x="44" y="26"/>
                    <a:pt x="58" y="26"/>
                    <a:pt x="70" y="32"/>
                  </a:cubicBezTo>
                  <a:cubicBezTo>
                    <a:pt x="298" y="152"/>
                    <a:pt x="298" y="152"/>
                    <a:pt x="298" y="152"/>
                  </a:cubicBezTo>
                  <a:cubicBezTo>
                    <a:pt x="276" y="63"/>
                    <a:pt x="276" y="63"/>
                    <a:pt x="276" y="63"/>
                  </a:cubicBezTo>
                  <a:cubicBezTo>
                    <a:pt x="274" y="52"/>
                    <a:pt x="275" y="41"/>
                    <a:pt x="280" y="30"/>
                  </a:cubicBezTo>
                  <a:cubicBezTo>
                    <a:pt x="286" y="19"/>
                    <a:pt x="296" y="11"/>
                    <a:pt x="308" y="7"/>
                  </a:cubicBezTo>
                  <a:cubicBezTo>
                    <a:pt x="332" y="0"/>
                    <a:pt x="357" y="12"/>
                    <a:pt x="366" y="35"/>
                  </a:cubicBezTo>
                  <a:cubicBezTo>
                    <a:pt x="445" y="240"/>
                    <a:pt x="445" y="240"/>
                    <a:pt x="445" y="240"/>
                  </a:cubicBezTo>
                  <a:cubicBezTo>
                    <a:pt x="451" y="256"/>
                    <a:pt x="463" y="269"/>
                    <a:pt x="478" y="277"/>
                  </a:cubicBezTo>
                  <a:cubicBezTo>
                    <a:pt x="492" y="284"/>
                    <a:pt x="492" y="284"/>
                    <a:pt x="492" y="284"/>
                  </a:cubicBezTo>
                  <a:cubicBezTo>
                    <a:pt x="504" y="290"/>
                    <a:pt x="508" y="305"/>
                    <a:pt x="502" y="317"/>
                  </a:cubicBezTo>
                  <a:cubicBezTo>
                    <a:pt x="406" y="500"/>
                    <a:pt x="406" y="500"/>
                    <a:pt x="406" y="500"/>
                  </a:cubicBezTo>
                  <a:cubicBezTo>
                    <a:pt x="402" y="508"/>
                    <a:pt x="394" y="513"/>
                    <a:pt x="385" y="513"/>
                  </a:cubicBezTo>
                  <a:close/>
                  <a:moveTo>
                    <a:pt x="306" y="473"/>
                  </a:moveTo>
                  <a:cubicBezTo>
                    <a:pt x="320" y="473"/>
                    <a:pt x="334" y="476"/>
                    <a:pt x="346" y="482"/>
                  </a:cubicBezTo>
                  <a:cubicBezTo>
                    <a:pt x="379" y="500"/>
                    <a:pt x="379" y="500"/>
                    <a:pt x="379" y="500"/>
                  </a:cubicBezTo>
                  <a:cubicBezTo>
                    <a:pt x="382" y="501"/>
                    <a:pt x="386" y="502"/>
                    <a:pt x="389" y="501"/>
                  </a:cubicBezTo>
                  <a:cubicBezTo>
                    <a:pt x="392" y="500"/>
                    <a:pt x="394" y="497"/>
                    <a:pt x="396" y="495"/>
                  </a:cubicBezTo>
                  <a:cubicBezTo>
                    <a:pt x="492" y="311"/>
                    <a:pt x="492" y="311"/>
                    <a:pt x="492" y="311"/>
                  </a:cubicBezTo>
                  <a:cubicBezTo>
                    <a:pt x="495" y="305"/>
                    <a:pt x="492" y="298"/>
                    <a:pt x="486" y="295"/>
                  </a:cubicBezTo>
                  <a:cubicBezTo>
                    <a:pt x="473" y="288"/>
                    <a:pt x="473" y="288"/>
                    <a:pt x="473" y="288"/>
                  </a:cubicBezTo>
                  <a:cubicBezTo>
                    <a:pt x="455" y="278"/>
                    <a:pt x="441" y="263"/>
                    <a:pt x="434" y="244"/>
                  </a:cubicBezTo>
                  <a:cubicBezTo>
                    <a:pt x="355" y="40"/>
                    <a:pt x="355" y="40"/>
                    <a:pt x="355" y="40"/>
                  </a:cubicBezTo>
                  <a:cubicBezTo>
                    <a:pt x="348" y="22"/>
                    <a:pt x="329" y="13"/>
                    <a:pt x="312" y="19"/>
                  </a:cubicBezTo>
                  <a:cubicBezTo>
                    <a:pt x="303" y="21"/>
                    <a:pt x="295" y="28"/>
                    <a:pt x="291" y="36"/>
                  </a:cubicBezTo>
                  <a:cubicBezTo>
                    <a:pt x="287" y="43"/>
                    <a:pt x="286" y="52"/>
                    <a:pt x="288" y="61"/>
                  </a:cubicBezTo>
                  <a:cubicBezTo>
                    <a:pt x="313" y="162"/>
                    <a:pt x="313" y="162"/>
                    <a:pt x="313" y="162"/>
                  </a:cubicBezTo>
                  <a:cubicBezTo>
                    <a:pt x="313" y="164"/>
                    <a:pt x="312" y="166"/>
                    <a:pt x="311" y="168"/>
                  </a:cubicBezTo>
                  <a:cubicBezTo>
                    <a:pt x="309" y="169"/>
                    <a:pt x="306" y="170"/>
                    <a:pt x="304" y="168"/>
                  </a:cubicBezTo>
                  <a:cubicBezTo>
                    <a:pt x="64" y="43"/>
                    <a:pt x="64" y="43"/>
                    <a:pt x="64" y="43"/>
                  </a:cubicBezTo>
                  <a:cubicBezTo>
                    <a:pt x="56" y="39"/>
                    <a:pt x="46" y="38"/>
                    <a:pt x="37" y="42"/>
                  </a:cubicBezTo>
                  <a:cubicBezTo>
                    <a:pt x="28" y="45"/>
                    <a:pt x="21" y="52"/>
                    <a:pt x="18" y="62"/>
                  </a:cubicBezTo>
                  <a:cubicBezTo>
                    <a:pt x="13" y="77"/>
                    <a:pt x="20" y="94"/>
                    <a:pt x="35" y="101"/>
                  </a:cubicBezTo>
                  <a:cubicBezTo>
                    <a:pt x="149" y="161"/>
                    <a:pt x="149" y="161"/>
                    <a:pt x="149" y="161"/>
                  </a:cubicBezTo>
                  <a:cubicBezTo>
                    <a:pt x="152" y="163"/>
                    <a:pt x="153" y="166"/>
                    <a:pt x="151" y="169"/>
                  </a:cubicBezTo>
                  <a:cubicBezTo>
                    <a:pt x="150" y="172"/>
                    <a:pt x="146" y="173"/>
                    <a:pt x="143" y="172"/>
                  </a:cubicBezTo>
                  <a:cubicBezTo>
                    <a:pt x="135" y="167"/>
                    <a:pt x="126" y="167"/>
                    <a:pt x="117" y="170"/>
                  </a:cubicBezTo>
                  <a:cubicBezTo>
                    <a:pt x="109" y="173"/>
                    <a:pt x="102" y="179"/>
                    <a:pt x="98" y="188"/>
                  </a:cubicBezTo>
                  <a:cubicBezTo>
                    <a:pt x="91" y="203"/>
                    <a:pt x="98" y="222"/>
                    <a:pt x="114" y="230"/>
                  </a:cubicBezTo>
                  <a:cubicBezTo>
                    <a:pt x="138" y="243"/>
                    <a:pt x="138" y="243"/>
                    <a:pt x="138" y="243"/>
                  </a:cubicBezTo>
                  <a:cubicBezTo>
                    <a:pt x="141" y="244"/>
                    <a:pt x="142" y="248"/>
                    <a:pt x="141" y="251"/>
                  </a:cubicBezTo>
                  <a:cubicBezTo>
                    <a:pt x="139" y="254"/>
                    <a:pt x="135" y="255"/>
                    <a:pt x="133" y="253"/>
                  </a:cubicBezTo>
                  <a:cubicBezTo>
                    <a:pt x="133" y="253"/>
                    <a:pt x="133" y="253"/>
                    <a:pt x="133" y="253"/>
                  </a:cubicBezTo>
                  <a:cubicBezTo>
                    <a:pt x="125" y="249"/>
                    <a:pt x="115" y="248"/>
                    <a:pt x="107" y="251"/>
                  </a:cubicBezTo>
                  <a:cubicBezTo>
                    <a:pt x="98" y="255"/>
                    <a:pt x="91" y="261"/>
                    <a:pt x="87" y="269"/>
                  </a:cubicBezTo>
                  <a:cubicBezTo>
                    <a:pt x="81" y="285"/>
                    <a:pt x="88" y="304"/>
                    <a:pt x="104" y="312"/>
                  </a:cubicBezTo>
                  <a:cubicBezTo>
                    <a:pt x="127" y="324"/>
                    <a:pt x="127" y="324"/>
                    <a:pt x="127" y="324"/>
                  </a:cubicBezTo>
                  <a:cubicBezTo>
                    <a:pt x="127" y="324"/>
                    <a:pt x="127" y="324"/>
                    <a:pt x="127" y="324"/>
                  </a:cubicBezTo>
                  <a:cubicBezTo>
                    <a:pt x="130" y="326"/>
                    <a:pt x="131" y="329"/>
                    <a:pt x="130" y="332"/>
                  </a:cubicBezTo>
                  <a:cubicBezTo>
                    <a:pt x="128" y="335"/>
                    <a:pt x="125" y="336"/>
                    <a:pt x="122" y="335"/>
                  </a:cubicBezTo>
                  <a:cubicBezTo>
                    <a:pt x="122" y="335"/>
                    <a:pt x="122" y="335"/>
                    <a:pt x="122" y="335"/>
                  </a:cubicBezTo>
                  <a:cubicBezTo>
                    <a:pt x="113" y="331"/>
                    <a:pt x="103" y="330"/>
                    <a:pt x="95" y="334"/>
                  </a:cubicBezTo>
                  <a:cubicBezTo>
                    <a:pt x="86" y="337"/>
                    <a:pt x="79" y="344"/>
                    <a:pt x="76" y="354"/>
                  </a:cubicBezTo>
                  <a:cubicBezTo>
                    <a:pt x="71" y="369"/>
                    <a:pt x="78" y="386"/>
                    <a:pt x="93" y="393"/>
                  </a:cubicBezTo>
                  <a:cubicBezTo>
                    <a:pt x="205" y="452"/>
                    <a:pt x="205" y="452"/>
                    <a:pt x="205" y="452"/>
                  </a:cubicBezTo>
                  <a:cubicBezTo>
                    <a:pt x="234" y="468"/>
                    <a:pt x="268" y="475"/>
                    <a:pt x="301" y="473"/>
                  </a:cubicBezTo>
                  <a:cubicBezTo>
                    <a:pt x="303" y="473"/>
                    <a:pt x="305" y="473"/>
                    <a:pt x="306" y="473"/>
                  </a:cubicBezTo>
                  <a:close/>
                  <a:moveTo>
                    <a:pt x="70" y="352"/>
                  </a:moveTo>
                  <a:cubicBezTo>
                    <a:pt x="70" y="352"/>
                    <a:pt x="70" y="352"/>
                    <a:pt x="70" y="352"/>
                  </a:cubicBezTo>
                  <a:close/>
                </a:path>
              </a:pathLst>
            </a:custGeom>
            <a:solidFill>
              <a:srgbClr val="0053C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8" name="işḷíḓè">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2003C87E-0233-4C52-82EE-075F7A104318}"/>
                </a:ext>
              </a:extLst>
            </p:cNvPr>
            <p:cNvSpPr/>
            <p:nvPr/>
          </p:nvSpPr>
          <p:spPr bwMode="auto">
            <a:xfrm>
              <a:off x="5408613" y="2576513"/>
              <a:ext cx="141288" cy="92075"/>
            </a:xfrm>
            <a:custGeom>
              <a:avLst/>
              <a:gdLst>
                <a:gd name="T0" fmla="*/ 37 w 43"/>
                <a:gd name="T1" fmla="*/ 28 h 28"/>
                <a:gd name="T2" fmla="*/ 34 w 43"/>
                <a:gd name="T3" fmla="*/ 28 h 28"/>
                <a:gd name="T4" fmla="*/ 4 w 43"/>
                <a:gd name="T5" fmla="*/ 12 h 28"/>
                <a:gd name="T6" fmla="*/ 1 w 43"/>
                <a:gd name="T7" fmla="*/ 4 h 28"/>
                <a:gd name="T8" fmla="*/ 9 w 43"/>
                <a:gd name="T9" fmla="*/ 1 h 28"/>
                <a:gd name="T10" fmla="*/ 39 w 43"/>
                <a:gd name="T11" fmla="*/ 17 h 28"/>
                <a:gd name="T12" fmla="*/ 42 w 43"/>
                <a:gd name="T13" fmla="*/ 25 h 28"/>
                <a:gd name="T14" fmla="*/ 37 w 43"/>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8">
                  <a:moveTo>
                    <a:pt x="37" y="28"/>
                  </a:moveTo>
                  <a:cubicBezTo>
                    <a:pt x="36" y="28"/>
                    <a:pt x="35" y="28"/>
                    <a:pt x="34" y="28"/>
                  </a:cubicBezTo>
                  <a:cubicBezTo>
                    <a:pt x="4" y="12"/>
                    <a:pt x="4" y="12"/>
                    <a:pt x="4" y="12"/>
                  </a:cubicBezTo>
                  <a:cubicBezTo>
                    <a:pt x="1" y="10"/>
                    <a:pt x="0" y="7"/>
                    <a:pt x="1" y="4"/>
                  </a:cubicBezTo>
                  <a:cubicBezTo>
                    <a:pt x="3" y="1"/>
                    <a:pt x="6" y="0"/>
                    <a:pt x="9" y="1"/>
                  </a:cubicBezTo>
                  <a:cubicBezTo>
                    <a:pt x="39" y="17"/>
                    <a:pt x="39" y="17"/>
                    <a:pt x="39" y="17"/>
                  </a:cubicBezTo>
                  <a:cubicBezTo>
                    <a:pt x="42" y="18"/>
                    <a:pt x="43" y="22"/>
                    <a:pt x="42" y="25"/>
                  </a:cubicBezTo>
                  <a:cubicBezTo>
                    <a:pt x="41" y="27"/>
                    <a:pt x="39" y="28"/>
                    <a:pt x="37" y="28"/>
                  </a:cubicBezTo>
                  <a:close/>
                </a:path>
              </a:pathLst>
            </a:custGeom>
            <a:solidFill>
              <a:srgbClr val="0053C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 name="îs1íḋé">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E0B5D4C0-6A52-407C-ABE1-A2E5FFB93528}"/>
                </a:ext>
              </a:extLst>
            </p:cNvPr>
            <p:cNvSpPr/>
            <p:nvPr/>
          </p:nvSpPr>
          <p:spPr bwMode="auto">
            <a:xfrm>
              <a:off x="5441951" y="2306638"/>
              <a:ext cx="144463" cy="95250"/>
            </a:xfrm>
            <a:custGeom>
              <a:avLst/>
              <a:gdLst>
                <a:gd name="T0" fmla="*/ 37 w 44"/>
                <a:gd name="T1" fmla="*/ 29 h 29"/>
                <a:gd name="T2" fmla="*/ 34 w 44"/>
                <a:gd name="T3" fmla="*/ 28 h 29"/>
                <a:gd name="T4" fmla="*/ 5 w 44"/>
                <a:gd name="T5" fmla="*/ 12 h 29"/>
                <a:gd name="T6" fmla="*/ 2 w 44"/>
                <a:gd name="T7" fmla="*/ 4 h 29"/>
                <a:gd name="T8" fmla="*/ 10 w 44"/>
                <a:gd name="T9" fmla="*/ 2 h 29"/>
                <a:gd name="T10" fmla="*/ 40 w 44"/>
                <a:gd name="T11" fmla="*/ 17 h 29"/>
                <a:gd name="T12" fmla="*/ 43 w 44"/>
                <a:gd name="T13" fmla="*/ 25 h 29"/>
                <a:gd name="T14" fmla="*/ 37 w 44"/>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29">
                  <a:moveTo>
                    <a:pt x="37" y="29"/>
                  </a:moveTo>
                  <a:cubicBezTo>
                    <a:pt x="36" y="29"/>
                    <a:pt x="35" y="28"/>
                    <a:pt x="34" y="28"/>
                  </a:cubicBezTo>
                  <a:cubicBezTo>
                    <a:pt x="5" y="12"/>
                    <a:pt x="5" y="12"/>
                    <a:pt x="5" y="12"/>
                  </a:cubicBezTo>
                  <a:cubicBezTo>
                    <a:pt x="2" y="11"/>
                    <a:pt x="0" y="7"/>
                    <a:pt x="2" y="4"/>
                  </a:cubicBezTo>
                  <a:cubicBezTo>
                    <a:pt x="4" y="1"/>
                    <a:pt x="7" y="0"/>
                    <a:pt x="10" y="2"/>
                  </a:cubicBezTo>
                  <a:cubicBezTo>
                    <a:pt x="40" y="17"/>
                    <a:pt x="40" y="17"/>
                    <a:pt x="40" y="17"/>
                  </a:cubicBezTo>
                  <a:cubicBezTo>
                    <a:pt x="43" y="19"/>
                    <a:pt x="44" y="22"/>
                    <a:pt x="43" y="25"/>
                  </a:cubicBezTo>
                  <a:cubicBezTo>
                    <a:pt x="41" y="27"/>
                    <a:pt x="39" y="29"/>
                    <a:pt x="37" y="29"/>
                  </a:cubicBezTo>
                  <a:close/>
                </a:path>
              </a:pathLst>
            </a:custGeom>
            <a:solidFill>
              <a:srgbClr val="0053C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 name="î$1îďê">
              <a:extLst>
                <a:ext uri="{FF2B5EF4-FFF2-40B4-BE49-F238E27FC236}">
                  <a16:creationId xmlns:a14="http://schemas.microsoft.com/office/drawing/2010/main" xmlns:p14="http://schemas.microsoft.com/office/powerpoint/2010/main" xmlns:a16="http://schemas.microsoft.com/office/drawing/2014/main" xmlns:lc="http://schemas.openxmlformats.org/drawingml/2006/lockedCanvas" xmlns="" id="{BF70AF8D-7022-416B-A1C7-6879AD20DCC7}"/>
                </a:ext>
              </a:extLst>
            </p:cNvPr>
            <p:cNvSpPr/>
            <p:nvPr/>
          </p:nvSpPr>
          <p:spPr bwMode="auto">
            <a:xfrm>
              <a:off x="5476876" y="2036763"/>
              <a:ext cx="146050" cy="95250"/>
            </a:xfrm>
            <a:custGeom>
              <a:avLst/>
              <a:gdLst>
                <a:gd name="T0" fmla="*/ 37 w 44"/>
                <a:gd name="T1" fmla="*/ 29 h 29"/>
                <a:gd name="T2" fmla="*/ 34 w 44"/>
                <a:gd name="T3" fmla="*/ 28 h 29"/>
                <a:gd name="T4" fmla="*/ 4 w 44"/>
                <a:gd name="T5" fmla="*/ 13 h 29"/>
                <a:gd name="T6" fmla="*/ 2 w 44"/>
                <a:gd name="T7" fmla="*/ 5 h 29"/>
                <a:gd name="T8" fmla="*/ 10 w 44"/>
                <a:gd name="T9" fmla="*/ 2 h 29"/>
                <a:gd name="T10" fmla="*/ 40 w 44"/>
                <a:gd name="T11" fmla="*/ 18 h 29"/>
                <a:gd name="T12" fmla="*/ 42 w 44"/>
                <a:gd name="T13" fmla="*/ 26 h 29"/>
                <a:gd name="T14" fmla="*/ 37 w 44"/>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29">
                  <a:moveTo>
                    <a:pt x="37" y="29"/>
                  </a:moveTo>
                  <a:cubicBezTo>
                    <a:pt x="36" y="29"/>
                    <a:pt x="35" y="29"/>
                    <a:pt x="34" y="28"/>
                  </a:cubicBezTo>
                  <a:cubicBezTo>
                    <a:pt x="4" y="13"/>
                    <a:pt x="4" y="13"/>
                    <a:pt x="4" y="13"/>
                  </a:cubicBezTo>
                  <a:cubicBezTo>
                    <a:pt x="1" y="11"/>
                    <a:pt x="0" y="7"/>
                    <a:pt x="2" y="5"/>
                  </a:cubicBezTo>
                  <a:cubicBezTo>
                    <a:pt x="3" y="2"/>
                    <a:pt x="7" y="0"/>
                    <a:pt x="10" y="2"/>
                  </a:cubicBezTo>
                  <a:cubicBezTo>
                    <a:pt x="40" y="18"/>
                    <a:pt x="40" y="18"/>
                    <a:pt x="40" y="18"/>
                  </a:cubicBezTo>
                  <a:cubicBezTo>
                    <a:pt x="43" y="19"/>
                    <a:pt x="44" y="23"/>
                    <a:pt x="42" y="26"/>
                  </a:cubicBezTo>
                  <a:cubicBezTo>
                    <a:pt x="41" y="28"/>
                    <a:pt x="39" y="29"/>
                    <a:pt x="37" y="29"/>
                  </a:cubicBezTo>
                  <a:close/>
                </a:path>
              </a:pathLst>
            </a:custGeom>
            <a:solidFill>
              <a:srgbClr val="0053C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Tree>
    <p:custDataLst>
      <p:tags r:id="rId1"/>
    </p:custDataLst>
    <p:extLst>
      <p:ext uri="{BB962C8B-B14F-4D97-AF65-F5344CB8AC3E}">
        <p14:creationId xmlns:p14="http://schemas.microsoft.com/office/powerpoint/2010/main" val="2744813957"/>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en-US" altLang="zh-CN" smtClean="0"/>
              <a:t>www.islide.cc</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41</a:t>
            </a:fld>
            <a:endParaRPr lang="zh-CN" altLang="en-US"/>
          </a:p>
        </p:txBody>
      </p:sp>
      <p:sp>
        <p:nvSpPr>
          <p:cNvPr id="4" name="標題 3"/>
          <p:cNvSpPr>
            <a:spLocks noGrp="1"/>
          </p:cNvSpPr>
          <p:nvPr>
            <p:ph type="title"/>
          </p:nvPr>
        </p:nvSpPr>
        <p:spPr/>
        <p:txBody>
          <a:bodyPr/>
          <a:lstStyle/>
          <a:p>
            <a:r>
              <a:rPr lang="en-US" altLang="zh-TW" dirty="0" smtClean="0"/>
              <a:t>Demo</a:t>
            </a:r>
            <a:endParaRPr lang="zh-TW" altLang="en-US" dirty="0"/>
          </a:p>
        </p:txBody>
      </p:sp>
      <p:sp>
        <p:nvSpPr>
          <p:cNvPr id="5" name="內容版面配置區 4"/>
          <p:cNvSpPr>
            <a:spLocks noGrp="1"/>
          </p:cNvSpPr>
          <p:nvPr>
            <p:ph sz="quarter" idx="13"/>
          </p:nvPr>
        </p:nvSpPr>
        <p:spPr/>
        <p:txBody>
          <a:bodyPr/>
          <a:lstStyle/>
          <a:p>
            <a:r>
              <a:rPr lang="zh-TW" altLang="en-US" dirty="0" smtClean="0"/>
              <a:t>待開發</a:t>
            </a:r>
            <a:endParaRPr lang="zh-TW" altLang="en-US" dirty="0"/>
          </a:p>
        </p:txBody>
      </p:sp>
    </p:spTree>
    <p:extLst>
      <p:ext uri="{BB962C8B-B14F-4D97-AF65-F5344CB8AC3E}">
        <p14:creationId xmlns:p14="http://schemas.microsoft.com/office/powerpoint/2010/main" val="37640634"/>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îŝḷïḑe"/>
        <p:cNvGrpSpPr/>
        <p:nvPr/>
      </p:nvGrpSpPr>
      <p:grpSpPr>
        <a:xfrm>
          <a:off x="0" y="0"/>
          <a:ext cx="0" cy="0"/>
          <a:chOff x="0" y="0"/>
          <a:chExt cx="0" cy="0"/>
        </a:xfrm>
      </p:grpSpPr>
      <p:graphicFrame>
        <p:nvGraphicFramePr>
          <p:cNvPr id="3" name="ï$ļîḑè" hidden="1">
            <a:extLst>
              <a:ext uri="{FF2B5EF4-FFF2-40B4-BE49-F238E27FC236}">
                <a16:creationId xmlns="" xmlns:p14="http://schemas.microsoft.com/office/powerpoint/2010/main" xmlns:mc="http://schemas.openxmlformats.org/markup-compatibility/2006" xmlns:v="urn:schemas-microsoft-com:vml" xmlns:a16="http://schemas.microsoft.com/office/drawing/2014/main" id="{A6A819F1-33AF-45D7-8BF6-2B0A9769CAD4}"/>
              </a:ext>
            </a:extLst>
          </p:cNvPr>
          <p:cNvGraphicFramePr>
            <a:graphicFrameLocks noChangeAspect="1"/>
          </p:cNvGraphicFramePr>
          <p:nvPr>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37" name="think-cell Slide" r:id="rId5" imgW="347" imgH="348" progId="TCLayout.ActiveDocument.1">
                  <p:embed/>
                </p:oleObj>
              </mc:Choice>
              <mc:Fallback>
                <p:oleObj name="think-cell Slide" r:id="rId5" imgW="347" imgH="348" progId="TCLayout.ActiveDocument.1">
                  <p:embed/>
                  <p:pic>
                    <p:nvPicPr>
                      <p:cNvPr id="3" name="ïślidê" hidden="1">
                        <a:extLst>
                          <a:ext uri="{FF2B5EF4-FFF2-40B4-BE49-F238E27FC236}">
                            <a16:creationId xmlns="" xmlns:p14="http://schemas.microsoft.com/office/powerpoint/2010/main" xmlns:v="urn:schemas-microsoft-com:vml" xmlns:a16="http://schemas.microsoft.com/office/drawing/2014/main" id="{A6A819F1-33AF-45D7-8BF6-2B0A9769CA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íSľidé" hidden="1">
            <a:extLst>
              <a:ext uri="{FF2B5EF4-FFF2-40B4-BE49-F238E27FC236}">
                <a16:creationId xmlns="" xmlns:p14="http://schemas.microsoft.com/office/powerpoint/2010/main" xmlns:mc="http://schemas.openxmlformats.org/markup-compatibility/2006" xmlns:v="urn:schemas-microsoft-com:vml" xmlns:a16="http://schemas.microsoft.com/office/drawing/2014/main" id="{FF51F16D-1BAD-46EE-A6F4-B8B94C9DF62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îsḷîde"/>
          <p:cNvSpPr>
            <a:spLocks noGrp="1"/>
          </p:cNvSpPr>
          <p:nvPr>
            <p:ph type="ctrTitle"/>
          </p:nvPr>
        </p:nvSpPr>
        <p:spPr/>
        <p:txBody>
          <a:bodyPr>
            <a:normAutofit fontScale="90000"/>
          </a:bodyPr>
          <a:lstStyle/>
          <a:p>
            <a:r>
              <a:rPr lang="en-US" altLang="zh-CN" sz="9800" dirty="0"/>
              <a:t>THANKS</a:t>
            </a:r>
            <a:r>
              <a:rPr lang="en-US" altLang="zh-CN" sz="12800"/>
              <a:t/>
            </a:r>
            <a:br>
              <a:rPr lang="en-US" altLang="zh-CN" sz="12800"/>
            </a:br>
            <a:r>
              <a:rPr lang="en-US" altLang="zh-CN" smtClean="0"/>
              <a:t>An</a:t>
            </a:r>
            <a:r>
              <a:rPr lang="en-US" altLang="zh-CN" sz="100" smtClean="0"/>
              <a:t> </a:t>
            </a:r>
            <a:r>
              <a:rPr lang="en-US" altLang="zh-CN" smtClean="0"/>
              <a:t>d </a:t>
            </a:r>
            <a:r>
              <a:rPr lang="en-US" altLang="zh-CN" dirty="0"/>
              <a:t>Your Slogan Here</a:t>
            </a:r>
            <a:endParaRPr lang="zh-CN" altLang="en-US" dirty="0"/>
          </a:p>
        </p:txBody>
      </p:sp>
      <p:sp>
        <p:nvSpPr>
          <p:cNvPr id="7" name="íŝliḍê"/>
          <p:cNvSpPr>
            <a:spLocks noGrp="1"/>
          </p:cNvSpPr>
          <p:nvPr>
            <p:ph type="body" sz="quarter" idx="18"/>
          </p:nvPr>
        </p:nvSpPr>
        <p:spPr/>
        <p:txBody>
          <a:bodyPr/>
          <a:lstStyle/>
          <a:p>
            <a:r>
              <a:rPr lang="en-US" altLang="zh-CN"/>
              <a:t>www</a:t>
            </a:r>
            <a:r>
              <a:rPr lang="en-US" altLang="zh-CN" smtClean="0"/>
              <a:t>.</a:t>
            </a:r>
            <a:r>
              <a:rPr lang="en-US" altLang="zh-CN" sz="100" smtClean="0"/>
              <a:t> </a:t>
            </a:r>
            <a:r>
              <a:rPr lang="en-US" altLang="zh-CN" smtClean="0"/>
              <a:t>islide.cc</a:t>
            </a:r>
            <a:endParaRPr lang="en-US" altLang="en-US" dirty="0"/>
          </a:p>
        </p:txBody>
      </p:sp>
      <p:sp>
        <p:nvSpPr>
          <p:cNvPr id="6" name="îŝ1íḋè"/>
          <p:cNvSpPr>
            <a:spLocks noGrp="1"/>
          </p:cNvSpPr>
          <p:nvPr>
            <p:ph type="body" sz="quarter" idx="10"/>
          </p:nvPr>
        </p:nvSpPr>
        <p:spPr/>
        <p:txBody>
          <a:bodyPr/>
          <a:lstStyle/>
          <a:p>
            <a:r>
              <a:rPr lang="en-US" altLang="zh-CN" smtClean="0"/>
              <a:t>Speaker</a:t>
            </a:r>
            <a:r>
              <a:rPr lang="en-US" altLang="zh-CN" sz="100" smtClean="0"/>
              <a:t> </a:t>
            </a:r>
            <a:r>
              <a:rPr lang="en-US" altLang="zh-CN" smtClean="0"/>
              <a:t> </a:t>
            </a:r>
            <a:r>
              <a:rPr lang="en-US" altLang="zh-CN"/>
              <a:t>name and title</a:t>
            </a:r>
            <a:endParaRPr lang="en-US" altLang="zh-CN" dirty="0"/>
          </a:p>
        </p:txBody>
      </p:sp>
    </p:spTree>
    <p:custDataLst>
      <p:tags r:id="rId3"/>
    </p:custDataLst>
    <p:extLst>
      <p:ext uri="{BB962C8B-B14F-4D97-AF65-F5344CB8AC3E}">
        <p14:creationId xmlns:p14="http://schemas.microsoft.com/office/powerpoint/2010/main" val="1259043032"/>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6" name="组合 15"/>
          <p:cNvGrpSpPr/>
          <p:nvPr/>
        </p:nvGrpSpPr>
        <p:grpSpPr>
          <a:xfrm>
            <a:off x="1022814" y="2128462"/>
            <a:ext cx="4460537" cy="691252"/>
            <a:chOff x="1101012" y="2911151"/>
            <a:chExt cx="9573211" cy="1483567"/>
          </a:xfrm>
        </p:grpSpPr>
        <p:sp>
          <p:nvSpPr>
            <p:cNvPr id="2" name="椭圆 1"/>
            <p:cNvSpPr/>
            <p:nvPr/>
          </p:nvSpPr>
          <p:spPr>
            <a:xfrm>
              <a:off x="5551715" y="3069771"/>
              <a:ext cx="643813" cy="64381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7" name="椭圆 6"/>
            <p:cNvSpPr/>
            <p:nvPr/>
          </p:nvSpPr>
          <p:spPr>
            <a:xfrm>
              <a:off x="6447454" y="3069771"/>
              <a:ext cx="643813" cy="6438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8" name="椭圆 7"/>
            <p:cNvSpPr/>
            <p:nvPr/>
          </p:nvSpPr>
          <p:spPr>
            <a:xfrm>
              <a:off x="7343193" y="3069771"/>
              <a:ext cx="643813" cy="64381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9" name="椭圆 8"/>
            <p:cNvSpPr/>
            <p:nvPr/>
          </p:nvSpPr>
          <p:spPr>
            <a:xfrm>
              <a:off x="8238932" y="3069771"/>
              <a:ext cx="643813" cy="64381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0" name="椭圆 9"/>
            <p:cNvSpPr/>
            <p:nvPr/>
          </p:nvSpPr>
          <p:spPr>
            <a:xfrm>
              <a:off x="9134671" y="3069771"/>
              <a:ext cx="643813" cy="64381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1" name="椭圆 10"/>
            <p:cNvSpPr/>
            <p:nvPr/>
          </p:nvSpPr>
          <p:spPr>
            <a:xfrm>
              <a:off x="10030410" y="3069771"/>
              <a:ext cx="643813" cy="643813"/>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2" name="椭圆 11"/>
            <p:cNvSpPr/>
            <p:nvPr/>
          </p:nvSpPr>
          <p:spPr>
            <a:xfrm>
              <a:off x="1101012" y="3069771"/>
              <a:ext cx="643813" cy="643813"/>
            </a:xfrm>
            <a:prstGeom prst="ellipse">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3" name="椭圆 12"/>
            <p:cNvSpPr/>
            <p:nvPr/>
          </p:nvSpPr>
          <p:spPr>
            <a:xfrm>
              <a:off x="1996751" y="3069771"/>
              <a:ext cx="643813" cy="643813"/>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4" name="椭圆 13"/>
            <p:cNvSpPr/>
            <p:nvPr/>
          </p:nvSpPr>
          <p:spPr>
            <a:xfrm>
              <a:off x="2892490" y="3069771"/>
              <a:ext cx="643813" cy="643813"/>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5" name="椭圆 14"/>
            <p:cNvSpPr/>
            <p:nvPr/>
          </p:nvSpPr>
          <p:spPr>
            <a:xfrm>
              <a:off x="3788229" y="3069771"/>
              <a:ext cx="643813" cy="64381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cxnSp>
          <p:nvCxnSpPr>
            <p:cNvPr id="4" name="直接连接符 3"/>
            <p:cNvCxnSpPr/>
            <p:nvPr/>
          </p:nvCxnSpPr>
          <p:spPr>
            <a:xfrm>
              <a:off x="4982546" y="2911151"/>
              <a:ext cx="0" cy="1483567"/>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
        <p:nvSpPr>
          <p:cNvPr id="18" name="文本框 17"/>
          <p:cNvSpPr txBox="1"/>
          <p:nvPr/>
        </p:nvSpPr>
        <p:spPr>
          <a:xfrm>
            <a:off x="660400" y="1512849"/>
            <a:ext cx="5852173" cy="276999"/>
          </a:xfrm>
          <a:prstGeom prst="rect">
            <a:avLst/>
          </a:prstGeom>
          <a:noFill/>
        </p:spPr>
        <p:txBody>
          <a:bodyPr wrap="square" rtlCol="0">
            <a:spAutoFit/>
          </a:bodyPr>
          <a:lstStyle/>
          <a:p>
            <a:r>
              <a:rPr lang="zh-CN" altLang="en-US" sz="1200" dirty="0"/>
              <a:t>主题</a:t>
            </a:r>
            <a:r>
              <a:rPr lang="zh-CN" altLang="en-US" sz="1200"/>
              <a:t>色彩 </a:t>
            </a:r>
            <a:r>
              <a:rPr lang="en-US" altLang="zh-CN" sz="1200" smtClean="0"/>
              <a:t>T</a:t>
            </a:r>
            <a:r>
              <a:rPr lang="en-US" altLang="zh-CN" sz="100" smtClean="0"/>
              <a:t> </a:t>
            </a:r>
            <a:r>
              <a:rPr lang="en-US" altLang="zh-CN" sz="1200" smtClean="0"/>
              <a:t>HEME </a:t>
            </a:r>
            <a:r>
              <a:rPr lang="en-US" altLang="zh-CN" sz="1200" dirty="0"/>
              <a:t>COLORS</a:t>
            </a:r>
            <a:endParaRPr lang="zh-CN" altLang="en-US" sz="1200" dirty="0"/>
          </a:p>
        </p:txBody>
      </p:sp>
      <p:cxnSp>
        <p:nvCxnSpPr>
          <p:cNvPr id="20" name="直接连接符 19"/>
          <p:cNvCxnSpPr/>
          <p:nvPr/>
        </p:nvCxnSpPr>
        <p:spPr>
          <a:xfrm>
            <a:off x="669931" y="1843079"/>
            <a:ext cx="5852175" cy="0"/>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sp>
        <p:nvSpPr>
          <p:cNvPr id="21" name="文本框 20"/>
          <p:cNvSpPr txBox="1"/>
          <p:nvPr/>
        </p:nvSpPr>
        <p:spPr>
          <a:xfrm>
            <a:off x="669929" y="2689501"/>
            <a:ext cx="2161443" cy="215444"/>
          </a:xfrm>
          <a:prstGeom prst="rect">
            <a:avLst/>
          </a:prstGeom>
          <a:noFill/>
        </p:spPr>
        <p:txBody>
          <a:bodyPr wrap="square" rtlCol="0">
            <a:spAutoFit/>
          </a:bodyPr>
          <a:lstStyle>
            <a:defPPr>
              <a:defRPr lang="zh-CN"/>
            </a:defPPr>
            <a:lvl1pPr algn="ctr">
              <a:defRPr sz="800"/>
            </a:lvl1pPr>
          </a:lstStyle>
          <a:p>
            <a:r>
              <a:rPr lang="zh-CN" altLang="en-US" dirty="0"/>
              <a:t>文字</a:t>
            </a:r>
            <a:r>
              <a:rPr lang="en-US" altLang="zh-CN" dirty="0"/>
              <a:t>/</a:t>
            </a:r>
            <a:r>
              <a:rPr lang="zh-CN" altLang="en-US"/>
              <a:t>背景 </a:t>
            </a:r>
            <a:r>
              <a:rPr lang="en-US" altLang="zh-CN" smtClean="0"/>
              <a:t>Text/Bac</a:t>
            </a:r>
            <a:r>
              <a:rPr lang="en-US" altLang="zh-CN" sz="100" smtClean="0"/>
              <a:t> </a:t>
            </a:r>
            <a:r>
              <a:rPr lang="en-US" altLang="zh-CN" smtClean="0"/>
              <a:t>kground</a:t>
            </a:r>
            <a:endParaRPr lang="zh-CN" altLang="en-US" dirty="0"/>
          </a:p>
        </p:txBody>
      </p:sp>
      <p:sp>
        <p:nvSpPr>
          <p:cNvPr id="22" name="文本框 21"/>
          <p:cNvSpPr txBox="1"/>
          <p:nvPr/>
        </p:nvSpPr>
        <p:spPr>
          <a:xfrm>
            <a:off x="2841871" y="2689501"/>
            <a:ext cx="2876627" cy="215444"/>
          </a:xfrm>
          <a:prstGeom prst="rect">
            <a:avLst/>
          </a:prstGeom>
          <a:noFill/>
        </p:spPr>
        <p:txBody>
          <a:bodyPr wrap="square" rtlCol="0">
            <a:spAutoFit/>
          </a:bodyPr>
          <a:lstStyle/>
          <a:p>
            <a:pPr algn="ctr"/>
            <a:r>
              <a:rPr lang="zh-CN" altLang="en-US" sz="800" dirty="0"/>
              <a:t>填充色 </a:t>
            </a:r>
            <a:r>
              <a:rPr lang="en-US" altLang="zh-CN" sz="800"/>
              <a:t>Fill </a:t>
            </a:r>
            <a:r>
              <a:rPr lang="en-US" altLang="zh-CN" sz="800" smtClean="0"/>
              <a:t>C</a:t>
            </a:r>
            <a:r>
              <a:rPr lang="en-US" altLang="zh-CN" sz="100" smtClean="0"/>
              <a:t> </a:t>
            </a:r>
            <a:r>
              <a:rPr lang="en-US" altLang="zh-CN" sz="800" smtClean="0"/>
              <a:t>olors</a:t>
            </a:r>
            <a:endParaRPr lang="zh-CN" altLang="en-US" sz="800" dirty="0"/>
          </a:p>
        </p:txBody>
      </p:sp>
      <p:sp>
        <p:nvSpPr>
          <p:cNvPr id="25" name="文本框 24"/>
          <p:cNvSpPr txBox="1"/>
          <p:nvPr/>
        </p:nvSpPr>
        <p:spPr>
          <a:xfrm>
            <a:off x="660400" y="3943133"/>
            <a:ext cx="5852173" cy="276999"/>
          </a:xfrm>
          <a:prstGeom prst="rect">
            <a:avLst/>
          </a:prstGeom>
          <a:noFill/>
        </p:spPr>
        <p:txBody>
          <a:bodyPr wrap="square" rtlCol="0">
            <a:spAutoFit/>
          </a:bodyPr>
          <a:lstStyle/>
          <a:p>
            <a:r>
              <a:rPr lang="zh-CN" altLang="en-US" sz="1200" dirty="0"/>
              <a:t>主题字体 </a:t>
            </a:r>
            <a:r>
              <a:rPr lang="en-US" altLang="zh-CN" sz="1200"/>
              <a:t>THEME </a:t>
            </a:r>
            <a:r>
              <a:rPr lang="en-US" altLang="zh-CN" sz="100" smtClean="0"/>
              <a:t> </a:t>
            </a:r>
            <a:r>
              <a:rPr lang="en-US" altLang="zh-CN" sz="1200" smtClean="0"/>
              <a:t>FONTS</a:t>
            </a:r>
            <a:endParaRPr lang="zh-CN" altLang="en-US" sz="1200" dirty="0"/>
          </a:p>
        </p:txBody>
      </p:sp>
      <p:cxnSp>
        <p:nvCxnSpPr>
          <p:cNvPr id="26" name="直接连接符 25"/>
          <p:cNvCxnSpPr/>
          <p:nvPr/>
        </p:nvCxnSpPr>
        <p:spPr>
          <a:xfrm>
            <a:off x="669931" y="4273363"/>
            <a:ext cx="5852175" cy="0"/>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sp>
        <p:nvSpPr>
          <p:cNvPr id="27" name="矩形 26"/>
          <p:cNvSpPr/>
          <p:nvPr/>
        </p:nvSpPr>
        <p:spPr>
          <a:xfrm>
            <a:off x="660400" y="4407104"/>
            <a:ext cx="5048569" cy="461665"/>
          </a:xfrm>
          <a:prstGeom prst="rect">
            <a:avLst/>
          </a:prstGeom>
          <a:noFill/>
        </p:spPr>
        <p:txBody>
          <a:bodyPr wrap="square" rtlCol="0">
            <a:spAutoFit/>
          </a:bodyPr>
          <a:lstStyle/>
          <a:p>
            <a:r>
              <a:rPr lang="zh-CN" altLang="en-US" sz="800" dirty="0"/>
              <a:t>中文字体：微软雅黑  </a:t>
            </a:r>
            <a:r>
              <a:rPr lang="en-US" altLang="zh-CN" sz="800" dirty="0"/>
              <a:t>East Asian Font: Microsoft </a:t>
            </a:r>
            <a:r>
              <a:rPr lang="en-US" altLang="zh-CN" sz="800" dirty="0" err="1"/>
              <a:t>YaHei</a:t>
            </a:r>
            <a:endParaRPr lang="en-US" altLang="zh-CN" sz="800" dirty="0"/>
          </a:p>
          <a:p>
            <a:endParaRPr lang="en-US" altLang="zh-CN" sz="800" dirty="0"/>
          </a:p>
          <a:p>
            <a:r>
              <a:rPr lang="zh-CN" altLang="en-US" sz="800" dirty="0"/>
              <a:t>英文字体</a:t>
            </a:r>
            <a:r>
              <a:rPr lang="zh-CN" altLang="en-US" sz="800"/>
              <a:t>：</a:t>
            </a:r>
            <a:r>
              <a:rPr lang="en-US" altLang="zh-CN" sz="800" smtClean="0"/>
              <a:t>Ari</a:t>
            </a:r>
            <a:r>
              <a:rPr lang="en-US" altLang="zh-CN" sz="100" smtClean="0"/>
              <a:t> </a:t>
            </a:r>
            <a:r>
              <a:rPr lang="en-US" altLang="zh-CN" sz="800" smtClean="0"/>
              <a:t>al  </a:t>
            </a:r>
            <a:r>
              <a:rPr lang="en-US" altLang="zh-CN" sz="800" dirty="0"/>
              <a:t>Latin Font: Arial</a:t>
            </a:r>
            <a:endParaRPr lang="zh-CN" altLang="en-US" sz="800" dirty="0"/>
          </a:p>
        </p:txBody>
      </p:sp>
      <p:sp>
        <p:nvSpPr>
          <p:cNvPr id="32" name="文本框 31"/>
          <p:cNvSpPr txBox="1"/>
          <p:nvPr/>
        </p:nvSpPr>
        <p:spPr>
          <a:xfrm>
            <a:off x="6959600" y="1512850"/>
            <a:ext cx="4559300" cy="276999"/>
          </a:xfrm>
          <a:prstGeom prst="rect">
            <a:avLst/>
          </a:prstGeom>
          <a:noFill/>
        </p:spPr>
        <p:txBody>
          <a:bodyPr wrap="square" rtlCol="0">
            <a:spAutoFit/>
          </a:bodyPr>
          <a:lstStyle/>
          <a:p>
            <a:r>
              <a:rPr lang="zh-CN" altLang="en-US" sz="1200" dirty="0"/>
              <a:t>预设参</a:t>
            </a:r>
            <a:r>
              <a:rPr lang="zh-CN" altLang="en-US" sz="1200"/>
              <a:t>考</a:t>
            </a:r>
            <a:r>
              <a:rPr lang="zh-CN" altLang="en-US" sz="1200" smtClean="0"/>
              <a:t>线</a:t>
            </a:r>
            <a:r>
              <a:rPr lang="zh-CN" altLang="en-US" sz="100" smtClean="0"/>
              <a:t> </a:t>
            </a:r>
            <a:r>
              <a:rPr lang="zh-CN" altLang="en-US" sz="1200" smtClean="0"/>
              <a:t>（</a:t>
            </a:r>
            <a:r>
              <a:rPr lang="en-US" altLang="zh-CN" sz="1200" dirty="0"/>
              <a:t>2016</a:t>
            </a:r>
            <a:r>
              <a:rPr lang="zh-CN" altLang="en-US" sz="1200" dirty="0"/>
              <a:t>版本及以上）</a:t>
            </a:r>
            <a:r>
              <a:rPr lang="en-US" altLang="zh-CN" sz="1200" dirty="0"/>
              <a:t> GUIDES (Office 2016 and later)</a:t>
            </a:r>
            <a:endParaRPr lang="zh-CN" altLang="en-US" sz="1200" dirty="0"/>
          </a:p>
        </p:txBody>
      </p:sp>
      <p:cxnSp>
        <p:nvCxnSpPr>
          <p:cNvPr id="33" name="直接连接符 32"/>
          <p:cNvCxnSpPr/>
          <p:nvPr/>
        </p:nvCxnSpPr>
        <p:spPr>
          <a:xfrm>
            <a:off x="6959600" y="1843079"/>
            <a:ext cx="4559300" cy="0"/>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grpSp>
        <p:nvGrpSpPr>
          <p:cNvPr id="17" name="组合 16">
            <a:extLst>
              <a:ext uri="{FF2B5EF4-FFF2-40B4-BE49-F238E27FC236}">
                <a16:creationId xmlns="" xmlns:a14="http://schemas.microsoft.com/office/drawing/2010/main" xmlns:p14="http://schemas.microsoft.com/office/powerpoint/2010/main" xmlns:a16="http://schemas.microsoft.com/office/drawing/2014/main" id="{28681F2F-E8A9-44CF-AC1F-76EC4E7757F0}"/>
              </a:ext>
            </a:extLst>
          </p:cNvPr>
          <p:cNvGrpSpPr/>
          <p:nvPr/>
        </p:nvGrpSpPr>
        <p:grpSpPr>
          <a:xfrm>
            <a:off x="6959600" y="2103062"/>
            <a:ext cx="4559300" cy="2807437"/>
            <a:chOff x="7069136" y="2204131"/>
            <a:chExt cx="4449763" cy="2731768"/>
          </a:xfrm>
        </p:grpSpPr>
        <p:sp>
          <p:nvSpPr>
            <p:cNvPr id="35" name="矩形 34"/>
            <p:cNvSpPr/>
            <p:nvPr/>
          </p:nvSpPr>
          <p:spPr>
            <a:xfrm>
              <a:off x="7069136" y="2240063"/>
              <a:ext cx="4449763" cy="2502992"/>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cxnSp>
          <p:nvCxnSpPr>
            <p:cNvPr id="37" name="直接连接符 36"/>
            <p:cNvCxnSpPr/>
            <p:nvPr/>
          </p:nvCxnSpPr>
          <p:spPr>
            <a:xfrm>
              <a:off x="7332272" y="2204131"/>
              <a:ext cx="0" cy="2731768"/>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38" name="直接连接符 37"/>
            <p:cNvCxnSpPr/>
            <p:nvPr/>
          </p:nvCxnSpPr>
          <p:spPr>
            <a:xfrm>
              <a:off x="11279121" y="2204131"/>
              <a:ext cx="0" cy="2731768"/>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0" name="直接连接符 39"/>
            <p:cNvCxnSpPr/>
            <p:nvPr/>
          </p:nvCxnSpPr>
          <p:spPr>
            <a:xfrm>
              <a:off x="7069136" y="2667250"/>
              <a:ext cx="4449763"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1" name="直接连接符 40"/>
            <p:cNvCxnSpPr/>
            <p:nvPr/>
          </p:nvCxnSpPr>
          <p:spPr>
            <a:xfrm>
              <a:off x="7069136" y="2746566"/>
              <a:ext cx="4449763"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2" name="直接连接符 41"/>
            <p:cNvCxnSpPr/>
            <p:nvPr/>
          </p:nvCxnSpPr>
          <p:spPr>
            <a:xfrm>
              <a:off x="7069136" y="4443013"/>
              <a:ext cx="4449763"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3" name="直接连接符 42"/>
            <p:cNvCxnSpPr/>
            <p:nvPr/>
          </p:nvCxnSpPr>
          <p:spPr>
            <a:xfrm>
              <a:off x="7069136" y="4517658"/>
              <a:ext cx="4449763"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6" name="直接连接符 45"/>
            <p:cNvCxnSpPr/>
            <p:nvPr/>
          </p:nvCxnSpPr>
          <p:spPr>
            <a:xfrm>
              <a:off x="7332271" y="2741895"/>
              <a:ext cx="3946849" cy="1701118"/>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grpSp>
      <p:sp>
        <p:nvSpPr>
          <p:cNvPr id="47" name="矩形 46"/>
          <p:cNvSpPr/>
          <p:nvPr/>
        </p:nvSpPr>
        <p:spPr>
          <a:xfrm>
            <a:off x="6959600" y="4822368"/>
            <a:ext cx="4559300" cy="461665"/>
          </a:xfrm>
          <a:prstGeom prst="rect">
            <a:avLst/>
          </a:prstGeom>
          <a:noFill/>
        </p:spPr>
        <p:txBody>
          <a:bodyPr wrap="square" rtlCol="0">
            <a:spAutoFit/>
          </a:bodyPr>
          <a:lstStyle/>
          <a:p>
            <a:r>
              <a:rPr lang="en-US" altLang="zh-CN" sz="800" dirty="0"/>
              <a:t>ALT+F9 </a:t>
            </a:r>
            <a:r>
              <a:rPr lang="zh-CN" altLang="en-US" sz="800" dirty="0"/>
              <a:t>开启和查看本主题预设的参考线</a:t>
            </a:r>
            <a:endParaRPr lang="en-US" altLang="zh-CN" sz="800" dirty="0"/>
          </a:p>
          <a:p>
            <a:r>
              <a:rPr lang="en-US" altLang="zh-CN" sz="800" smtClean="0"/>
              <a:t>Pre</a:t>
            </a:r>
            <a:r>
              <a:rPr lang="en-US" altLang="zh-CN" sz="100" smtClean="0"/>
              <a:t> </a:t>
            </a:r>
            <a:r>
              <a:rPr lang="en-US" altLang="zh-CN" sz="800" smtClean="0"/>
              <a:t>ss </a:t>
            </a:r>
            <a:r>
              <a:rPr lang="en-US" altLang="zh-CN" sz="800" dirty="0"/>
              <a:t>Alt + F9 to</a:t>
            </a:r>
            <a:r>
              <a:rPr lang="zh-CN" altLang="en-US" sz="800" dirty="0"/>
              <a:t> </a:t>
            </a:r>
            <a:r>
              <a:rPr lang="en-US" altLang="zh-CN" sz="800" dirty="0"/>
              <a:t>show/hide guides</a:t>
            </a:r>
          </a:p>
          <a:p>
            <a:endParaRPr lang="zh-CN" altLang="en-US" sz="800" dirty="0"/>
          </a:p>
        </p:txBody>
      </p:sp>
      <p:sp>
        <p:nvSpPr>
          <p:cNvPr id="39" name="文本框 38"/>
          <p:cNvSpPr txBox="1"/>
          <p:nvPr/>
        </p:nvSpPr>
        <p:spPr>
          <a:xfrm>
            <a:off x="660400" y="3104927"/>
            <a:ext cx="5852173"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zh-CN"/>
            </a:defPPr>
            <a:lvl1pPr>
              <a:defRPr sz="1200">
                <a:solidFill>
                  <a:schemeClr val="tx1">
                    <a:lumMod val="50000"/>
                    <a:lumOff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zh-CN" altLang="en-US" sz="800" dirty="0">
                <a:solidFill>
                  <a:srgbClr val="2F2F2F"/>
                </a:solidFill>
              </a:rPr>
              <a:t>可以通过</a:t>
            </a:r>
            <a:r>
              <a:rPr lang="en-US" altLang="zh-CN" sz="800" dirty="0">
                <a:solidFill>
                  <a:srgbClr val="2F2F2F"/>
                </a:solidFill>
              </a:rPr>
              <a:t>iSlide 【</a:t>
            </a:r>
            <a:r>
              <a:rPr lang="zh-CN" altLang="en-US" sz="800" dirty="0">
                <a:solidFill>
                  <a:srgbClr val="2F2F2F"/>
                </a:solidFill>
              </a:rPr>
              <a:t>色彩库</a:t>
            </a:r>
            <a:r>
              <a:rPr lang="en-US" altLang="zh-CN" sz="800" dirty="0">
                <a:solidFill>
                  <a:srgbClr val="2F2F2F"/>
                </a:solidFill>
              </a:rPr>
              <a:t>】</a:t>
            </a:r>
            <a:r>
              <a:rPr lang="zh-CN" altLang="en-US" sz="800" dirty="0">
                <a:solidFill>
                  <a:srgbClr val="2F2F2F"/>
                </a:solidFill>
              </a:rPr>
              <a:t>功能，快速应用更多色彩</a:t>
            </a:r>
            <a:endParaRPr lang="en-US" altLang="zh-CN" sz="800" dirty="0">
              <a:solidFill>
                <a:srgbClr val="2F2F2F"/>
              </a:solidFill>
            </a:endParaRPr>
          </a:p>
          <a:p>
            <a:r>
              <a:rPr lang="en-US" altLang="zh-CN" sz="800" dirty="0">
                <a:solidFill>
                  <a:srgbClr val="2F2F2F"/>
                </a:solidFill>
              </a:rPr>
              <a:t>More color </a:t>
            </a:r>
            <a:r>
              <a:rPr lang="en-US" altLang="zh-CN" sz="800">
                <a:solidFill>
                  <a:srgbClr val="2F2F2F"/>
                </a:solidFill>
              </a:rPr>
              <a:t>schemes </a:t>
            </a:r>
            <a:r>
              <a:rPr lang="en-US" altLang="zh-CN" sz="100" smtClean="0">
                <a:solidFill>
                  <a:srgbClr val="2F2F2F"/>
                </a:solidFill>
              </a:rPr>
              <a:t> </a:t>
            </a:r>
            <a:r>
              <a:rPr lang="en-US" altLang="zh-CN" sz="800" smtClean="0">
                <a:solidFill>
                  <a:srgbClr val="2F2F2F"/>
                </a:solidFill>
              </a:rPr>
              <a:t>are </a:t>
            </a:r>
            <a:r>
              <a:rPr lang="en-US" altLang="zh-CN" sz="800" dirty="0">
                <a:solidFill>
                  <a:srgbClr val="2F2F2F"/>
                </a:solidFill>
              </a:rPr>
              <a:t>optional in iSlide Color Library. Just click to apply</a:t>
            </a:r>
            <a:endParaRPr lang="zh-CN" altLang="en-US" sz="800" dirty="0">
              <a:solidFill>
                <a:srgbClr val="2F2F2F"/>
              </a:solidFill>
            </a:endParaRPr>
          </a:p>
        </p:txBody>
      </p:sp>
      <p:sp>
        <p:nvSpPr>
          <p:cNvPr id="44" name="文本框 43"/>
          <p:cNvSpPr txBox="1"/>
          <p:nvPr/>
        </p:nvSpPr>
        <p:spPr>
          <a:xfrm>
            <a:off x="660400" y="5304245"/>
            <a:ext cx="5852173"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zh-CN"/>
            </a:defPPr>
            <a:lvl1pPr>
              <a:defRPr sz="1200">
                <a:solidFill>
                  <a:schemeClr val="tx1">
                    <a:lumMod val="50000"/>
                    <a:lumOff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zh-CN" altLang="en-US" sz="800" dirty="0">
                <a:solidFill>
                  <a:srgbClr val="2F2F2F"/>
                </a:solidFill>
              </a:rPr>
              <a:t>可以在</a:t>
            </a:r>
            <a:r>
              <a:rPr lang="en-US" altLang="zh-CN" sz="800" dirty="0">
                <a:solidFill>
                  <a:srgbClr val="2F2F2F"/>
                </a:solidFill>
              </a:rPr>
              <a:t>【</a:t>
            </a:r>
            <a:r>
              <a:rPr lang="zh-CN" altLang="en-US" sz="800" dirty="0">
                <a:solidFill>
                  <a:srgbClr val="2F2F2F"/>
                </a:solidFill>
              </a:rPr>
              <a:t>设计</a:t>
            </a:r>
            <a:r>
              <a:rPr lang="en-US" altLang="zh-CN" sz="800" dirty="0">
                <a:solidFill>
                  <a:srgbClr val="2F2F2F"/>
                </a:solidFill>
              </a:rPr>
              <a:t>】</a:t>
            </a:r>
            <a:r>
              <a:rPr lang="zh-CN" altLang="en-US" sz="800" dirty="0">
                <a:solidFill>
                  <a:srgbClr val="2F2F2F"/>
                </a:solidFill>
              </a:rPr>
              <a:t>菜单</a:t>
            </a:r>
            <a:r>
              <a:rPr lang="en-US" altLang="zh-CN" sz="800" dirty="0">
                <a:solidFill>
                  <a:srgbClr val="2F2F2F"/>
                </a:solidFill>
              </a:rPr>
              <a:t>【</a:t>
            </a:r>
            <a:r>
              <a:rPr lang="zh-CN" altLang="en-US" sz="800" dirty="0">
                <a:solidFill>
                  <a:srgbClr val="2F2F2F"/>
                </a:solidFill>
              </a:rPr>
              <a:t>字体</a:t>
            </a:r>
            <a:r>
              <a:rPr lang="en-US" altLang="zh-CN" sz="800" dirty="0">
                <a:solidFill>
                  <a:srgbClr val="2F2F2F"/>
                </a:solidFill>
              </a:rPr>
              <a:t>】</a:t>
            </a:r>
            <a:r>
              <a:rPr lang="zh-CN" altLang="en-US" sz="800" dirty="0">
                <a:solidFill>
                  <a:srgbClr val="2F2F2F"/>
                </a:solidFill>
              </a:rPr>
              <a:t>中改变，或应用</a:t>
            </a:r>
            <a:r>
              <a:rPr lang="en-US" altLang="zh-CN" sz="800" dirty="0">
                <a:solidFill>
                  <a:srgbClr val="2F2F2F"/>
                </a:solidFill>
              </a:rPr>
              <a:t>iSlide【</a:t>
            </a:r>
            <a:r>
              <a:rPr lang="zh-CN" altLang="en-US" sz="800" dirty="0">
                <a:solidFill>
                  <a:srgbClr val="2F2F2F"/>
                </a:solidFill>
              </a:rPr>
              <a:t>统一字体</a:t>
            </a:r>
            <a:r>
              <a:rPr lang="en-US" altLang="zh-CN" sz="800" dirty="0">
                <a:solidFill>
                  <a:srgbClr val="2F2F2F"/>
                </a:solidFill>
              </a:rPr>
              <a:t>】</a:t>
            </a:r>
            <a:r>
              <a:rPr lang="zh-CN" altLang="en-US" sz="800" dirty="0">
                <a:solidFill>
                  <a:srgbClr val="2F2F2F"/>
                </a:solidFill>
              </a:rPr>
              <a:t>功能改变设置</a:t>
            </a:r>
            <a:endParaRPr lang="en-US" altLang="zh-CN" sz="800" dirty="0">
              <a:solidFill>
                <a:srgbClr val="2F2F2F"/>
              </a:solidFill>
            </a:endParaRPr>
          </a:p>
          <a:p>
            <a:r>
              <a:rPr lang="en-US" altLang="zh-CN" sz="800" dirty="0">
                <a:solidFill>
                  <a:srgbClr val="2F2F2F"/>
                </a:solidFill>
              </a:rPr>
              <a:t>To change theme fonts</a:t>
            </a:r>
            <a:r>
              <a:rPr lang="en-US" altLang="zh-CN" sz="800">
                <a:solidFill>
                  <a:srgbClr val="2F2F2F"/>
                </a:solidFill>
              </a:rPr>
              <a:t>, </a:t>
            </a:r>
            <a:r>
              <a:rPr lang="en-US" altLang="zh-CN" sz="800" smtClean="0">
                <a:solidFill>
                  <a:srgbClr val="2F2F2F"/>
                </a:solidFill>
              </a:rPr>
              <a:t>yo</a:t>
            </a:r>
            <a:r>
              <a:rPr lang="en-US" altLang="zh-CN" sz="100" smtClean="0">
                <a:solidFill>
                  <a:srgbClr val="2F2F2F"/>
                </a:solidFill>
              </a:rPr>
              <a:t> </a:t>
            </a:r>
            <a:r>
              <a:rPr lang="en-US" altLang="zh-CN" sz="800" smtClean="0">
                <a:solidFill>
                  <a:srgbClr val="2F2F2F"/>
                </a:solidFill>
              </a:rPr>
              <a:t>u </a:t>
            </a:r>
            <a:r>
              <a:rPr lang="en-US" altLang="zh-CN" sz="800" dirty="0">
                <a:solidFill>
                  <a:srgbClr val="2F2F2F"/>
                </a:solidFill>
              </a:rPr>
              <a:t>can click Design &gt; Variants &gt; Fonts, or use “Uniform Fonts” feature of </a:t>
            </a:r>
            <a:r>
              <a:rPr lang="en-US" altLang="zh-CN" sz="800" dirty="0" err="1">
                <a:solidFill>
                  <a:srgbClr val="2F2F2F"/>
                </a:solidFill>
              </a:rPr>
              <a:t>iSlide</a:t>
            </a:r>
            <a:endParaRPr lang="zh-CN" altLang="en-US" sz="800" dirty="0">
              <a:solidFill>
                <a:srgbClr val="2F2F2F"/>
              </a:solidFill>
            </a:endParaRPr>
          </a:p>
        </p:txBody>
      </p:sp>
      <p:sp>
        <p:nvSpPr>
          <p:cNvPr id="6" name="Rectangle 5">
            <a:extLst>
              <a:ext uri="{FF2B5EF4-FFF2-40B4-BE49-F238E27FC236}">
                <a16:creationId xmlns="" xmlns:a14="http://schemas.microsoft.com/office/drawing/2010/main" xmlns:p14="http://schemas.microsoft.com/office/powerpoint/2010/main" xmlns:a16="http://schemas.microsoft.com/office/drawing/2014/main" id="{821214C4-3D8B-473D-9D9C-F2F23FBFB600}"/>
              </a:ext>
            </a:extLst>
          </p:cNvPr>
          <p:cNvSpPr/>
          <p:nvPr/>
        </p:nvSpPr>
        <p:spPr>
          <a:xfrm>
            <a:off x="6959599" y="5304244"/>
            <a:ext cx="4559300" cy="400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zh-CN" altLang="en-US" sz="800" dirty="0">
                <a:solidFill>
                  <a:srgbClr val="2F2F2F"/>
                </a:solidFill>
              </a:rPr>
              <a:t>可以通过</a:t>
            </a:r>
            <a:r>
              <a:rPr lang="en-US" altLang="zh-CN" sz="800" dirty="0">
                <a:solidFill>
                  <a:srgbClr val="2F2F2F"/>
                </a:solidFill>
              </a:rPr>
              <a:t>iSlide 【</a:t>
            </a:r>
            <a:r>
              <a:rPr lang="zh-CN" altLang="en-US" sz="800" dirty="0">
                <a:solidFill>
                  <a:srgbClr val="2F2F2F"/>
                </a:solidFill>
              </a:rPr>
              <a:t>一键优化</a:t>
            </a:r>
            <a:r>
              <a:rPr lang="en-US" altLang="zh-CN" sz="800" dirty="0">
                <a:solidFill>
                  <a:srgbClr val="2F2F2F"/>
                </a:solidFill>
              </a:rPr>
              <a:t>】</a:t>
            </a:r>
            <a:r>
              <a:rPr lang="zh-CN" altLang="en-US" sz="800" dirty="0">
                <a:solidFill>
                  <a:srgbClr val="2F2F2F"/>
                </a:solidFill>
              </a:rPr>
              <a:t>（智能参考线）功能，应用更多预设参考线</a:t>
            </a:r>
            <a:endParaRPr lang="en-US" altLang="zh-CN" sz="800" dirty="0">
              <a:solidFill>
                <a:srgbClr val="2F2F2F"/>
              </a:solidFill>
            </a:endParaRPr>
          </a:p>
          <a:p>
            <a:r>
              <a:rPr lang="en-US" altLang="zh-CN" sz="800" dirty="0">
                <a:solidFill>
                  <a:srgbClr val="2F2F2F"/>
                </a:solidFill>
              </a:rPr>
              <a:t>Use </a:t>
            </a:r>
            <a:r>
              <a:rPr lang="en-US" altLang="zh-CN" sz="800">
                <a:solidFill>
                  <a:srgbClr val="2F2F2F"/>
                </a:solidFill>
              </a:rPr>
              <a:t>iSlide </a:t>
            </a:r>
            <a:r>
              <a:rPr lang="en-US" altLang="zh-CN" sz="800" smtClean="0">
                <a:solidFill>
                  <a:srgbClr val="2F2F2F"/>
                </a:solidFill>
              </a:rPr>
              <a:t>“</a:t>
            </a:r>
            <a:r>
              <a:rPr lang="en-US" altLang="zh-CN" sz="100" smtClean="0">
                <a:solidFill>
                  <a:srgbClr val="2F2F2F"/>
                </a:solidFill>
              </a:rPr>
              <a:t> </a:t>
            </a:r>
            <a:r>
              <a:rPr lang="en-US" altLang="zh-CN" sz="800" smtClean="0">
                <a:solidFill>
                  <a:srgbClr val="2F2F2F"/>
                </a:solidFill>
              </a:rPr>
              <a:t>Uniform </a:t>
            </a:r>
            <a:r>
              <a:rPr lang="en-US" altLang="zh-CN" sz="800" dirty="0">
                <a:solidFill>
                  <a:srgbClr val="2F2F2F"/>
                </a:solidFill>
              </a:rPr>
              <a:t>Guides” feature to edit and apply more preset guides</a:t>
            </a:r>
          </a:p>
        </p:txBody>
      </p:sp>
      <p:sp>
        <p:nvSpPr>
          <p:cNvPr id="48" name="标题 1">
            <a:extLst>
              <a:ext uri="{FF2B5EF4-FFF2-40B4-BE49-F238E27FC236}">
                <a16:creationId xmlns="" xmlns:a14="http://schemas.microsoft.com/office/drawing/2010/main" xmlns:p14="http://schemas.microsoft.com/office/powerpoint/2010/main" xmlns:a16="http://schemas.microsoft.com/office/drawing/2014/main" id="{A063C456-63D9-49D6-A680-AB5AA5CB4C15}"/>
              </a:ext>
            </a:extLst>
          </p:cNvPr>
          <p:cNvSpPr txBox="1">
            <a:spLocks/>
          </p:cNvSpPr>
          <p:nvPr/>
        </p:nvSpPr>
        <p:spPr>
          <a:xfrm>
            <a:off x="660400" y="-1"/>
            <a:ext cx="10858500" cy="1028700"/>
          </a:xfrm>
          <a:prstGeom prst="rect">
            <a:avLst/>
          </a:prstGeom>
        </p:spPr>
        <p:txBody>
          <a:bodyPr vert="horz" lIns="91440" tIns="45720" rIns="91440" bIns="45720" rtlCol="0" anchor="b">
            <a:normAutofit/>
          </a:bodyPr>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pPr defTabSz="914309"/>
            <a:r>
              <a:rPr lang="zh-CN" altLang="en-US" sz="2800" b="1" dirty="0"/>
              <a:t>设计标</a:t>
            </a:r>
            <a:r>
              <a:rPr lang="zh-CN" altLang="en-US" sz="2800" b="1"/>
              <a:t>准 </a:t>
            </a:r>
            <a:r>
              <a:rPr lang="en-US" altLang="zh-CN" sz="2800" b="1" smtClean="0"/>
              <a:t>Desi</a:t>
            </a:r>
            <a:r>
              <a:rPr lang="en-US" altLang="zh-CN" sz="100" b="1" smtClean="0"/>
              <a:t> </a:t>
            </a:r>
            <a:r>
              <a:rPr lang="en-US" altLang="zh-CN" sz="2800" b="1" smtClean="0"/>
              <a:t>gn </a:t>
            </a:r>
            <a:r>
              <a:rPr lang="en-US" altLang="zh-CN" sz="2800" b="1" dirty="0"/>
              <a:t>Criteria</a:t>
            </a:r>
            <a:endParaRPr lang="zh-CN" altLang="en-US" sz="2800" b="1" dirty="0"/>
          </a:p>
        </p:txBody>
      </p:sp>
      <p:sp>
        <p:nvSpPr>
          <p:cNvPr id="51" name="矩形 50">
            <a:extLst>
              <a:ext uri="{FF2B5EF4-FFF2-40B4-BE49-F238E27FC236}">
                <a16:creationId xmlns="" xmlns:a14="http://schemas.microsoft.com/office/drawing/2010/main" xmlns:p14="http://schemas.microsoft.com/office/powerpoint/2010/main" xmlns:a16="http://schemas.microsoft.com/office/drawing/2014/main" id="{DB6B50C1-7119-4649-A59E-12A0D311364C}"/>
              </a:ext>
            </a:extLst>
          </p:cNvPr>
          <p:cNvSpPr/>
          <p:nvPr/>
        </p:nvSpPr>
        <p:spPr>
          <a:xfrm>
            <a:off x="8978025" y="128575"/>
            <a:ext cx="2540875" cy="771556"/>
          </a:xfrm>
          <a:prstGeom prst="rect">
            <a:avLst/>
          </a:prstGeom>
          <a:solidFill>
            <a:srgbClr val="F73434"/>
          </a:solidFill>
          <a:ln w="12700">
            <a:noFill/>
            <a:prstDash val="sysDash"/>
          </a:ln>
        </p:spPr>
        <p:txBody>
          <a:bodyPr wrap="square" lIns="91440" tIns="91440" rIns="91440" bIns="91440" rtlCol="0" anchor="ctr">
            <a:noAutofit/>
          </a:bodyPr>
          <a:lstStyle/>
          <a:p>
            <a:pPr>
              <a:lnSpc>
                <a:spcPct val="120000"/>
              </a:lnSpc>
            </a:pPr>
            <a:r>
              <a:rPr lang="en-US" altLang="zh-CN" sz="800" b="1" dirty="0">
                <a:solidFill>
                  <a:schemeClr val="bg1"/>
                </a:solidFill>
              </a:rPr>
              <a:t>Note:</a:t>
            </a:r>
          </a:p>
          <a:p>
            <a:pPr>
              <a:lnSpc>
                <a:spcPct val="120000"/>
              </a:lnSpc>
            </a:pPr>
            <a:r>
              <a:rPr lang="zh-CN" altLang="en-US" sz="800" dirty="0">
                <a:solidFill>
                  <a:schemeClr val="bg1"/>
                </a:solidFill>
              </a:rPr>
              <a:t>本页为说明页，使用时请删除本页内容。</a:t>
            </a:r>
          </a:p>
          <a:p>
            <a:pPr>
              <a:lnSpc>
                <a:spcPct val="120000"/>
              </a:lnSpc>
            </a:pPr>
            <a:r>
              <a:rPr lang="en-US" altLang="zh-CN" sz="800" dirty="0">
                <a:solidFill>
                  <a:schemeClr val="bg1"/>
                </a:solidFill>
              </a:rPr>
              <a:t>This slide is </a:t>
            </a:r>
            <a:r>
              <a:rPr lang="en-US" altLang="zh-CN" sz="800">
                <a:solidFill>
                  <a:schemeClr val="bg1"/>
                </a:solidFill>
              </a:rPr>
              <a:t>an </a:t>
            </a:r>
            <a:r>
              <a:rPr lang="en-US" altLang="zh-CN" sz="800" smtClean="0">
                <a:solidFill>
                  <a:schemeClr val="bg1"/>
                </a:solidFill>
              </a:rPr>
              <a:t>instructi</a:t>
            </a:r>
            <a:r>
              <a:rPr lang="en-US" altLang="zh-CN" sz="100" smtClean="0">
                <a:solidFill>
                  <a:schemeClr val="bg1"/>
                </a:solidFill>
              </a:rPr>
              <a:t> </a:t>
            </a:r>
            <a:r>
              <a:rPr lang="en-US" altLang="zh-CN" sz="800" smtClean="0">
                <a:solidFill>
                  <a:schemeClr val="bg1"/>
                </a:solidFill>
              </a:rPr>
              <a:t>on</a:t>
            </a:r>
            <a:r>
              <a:rPr lang="en-US" altLang="zh-CN" sz="800" dirty="0">
                <a:solidFill>
                  <a:schemeClr val="bg1"/>
                </a:solidFill>
              </a:rPr>
              <a:t>. Please delete this slide before using it for presentation.</a:t>
            </a:r>
          </a:p>
        </p:txBody>
      </p:sp>
    </p:spTree>
    <p:custDataLst>
      <p:tags r:id="rId1"/>
    </p:custDataLst>
    <p:extLst>
      <p:ext uri="{BB962C8B-B14F-4D97-AF65-F5344CB8AC3E}">
        <p14:creationId xmlns:p14="http://schemas.microsoft.com/office/powerpoint/2010/main" val="5457789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2" name="副标题 9">
            <a:extLst>
              <a:ext uri="{FF2B5EF4-FFF2-40B4-BE49-F238E27FC236}">
                <a16:creationId xmlns="" xmlns:ahyp="http://schemas.microsoft.com/office/drawing/2018/hyperlinkcolor" xmlns:p14="http://schemas.microsoft.com/office/powerpoint/2010/main" xmlns:a16="http://schemas.microsoft.com/office/drawing/2014/main" id="{3B488FCE-2B18-46FF-9521-112BCCFC4FDA}"/>
              </a:ext>
            </a:extLst>
          </p:cNvPr>
          <p:cNvSpPr txBox="1">
            <a:spLocks/>
          </p:cNvSpPr>
          <p:nvPr/>
        </p:nvSpPr>
        <p:spPr>
          <a:xfrm>
            <a:off x="660400" y="5074963"/>
            <a:ext cx="10858500" cy="706715"/>
          </a:xfrm>
          <a:prstGeom prst="rect">
            <a:avLst/>
          </a:prstGeom>
        </p:spPr>
        <p:txBody>
          <a:bodyPr vert="horz" lIns="91440" tIns="45720" rIns="91440" bIns="45720" rtlCol="0" anchor="t">
            <a:noAutofit/>
          </a:bodyPr>
          <a:lstStyle>
            <a:lvl1pPr marL="0" indent="0" algn="ctr" defTabSz="914354" rtl="0" eaLnBrk="1" latinLnBrk="0" hangingPunct="1">
              <a:lnSpc>
                <a:spcPct val="100000"/>
              </a:lnSpc>
              <a:spcBef>
                <a:spcPts val="0"/>
              </a:spcBef>
              <a:buFont typeface="Arial" panose="020B0604020202020204" pitchFamily="34" charset="0"/>
              <a:buNone/>
              <a:defRPr sz="800" kern="1200">
                <a:solidFill>
                  <a:schemeClr val="bg1"/>
                </a:solidFill>
                <a:latin typeface="+mn-lt"/>
                <a:ea typeface="+mn-ea"/>
                <a:cs typeface="+mn-cs"/>
              </a:defRPr>
            </a:lvl1pPr>
            <a:lvl2pPr marL="457178" indent="0" algn="ctr" defTabSz="914354"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354" indent="0" algn="ctr" defTabSz="914354"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532" indent="0" algn="ctr" defTabSz="914354"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709" indent="0" algn="ctr" defTabSz="914354"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5886" indent="0" algn="ctr" defTabSz="914354"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062" indent="0" algn="ctr" defTabSz="914354"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240" indent="0" algn="ctr" defTabSz="914354"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418" indent="0" algn="ctr" defTabSz="914354"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defTabSz="914332">
              <a:defRPr/>
            </a:pPr>
            <a:r>
              <a:rPr lang="zh-CN" altLang="en-US" sz="1200" dirty="0">
                <a:solidFill>
                  <a:srgbClr val="2F2F2F"/>
                </a:solidFill>
                <a:latin typeface="Arial"/>
                <a:ea typeface="微软雅黑"/>
              </a:rPr>
              <a:t>免费下载 </a:t>
            </a:r>
            <a:r>
              <a:rPr lang="en-US" altLang="zh-CN" sz="1200" dirty="0">
                <a:solidFill>
                  <a:srgbClr val="2F2F2F"/>
                </a:solidFill>
                <a:latin typeface="Arial"/>
                <a:ea typeface="微软雅黑"/>
              </a:rPr>
              <a:t>/ </a:t>
            </a:r>
            <a:r>
              <a:rPr lang="en-US" altLang="zh-CN" sz="1200">
                <a:solidFill>
                  <a:srgbClr val="2F2F2F"/>
                </a:solidFill>
                <a:latin typeface="Arial"/>
                <a:ea typeface="微软雅黑"/>
              </a:rPr>
              <a:t>Download </a:t>
            </a:r>
            <a:r>
              <a:rPr lang="en-US" altLang="zh-CN" sz="1200" smtClean="0">
                <a:solidFill>
                  <a:srgbClr val="2F2F2F"/>
                </a:solidFill>
                <a:latin typeface="Arial"/>
                <a:ea typeface="微软雅黑"/>
              </a:rPr>
              <a:t>f</a:t>
            </a:r>
            <a:r>
              <a:rPr lang="en-US" altLang="zh-CN" sz="100" smtClean="0">
                <a:solidFill>
                  <a:srgbClr val="2F2F2F"/>
                </a:solidFill>
                <a:latin typeface="Arial"/>
                <a:ea typeface="微软雅黑"/>
              </a:rPr>
              <a:t> </a:t>
            </a:r>
            <a:r>
              <a:rPr lang="en-US" altLang="zh-CN" sz="1200" smtClean="0">
                <a:solidFill>
                  <a:srgbClr val="2F2F2F"/>
                </a:solidFill>
                <a:latin typeface="Arial"/>
                <a:ea typeface="微软雅黑"/>
              </a:rPr>
              <a:t>or </a:t>
            </a:r>
            <a:r>
              <a:rPr lang="en-US" altLang="zh-CN" sz="1200" dirty="0">
                <a:solidFill>
                  <a:srgbClr val="2F2F2F"/>
                </a:solidFill>
                <a:latin typeface="Arial"/>
                <a:ea typeface="微软雅黑"/>
              </a:rPr>
              <a:t>FREE</a:t>
            </a:r>
          </a:p>
          <a:p>
            <a:pPr algn="l" defTabSz="914332">
              <a:defRPr/>
            </a:pPr>
            <a:r>
              <a:rPr lang="en-US" altLang="zh-CN" sz="1200" dirty="0">
                <a:solidFill>
                  <a:srgbClr val="FF4715"/>
                </a:solidFill>
                <a:latin typeface="Arial"/>
                <a:ea typeface="微软雅黑"/>
                <a:hlinkClick r:id="rId3">
                  <a:extLst>
                    <a:ext uri="{A12FA001-AC4F-418D-AE19-62706E023703}">
                      <ahyp:hlinkClr xmlns="" xmlns:a16="http://schemas.microsoft.com/office/drawing/2014/main" xmlns:p14="http://schemas.microsoft.com/office/powerpoint/2010/main" xmlns:ahyp="http://schemas.microsoft.com/office/drawing/2018/hyperlinkcolor" val="tx"/>
                    </a:ext>
                  </a:extLst>
                </a:hlinkClick>
              </a:rPr>
              <a:t>www.islide.cc</a:t>
            </a:r>
            <a:endParaRPr lang="en-US" altLang="zh-CN" sz="1200" dirty="0">
              <a:solidFill>
                <a:srgbClr val="FF4715"/>
              </a:solidFill>
              <a:latin typeface="Arial"/>
              <a:ea typeface="微软雅黑"/>
            </a:endParaRPr>
          </a:p>
        </p:txBody>
      </p:sp>
      <p:grpSp>
        <p:nvGrpSpPr>
          <p:cNvPr id="4" name="组合 3">
            <a:extLst>
              <a:ext uri="{FF2B5EF4-FFF2-40B4-BE49-F238E27FC236}">
                <a16:creationId xmlns="" xmlns:ahyp="http://schemas.microsoft.com/office/drawing/2018/hyperlinkcolor" xmlns:p14="http://schemas.microsoft.com/office/powerpoint/2010/main" xmlns:a16="http://schemas.microsoft.com/office/drawing/2014/main" id="{B41C6D5D-76C7-4DE2-BC28-E41485001361}"/>
              </a:ext>
            </a:extLst>
          </p:cNvPr>
          <p:cNvGrpSpPr/>
          <p:nvPr/>
        </p:nvGrpSpPr>
        <p:grpSpPr>
          <a:xfrm>
            <a:off x="660400" y="2553342"/>
            <a:ext cx="10858500" cy="1770432"/>
            <a:chOff x="1853236" y="2525799"/>
            <a:chExt cx="10858500" cy="1770431"/>
          </a:xfrm>
        </p:grpSpPr>
        <p:sp>
          <p:nvSpPr>
            <p:cNvPr id="11" name="文本框 10">
              <a:extLst>
                <a:ext uri="{FF2B5EF4-FFF2-40B4-BE49-F238E27FC236}">
                  <a16:creationId xmlns="" xmlns:ahyp="http://schemas.microsoft.com/office/drawing/2018/hyperlinkcolor" xmlns:p14="http://schemas.microsoft.com/office/powerpoint/2010/main" xmlns:a16="http://schemas.microsoft.com/office/drawing/2014/main" id="{5D51D968-E05A-4D3F-ABFA-D4B82B79FDF3}"/>
                </a:ext>
              </a:extLst>
            </p:cNvPr>
            <p:cNvSpPr txBox="1"/>
            <p:nvPr/>
          </p:nvSpPr>
          <p:spPr>
            <a:xfrm>
              <a:off x="1853236" y="3760699"/>
              <a:ext cx="10858500" cy="535531"/>
            </a:xfrm>
            <a:prstGeom prst="rect">
              <a:avLst/>
            </a:prstGeom>
            <a:noFill/>
          </p:spPr>
          <p:txBody>
            <a:bodyPr wrap="square">
              <a:spAutoFit/>
            </a:bodyPr>
            <a:lstStyle/>
            <a:p>
              <a:pPr defTabSz="914332">
                <a:lnSpc>
                  <a:spcPct val="120000"/>
                </a:lnSpc>
                <a:spcBef>
                  <a:spcPct val="0"/>
                </a:spcBef>
                <a:defRPr/>
              </a:pPr>
              <a:r>
                <a:rPr lang="en-US" altLang="zh-CN" sz="1200" dirty="0">
                  <a:solidFill>
                    <a:srgbClr val="2F2F2F"/>
                  </a:solidFill>
                  <a:latin typeface="微软雅黑" panose="020B0503020204020204" pitchFamily="34" charset="-122"/>
                  <a:ea typeface="微软雅黑" panose="020B0503020204020204" pitchFamily="34" charset="-122"/>
                  <a:cs typeface="Arial" panose="020B0604020202020204" pitchFamily="34" charset="0"/>
                </a:rPr>
                <a:t>iSlide add-in saves you 90</a:t>
              </a:r>
              <a:r>
                <a:rPr lang="en-US" altLang="zh-CN" sz="1200">
                  <a:solidFill>
                    <a:srgbClr val="2F2F2F"/>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00" smtClean="0">
                  <a:solidFill>
                    <a:srgbClr val="2F2F2F"/>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smtClean="0">
                  <a:solidFill>
                    <a:srgbClr val="2F2F2F"/>
                  </a:solidFill>
                  <a:latin typeface="微软雅黑" panose="020B0503020204020204" pitchFamily="34" charset="-122"/>
                  <a:ea typeface="微软雅黑" panose="020B0503020204020204" pitchFamily="34" charset="-122"/>
                  <a:cs typeface="Arial" panose="020B0604020202020204" pitchFamily="34" charset="0"/>
                </a:rPr>
                <a:t>of </a:t>
              </a:r>
              <a:r>
                <a:rPr lang="en-US" altLang="zh-CN" sz="1200" dirty="0">
                  <a:solidFill>
                    <a:srgbClr val="2F2F2F"/>
                  </a:solidFill>
                  <a:latin typeface="微软雅黑" panose="020B0503020204020204" pitchFamily="34" charset="-122"/>
                  <a:ea typeface="微软雅黑" panose="020B0503020204020204" pitchFamily="34" charset="-122"/>
                  <a:cs typeface="Arial" panose="020B0604020202020204" pitchFamily="34" charset="0"/>
                </a:rPr>
                <a:t>the time </a:t>
              </a:r>
            </a:p>
            <a:p>
              <a:pPr defTabSz="914332">
                <a:lnSpc>
                  <a:spcPct val="120000"/>
                </a:lnSpc>
                <a:spcBef>
                  <a:spcPct val="0"/>
                </a:spcBef>
                <a:defRPr/>
              </a:pPr>
              <a:r>
                <a:rPr lang="en-US" altLang="zh-CN" sz="1200" dirty="0">
                  <a:solidFill>
                    <a:srgbClr val="2F2F2F"/>
                  </a:solidFill>
                  <a:latin typeface="微软雅黑" panose="020B0503020204020204" pitchFamily="34" charset="-122"/>
                  <a:ea typeface="微软雅黑" panose="020B0503020204020204" pitchFamily="34" charset="-122"/>
                  <a:cs typeface="Arial" panose="020B0604020202020204" pitchFamily="34" charset="0"/>
                </a:rPr>
                <a:t>in making presentation</a:t>
              </a:r>
              <a:endParaRPr lang="en-US" altLang="en-US" dirty="0">
                <a:solidFill>
                  <a:srgbClr val="2F2F2F"/>
                </a:solidFill>
                <a:ea typeface="微软雅黑" panose="020B0503020204020204" pitchFamily="34" charset="-122"/>
                <a:cs typeface="Arial" panose="020B0604020202020204" pitchFamily="34" charset="0"/>
              </a:endParaRPr>
            </a:p>
          </p:txBody>
        </p:sp>
        <p:sp>
          <p:nvSpPr>
            <p:cNvPr id="2" name="矩形 1">
              <a:extLst>
                <a:ext uri="{FF2B5EF4-FFF2-40B4-BE49-F238E27FC236}">
                  <a16:creationId xmlns="" xmlns:ahyp="http://schemas.microsoft.com/office/drawing/2018/hyperlinkcolor" xmlns:p14="http://schemas.microsoft.com/office/powerpoint/2010/main" xmlns:a16="http://schemas.microsoft.com/office/drawing/2014/main" id="{0F09207A-DED4-4EE0-BCCC-3275073B5540}"/>
                </a:ext>
              </a:extLst>
            </p:cNvPr>
            <p:cNvSpPr/>
            <p:nvPr/>
          </p:nvSpPr>
          <p:spPr>
            <a:xfrm>
              <a:off x="1853236" y="2525799"/>
              <a:ext cx="10858500" cy="1052595"/>
            </a:xfrm>
            <a:prstGeom prst="rect">
              <a:avLst/>
            </a:prstGeom>
          </p:spPr>
          <p:txBody>
            <a:bodyPr wrap="square">
              <a:spAutoFit/>
            </a:bodyPr>
            <a:lstStyle/>
            <a:p>
              <a:pPr defTabSz="914332">
                <a:lnSpc>
                  <a:spcPct val="120000"/>
                </a:lnSpc>
                <a:spcBef>
                  <a:spcPct val="0"/>
                </a:spcBef>
                <a:defRPr/>
              </a:pPr>
              <a:r>
                <a:rPr lang="zh-CN" altLang="en-US" sz="2000" dirty="0">
                  <a:solidFill>
                    <a:srgbClr val="2F2F2F"/>
                  </a:solidFill>
                  <a:latin typeface="Arial" panose="020B0604020202020204" pitchFamily="34" charset="0"/>
                  <a:ea typeface="微软雅黑" panose="020B0503020204020204" pitchFamily="34" charset="-122"/>
                  <a:cs typeface="Arial" panose="020B0604020202020204" pitchFamily="34" charset="0"/>
                </a:rPr>
                <a:t>使用 </a:t>
              </a:r>
              <a:r>
                <a:rPr lang="en-US" altLang="zh-CN" sz="2000">
                  <a:solidFill>
                    <a:srgbClr val="2F2F2F"/>
                  </a:solidFill>
                  <a:latin typeface="Arial" panose="020B0604020202020204" pitchFamily="34" charset="0"/>
                  <a:ea typeface="微软雅黑" panose="020B0503020204020204" pitchFamily="34" charset="-122"/>
                  <a:cs typeface="Arial" panose="020B0604020202020204" pitchFamily="34" charset="0"/>
                </a:rPr>
                <a:t>iSlide </a:t>
              </a:r>
              <a:r>
                <a:rPr lang="en-US" altLang="zh-CN" sz="100" smtClean="0">
                  <a:solidFill>
                    <a:srgbClr val="2F2F2F"/>
                  </a:solidFill>
                  <a:latin typeface="Arial" panose="020B0604020202020204" pitchFamily="34" charset="0"/>
                  <a:ea typeface="微软雅黑" panose="020B0503020204020204" pitchFamily="34" charset="-122"/>
                  <a:cs typeface="Arial" panose="020B0604020202020204" pitchFamily="34" charset="0"/>
                </a:rPr>
                <a:t> </a:t>
              </a:r>
              <a:r>
                <a:rPr lang="en-US" altLang="zh-CN" sz="2000" smtClean="0">
                  <a:solidFill>
                    <a:srgbClr val="2F2F2F"/>
                  </a:solidFill>
                  <a:latin typeface="Arial" panose="020B0604020202020204" pitchFamily="34" charset="0"/>
                  <a:ea typeface="微软雅黑" panose="020B0503020204020204" pitchFamily="34" charset="-122"/>
                  <a:cs typeface="Arial" panose="020B0604020202020204" pitchFamily="34" charset="0"/>
                </a:rPr>
                <a:t>PPT </a:t>
              </a:r>
              <a:r>
                <a:rPr lang="zh-CN" altLang="en-US" sz="2000" dirty="0">
                  <a:solidFill>
                    <a:srgbClr val="2F2F2F"/>
                  </a:solidFill>
                  <a:latin typeface="Arial" panose="020B0604020202020204" pitchFamily="34" charset="0"/>
                  <a:ea typeface="微软雅黑" panose="020B0503020204020204" pitchFamily="34" charset="-122"/>
                  <a:cs typeface="Arial" panose="020B0604020202020204" pitchFamily="34" charset="0"/>
                </a:rPr>
                <a:t>插件</a:t>
              </a:r>
              <a:br>
                <a:rPr lang="zh-CN" altLang="en-US" sz="2000" dirty="0">
                  <a:solidFill>
                    <a:srgbClr val="2F2F2F"/>
                  </a:solidFill>
                  <a:latin typeface="Arial" panose="020B0604020202020204" pitchFamily="34" charset="0"/>
                  <a:ea typeface="微软雅黑" panose="020B0503020204020204" pitchFamily="34" charset="-122"/>
                  <a:cs typeface="Arial" panose="020B0604020202020204" pitchFamily="34" charset="0"/>
                </a:rPr>
              </a:br>
              <a:r>
                <a:rPr lang="zh-CN" altLang="en-US" sz="3200" b="1" dirty="0">
                  <a:solidFill>
                    <a:srgbClr val="2F2F2F"/>
                  </a:solidFill>
                  <a:latin typeface="微软雅黑" panose="020B0503020204020204" pitchFamily="34" charset="-122"/>
                  <a:ea typeface="微软雅黑" panose="020B0503020204020204" pitchFamily="34" charset="-122"/>
                  <a:cs typeface="Arial" panose="020B0604020202020204" pitchFamily="34" charset="0"/>
                </a:rPr>
                <a:t>为您节省 </a:t>
              </a:r>
              <a:r>
                <a:rPr lang="en-US" altLang="zh-CN" sz="3200" b="1" dirty="0">
                  <a:solidFill>
                    <a:srgbClr val="2F2F2F"/>
                  </a:solidFill>
                  <a:latin typeface="微软雅黑" panose="020B0503020204020204" pitchFamily="34" charset="-122"/>
                  <a:ea typeface="微软雅黑" panose="020B0503020204020204" pitchFamily="34" charset="-122"/>
                  <a:cs typeface="Arial" panose="020B0604020202020204" pitchFamily="34" charset="0"/>
                </a:rPr>
                <a:t>90% </a:t>
              </a:r>
              <a:r>
                <a:rPr lang="zh-CN" altLang="en-US" sz="3200" b="1" dirty="0">
                  <a:solidFill>
                    <a:srgbClr val="2F2F2F"/>
                  </a:solidFill>
                  <a:latin typeface="微软雅黑" panose="020B0503020204020204" pitchFamily="34" charset="-122"/>
                  <a:ea typeface="微软雅黑" panose="020B0503020204020204" pitchFamily="34" charset="-122"/>
                  <a:cs typeface="Arial" panose="020B0604020202020204" pitchFamily="34" charset="0"/>
                </a:rPr>
                <a:t>的 </a:t>
              </a:r>
              <a:r>
                <a:rPr lang="en-US" altLang="zh-CN" sz="3200" b="1" dirty="0">
                  <a:solidFill>
                    <a:srgbClr val="2F2F2F"/>
                  </a:solidFill>
                  <a:latin typeface="微软雅黑" panose="020B0503020204020204" pitchFamily="34" charset="-122"/>
                  <a:ea typeface="微软雅黑" panose="020B0503020204020204" pitchFamily="34" charset="-122"/>
                  <a:cs typeface="Arial" panose="020B0604020202020204" pitchFamily="34" charset="0"/>
                </a:rPr>
                <a:t>PPT </a:t>
              </a:r>
              <a:r>
                <a:rPr lang="zh-CN" altLang="en-US" sz="3200" b="1" dirty="0">
                  <a:solidFill>
                    <a:srgbClr val="2F2F2F"/>
                  </a:solidFill>
                  <a:latin typeface="微软雅黑" panose="020B0503020204020204" pitchFamily="34" charset="-122"/>
                  <a:ea typeface="微软雅黑" panose="020B0503020204020204" pitchFamily="34" charset="-122"/>
                  <a:cs typeface="Arial" panose="020B0604020202020204" pitchFamily="34" charset="0"/>
                </a:rPr>
                <a:t>设计时间</a:t>
              </a:r>
              <a:endParaRPr lang="en-US" altLang="en-US" sz="2800" dirty="0">
                <a:solidFill>
                  <a:srgbClr val="2F2F2F"/>
                </a:solidFill>
                <a:ea typeface="微软雅黑" panose="020B0503020204020204" pitchFamily="34" charset="-122"/>
                <a:cs typeface="Arial" panose="020B0604020202020204" pitchFamily="34" charset="0"/>
              </a:endParaRPr>
            </a:p>
          </p:txBody>
        </p:sp>
      </p:grpSp>
      <p:grpSp>
        <p:nvGrpSpPr>
          <p:cNvPr id="6" name="组合 5">
            <a:extLst>
              <a:ext uri="{FF2B5EF4-FFF2-40B4-BE49-F238E27FC236}">
                <a16:creationId xmlns="" xmlns:ahyp="http://schemas.microsoft.com/office/drawing/2018/hyperlinkcolor" xmlns:p14="http://schemas.microsoft.com/office/powerpoint/2010/main" xmlns:a16="http://schemas.microsoft.com/office/drawing/2014/main" id="{B20079A2-31CE-44D6-B924-1FF5F075B638}"/>
              </a:ext>
            </a:extLst>
          </p:cNvPr>
          <p:cNvGrpSpPr/>
          <p:nvPr/>
        </p:nvGrpSpPr>
        <p:grpSpPr>
          <a:xfrm>
            <a:off x="5252647" y="0"/>
            <a:ext cx="6939359" cy="6858000"/>
            <a:chOff x="5252643" y="0"/>
            <a:chExt cx="6939358" cy="6858000"/>
          </a:xfrm>
          <a:solidFill>
            <a:srgbClr val="F7F7F7"/>
          </a:solidFill>
        </p:grpSpPr>
        <p:sp>
          <p:nvSpPr>
            <p:cNvPr id="7" name="任意多边形: 形状 6">
              <a:extLst>
                <a:ext uri="{FF2B5EF4-FFF2-40B4-BE49-F238E27FC236}">
                  <a16:creationId xmlns="" xmlns:ahyp="http://schemas.microsoft.com/office/drawing/2018/hyperlinkcolor" xmlns:p14="http://schemas.microsoft.com/office/powerpoint/2010/main" xmlns:a16="http://schemas.microsoft.com/office/drawing/2014/main" id="{87027812-39ED-48F2-B846-15AF98F3E812}"/>
                </a:ext>
              </a:extLst>
            </p:cNvPr>
            <p:cNvSpPr>
              <a:spLocks/>
            </p:cNvSpPr>
            <p:nvPr/>
          </p:nvSpPr>
          <p:spPr>
            <a:xfrm rot="19800000">
              <a:off x="7350845" y="2199545"/>
              <a:ext cx="2772000" cy="2772000"/>
            </a:xfrm>
            <a:custGeom>
              <a:avLst/>
              <a:gdLst>
                <a:gd name="connsiteX0" fmla="*/ 786764 w 1905000"/>
                <a:gd name="connsiteY0" fmla="*/ 1857375 h 1866900"/>
                <a:gd name="connsiteX1" fmla="*/ 1116329 w 1905000"/>
                <a:gd name="connsiteY1" fmla="*/ 1857375 h 1866900"/>
                <a:gd name="connsiteX2" fmla="*/ 1047749 w 1905000"/>
                <a:gd name="connsiteY2" fmla="*/ 1866900 h 1866900"/>
                <a:gd name="connsiteX3" fmla="*/ 855344 w 1905000"/>
                <a:gd name="connsiteY3" fmla="*/ 1866900 h 1866900"/>
                <a:gd name="connsiteX4" fmla="*/ 786764 w 1905000"/>
                <a:gd name="connsiteY4" fmla="*/ 1857375 h 1866900"/>
                <a:gd name="connsiteX5" fmla="*/ 614362 w 1905000"/>
                <a:gd name="connsiteY5" fmla="*/ 1809750 h 1866900"/>
                <a:gd name="connsiteX6" fmla="*/ 1290637 w 1905000"/>
                <a:gd name="connsiteY6" fmla="*/ 1809750 h 1866900"/>
                <a:gd name="connsiteX7" fmla="*/ 1263967 w 1905000"/>
                <a:gd name="connsiteY7" fmla="*/ 1819275 h 1866900"/>
                <a:gd name="connsiteX8" fmla="*/ 640079 w 1905000"/>
                <a:gd name="connsiteY8" fmla="*/ 1819275 h 1866900"/>
                <a:gd name="connsiteX9" fmla="*/ 614362 w 1905000"/>
                <a:gd name="connsiteY9" fmla="*/ 1809750 h 1866900"/>
                <a:gd name="connsiteX10" fmla="*/ 509587 w 1905000"/>
                <a:gd name="connsiteY10" fmla="*/ 1762125 h 1866900"/>
                <a:gd name="connsiteX11" fmla="*/ 1396365 w 1905000"/>
                <a:gd name="connsiteY11" fmla="*/ 1762125 h 1866900"/>
                <a:gd name="connsiteX12" fmla="*/ 1377315 w 1905000"/>
                <a:gd name="connsiteY12" fmla="*/ 1771650 h 1866900"/>
                <a:gd name="connsiteX13" fmla="*/ 527685 w 1905000"/>
                <a:gd name="connsiteY13" fmla="*/ 1771650 h 1866900"/>
                <a:gd name="connsiteX14" fmla="*/ 509587 w 1905000"/>
                <a:gd name="connsiteY14" fmla="*/ 1762125 h 1866900"/>
                <a:gd name="connsiteX15" fmla="*/ 428625 w 1905000"/>
                <a:gd name="connsiteY15" fmla="*/ 1714500 h 1866900"/>
                <a:gd name="connsiteX16" fmla="*/ 1478280 w 1905000"/>
                <a:gd name="connsiteY16" fmla="*/ 1714500 h 1866900"/>
                <a:gd name="connsiteX17" fmla="*/ 1463040 w 1905000"/>
                <a:gd name="connsiteY17" fmla="*/ 1724025 h 1866900"/>
                <a:gd name="connsiteX18" fmla="*/ 443865 w 1905000"/>
                <a:gd name="connsiteY18" fmla="*/ 1724025 h 1866900"/>
                <a:gd name="connsiteX19" fmla="*/ 428625 w 1905000"/>
                <a:gd name="connsiteY19" fmla="*/ 1714500 h 1866900"/>
                <a:gd name="connsiteX20" fmla="*/ 362902 w 1905000"/>
                <a:gd name="connsiteY20" fmla="*/ 1666875 h 1866900"/>
                <a:gd name="connsiteX21" fmla="*/ 1544002 w 1905000"/>
                <a:gd name="connsiteY21" fmla="*/ 1666875 h 1866900"/>
                <a:gd name="connsiteX22" fmla="*/ 1531620 w 1905000"/>
                <a:gd name="connsiteY22" fmla="*/ 1676400 h 1866900"/>
                <a:gd name="connsiteX23" fmla="*/ 375285 w 1905000"/>
                <a:gd name="connsiteY23" fmla="*/ 1676400 h 1866900"/>
                <a:gd name="connsiteX24" fmla="*/ 362902 w 1905000"/>
                <a:gd name="connsiteY24" fmla="*/ 1666875 h 1866900"/>
                <a:gd name="connsiteX25" fmla="*/ 306705 w 1905000"/>
                <a:gd name="connsiteY25" fmla="*/ 1619250 h 1866900"/>
                <a:gd name="connsiteX26" fmla="*/ 1599247 w 1905000"/>
                <a:gd name="connsiteY26" fmla="*/ 1619250 h 1866900"/>
                <a:gd name="connsiteX27" fmla="*/ 1588770 w 1905000"/>
                <a:gd name="connsiteY27" fmla="*/ 1628775 h 1866900"/>
                <a:gd name="connsiteX28" fmla="*/ 317182 w 1905000"/>
                <a:gd name="connsiteY28" fmla="*/ 1628775 h 1866900"/>
                <a:gd name="connsiteX29" fmla="*/ 306705 w 1905000"/>
                <a:gd name="connsiteY29" fmla="*/ 1619250 h 1866900"/>
                <a:gd name="connsiteX30" fmla="*/ 258127 w 1905000"/>
                <a:gd name="connsiteY30" fmla="*/ 1571625 h 1866900"/>
                <a:gd name="connsiteX31" fmla="*/ 1646872 w 1905000"/>
                <a:gd name="connsiteY31" fmla="*/ 1571625 h 1866900"/>
                <a:gd name="connsiteX32" fmla="*/ 1637347 w 1905000"/>
                <a:gd name="connsiteY32" fmla="*/ 1581150 h 1866900"/>
                <a:gd name="connsiteX33" fmla="*/ 266699 w 1905000"/>
                <a:gd name="connsiteY33" fmla="*/ 1581150 h 1866900"/>
                <a:gd name="connsiteX34" fmla="*/ 258127 w 1905000"/>
                <a:gd name="connsiteY34" fmla="*/ 1571625 h 1866900"/>
                <a:gd name="connsiteX35" fmla="*/ 216217 w 1905000"/>
                <a:gd name="connsiteY35" fmla="*/ 1524000 h 1866900"/>
                <a:gd name="connsiteX36" fmla="*/ 1687830 w 1905000"/>
                <a:gd name="connsiteY36" fmla="*/ 1524000 h 1866900"/>
                <a:gd name="connsiteX37" fmla="*/ 1680209 w 1905000"/>
                <a:gd name="connsiteY37" fmla="*/ 1533525 h 1866900"/>
                <a:gd name="connsiteX38" fmla="*/ 223837 w 1905000"/>
                <a:gd name="connsiteY38" fmla="*/ 1533525 h 1866900"/>
                <a:gd name="connsiteX39" fmla="*/ 216217 w 1905000"/>
                <a:gd name="connsiteY39" fmla="*/ 1524000 h 1866900"/>
                <a:gd name="connsiteX40" fmla="*/ 180022 w 1905000"/>
                <a:gd name="connsiteY40" fmla="*/ 1476375 h 1866900"/>
                <a:gd name="connsiteX41" fmla="*/ 1724977 w 1905000"/>
                <a:gd name="connsiteY41" fmla="*/ 1476375 h 1866900"/>
                <a:gd name="connsiteX42" fmla="*/ 1718310 w 1905000"/>
                <a:gd name="connsiteY42" fmla="*/ 1485900 h 1866900"/>
                <a:gd name="connsiteX43" fmla="*/ 186690 w 1905000"/>
                <a:gd name="connsiteY43" fmla="*/ 1485900 h 1866900"/>
                <a:gd name="connsiteX44" fmla="*/ 180022 w 1905000"/>
                <a:gd name="connsiteY44" fmla="*/ 1476375 h 1866900"/>
                <a:gd name="connsiteX45" fmla="*/ 147637 w 1905000"/>
                <a:gd name="connsiteY45" fmla="*/ 1428750 h 1866900"/>
                <a:gd name="connsiteX46" fmla="*/ 1756410 w 1905000"/>
                <a:gd name="connsiteY46" fmla="*/ 1428750 h 1866900"/>
                <a:gd name="connsiteX47" fmla="*/ 1750695 w 1905000"/>
                <a:gd name="connsiteY47" fmla="*/ 1438275 h 1866900"/>
                <a:gd name="connsiteX48" fmla="*/ 153352 w 1905000"/>
                <a:gd name="connsiteY48" fmla="*/ 1438275 h 1866900"/>
                <a:gd name="connsiteX49" fmla="*/ 147637 w 1905000"/>
                <a:gd name="connsiteY49" fmla="*/ 1428750 h 1866900"/>
                <a:gd name="connsiteX50" fmla="*/ 119062 w 1905000"/>
                <a:gd name="connsiteY50" fmla="*/ 1381125 h 1866900"/>
                <a:gd name="connsiteX51" fmla="*/ 1785937 w 1905000"/>
                <a:gd name="connsiteY51" fmla="*/ 1381125 h 1866900"/>
                <a:gd name="connsiteX52" fmla="*/ 1780222 w 1905000"/>
                <a:gd name="connsiteY52" fmla="*/ 1390650 h 1866900"/>
                <a:gd name="connsiteX53" fmla="*/ 124777 w 1905000"/>
                <a:gd name="connsiteY53" fmla="*/ 1390650 h 1866900"/>
                <a:gd name="connsiteX54" fmla="*/ 119062 w 1905000"/>
                <a:gd name="connsiteY54" fmla="*/ 1381125 h 1866900"/>
                <a:gd name="connsiteX55" fmla="*/ 95250 w 1905000"/>
                <a:gd name="connsiteY55" fmla="*/ 1333500 h 1866900"/>
                <a:gd name="connsiteX56" fmla="*/ 1810703 w 1905000"/>
                <a:gd name="connsiteY56" fmla="*/ 1333500 h 1866900"/>
                <a:gd name="connsiteX57" fmla="*/ 1805940 w 1905000"/>
                <a:gd name="connsiteY57" fmla="*/ 1343025 h 1866900"/>
                <a:gd name="connsiteX58" fmla="*/ 100013 w 1905000"/>
                <a:gd name="connsiteY58" fmla="*/ 1343025 h 1866900"/>
                <a:gd name="connsiteX59" fmla="*/ 95250 w 1905000"/>
                <a:gd name="connsiteY59" fmla="*/ 1333500 h 1866900"/>
                <a:gd name="connsiteX60" fmla="*/ 73342 w 1905000"/>
                <a:gd name="connsiteY60" fmla="*/ 1285875 h 1866900"/>
                <a:gd name="connsiteX61" fmla="*/ 1830705 w 1905000"/>
                <a:gd name="connsiteY61" fmla="*/ 1285875 h 1866900"/>
                <a:gd name="connsiteX62" fmla="*/ 1826895 w 1905000"/>
                <a:gd name="connsiteY62" fmla="*/ 1295400 h 1866900"/>
                <a:gd name="connsiteX63" fmla="*/ 77152 w 1905000"/>
                <a:gd name="connsiteY63" fmla="*/ 1295400 h 1866900"/>
                <a:gd name="connsiteX64" fmla="*/ 73342 w 1905000"/>
                <a:gd name="connsiteY64" fmla="*/ 1285875 h 1866900"/>
                <a:gd name="connsiteX65" fmla="*/ 55245 w 1905000"/>
                <a:gd name="connsiteY65" fmla="*/ 1238250 h 1866900"/>
                <a:gd name="connsiteX66" fmla="*/ 1850708 w 1905000"/>
                <a:gd name="connsiteY66" fmla="*/ 1238250 h 1866900"/>
                <a:gd name="connsiteX67" fmla="*/ 1846898 w 1905000"/>
                <a:gd name="connsiteY67" fmla="*/ 1247775 h 1866900"/>
                <a:gd name="connsiteX68" fmla="*/ 59055 w 1905000"/>
                <a:gd name="connsiteY68" fmla="*/ 1247775 h 1866900"/>
                <a:gd name="connsiteX69" fmla="*/ 55245 w 1905000"/>
                <a:gd name="connsiteY69" fmla="*/ 1238250 h 1866900"/>
                <a:gd name="connsiteX70" fmla="*/ 40004 w 1905000"/>
                <a:gd name="connsiteY70" fmla="*/ 1190625 h 1866900"/>
                <a:gd name="connsiteX71" fmla="*/ 1865947 w 1905000"/>
                <a:gd name="connsiteY71" fmla="*/ 1190625 h 1866900"/>
                <a:gd name="connsiteX72" fmla="*/ 1863089 w 1905000"/>
                <a:gd name="connsiteY72" fmla="*/ 1200150 h 1866900"/>
                <a:gd name="connsiteX73" fmla="*/ 42862 w 1905000"/>
                <a:gd name="connsiteY73" fmla="*/ 1200150 h 1866900"/>
                <a:gd name="connsiteX74" fmla="*/ 40004 w 1905000"/>
                <a:gd name="connsiteY74" fmla="*/ 1190625 h 1866900"/>
                <a:gd name="connsiteX75" fmla="*/ 26669 w 1905000"/>
                <a:gd name="connsiteY75" fmla="*/ 1143000 h 1866900"/>
                <a:gd name="connsiteX76" fmla="*/ 1878329 w 1905000"/>
                <a:gd name="connsiteY76" fmla="*/ 1143000 h 1866900"/>
                <a:gd name="connsiteX77" fmla="*/ 1876424 w 1905000"/>
                <a:gd name="connsiteY77" fmla="*/ 1152525 h 1866900"/>
                <a:gd name="connsiteX78" fmla="*/ 29526 w 1905000"/>
                <a:gd name="connsiteY78" fmla="*/ 1152525 h 1866900"/>
                <a:gd name="connsiteX79" fmla="*/ 26669 w 1905000"/>
                <a:gd name="connsiteY79" fmla="*/ 1143000 h 1866900"/>
                <a:gd name="connsiteX80" fmla="*/ 16192 w 1905000"/>
                <a:gd name="connsiteY80" fmla="*/ 1095375 h 1866900"/>
                <a:gd name="connsiteX81" fmla="*/ 1888807 w 1905000"/>
                <a:gd name="connsiteY81" fmla="*/ 1095375 h 1866900"/>
                <a:gd name="connsiteX82" fmla="*/ 1886902 w 1905000"/>
                <a:gd name="connsiteY82" fmla="*/ 1104900 h 1866900"/>
                <a:gd name="connsiteX83" fmla="*/ 18097 w 1905000"/>
                <a:gd name="connsiteY83" fmla="*/ 1104900 h 1866900"/>
                <a:gd name="connsiteX84" fmla="*/ 16192 w 1905000"/>
                <a:gd name="connsiteY84" fmla="*/ 1095375 h 1866900"/>
                <a:gd name="connsiteX85" fmla="*/ 8572 w 1905000"/>
                <a:gd name="connsiteY85" fmla="*/ 1047750 h 1866900"/>
                <a:gd name="connsiteX86" fmla="*/ 1896427 w 1905000"/>
                <a:gd name="connsiteY86" fmla="*/ 1047750 h 1866900"/>
                <a:gd name="connsiteX87" fmla="*/ 1895475 w 1905000"/>
                <a:gd name="connsiteY87" fmla="*/ 1057275 h 1866900"/>
                <a:gd name="connsiteX88" fmla="*/ 9525 w 1905000"/>
                <a:gd name="connsiteY88" fmla="*/ 1057275 h 1866900"/>
                <a:gd name="connsiteX89" fmla="*/ 8572 w 1905000"/>
                <a:gd name="connsiteY89" fmla="*/ 1047750 h 1866900"/>
                <a:gd name="connsiteX90" fmla="*/ 3810 w 1905000"/>
                <a:gd name="connsiteY90" fmla="*/ 1000125 h 1866900"/>
                <a:gd name="connsiteX91" fmla="*/ 1902143 w 1905000"/>
                <a:gd name="connsiteY91" fmla="*/ 1000125 h 1866900"/>
                <a:gd name="connsiteX92" fmla="*/ 1901190 w 1905000"/>
                <a:gd name="connsiteY92" fmla="*/ 1009650 h 1866900"/>
                <a:gd name="connsiteX93" fmla="*/ 4762 w 1905000"/>
                <a:gd name="connsiteY93" fmla="*/ 1009650 h 1866900"/>
                <a:gd name="connsiteX94" fmla="*/ 3810 w 1905000"/>
                <a:gd name="connsiteY94" fmla="*/ 1000125 h 1866900"/>
                <a:gd name="connsiteX95" fmla="*/ 952 w 1905000"/>
                <a:gd name="connsiteY95" fmla="*/ 952500 h 1866900"/>
                <a:gd name="connsiteX96" fmla="*/ 1904047 w 1905000"/>
                <a:gd name="connsiteY96" fmla="*/ 952500 h 1866900"/>
                <a:gd name="connsiteX97" fmla="*/ 1904047 w 1905000"/>
                <a:gd name="connsiteY97" fmla="*/ 962025 h 1866900"/>
                <a:gd name="connsiteX98" fmla="*/ 952 w 1905000"/>
                <a:gd name="connsiteY98" fmla="*/ 962025 h 1866900"/>
                <a:gd name="connsiteX99" fmla="*/ 952 w 1905000"/>
                <a:gd name="connsiteY99" fmla="*/ 952500 h 1866900"/>
                <a:gd name="connsiteX100" fmla="*/ 0 w 1905000"/>
                <a:gd name="connsiteY100" fmla="*/ 904875 h 1866900"/>
                <a:gd name="connsiteX101" fmla="*/ 1905000 w 1905000"/>
                <a:gd name="connsiteY101" fmla="*/ 904875 h 1866900"/>
                <a:gd name="connsiteX102" fmla="*/ 1905000 w 1905000"/>
                <a:gd name="connsiteY102" fmla="*/ 914400 h 1866900"/>
                <a:gd name="connsiteX103" fmla="*/ 0 w 1905000"/>
                <a:gd name="connsiteY103" fmla="*/ 914400 h 1866900"/>
                <a:gd name="connsiteX104" fmla="*/ 0 w 1905000"/>
                <a:gd name="connsiteY104" fmla="*/ 904875 h 1866900"/>
                <a:gd name="connsiteX105" fmla="*/ 1905 w 1905000"/>
                <a:gd name="connsiteY105" fmla="*/ 857250 h 1866900"/>
                <a:gd name="connsiteX106" fmla="*/ 1902142 w 1905000"/>
                <a:gd name="connsiteY106" fmla="*/ 857250 h 1866900"/>
                <a:gd name="connsiteX107" fmla="*/ 1903095 w 1905000"/>
                <a:gd name="connsiteY107" fmla="*/ 866775 h 1866900"/>
                <a:gd name="connsiteX108" fmla="*/ 952 w 1905000"/>
                <a:gd name="connsiteY108" fmla="*/ 866775 h 1866900"/>
                <a:gd name="connsiteX109" fmla="*/ 1905 w 1905000"/>
                <a:gd name="connsiteY109" fmla="*/ 857250 h 1866900"/>
                <a:gd name="connsiteX110" fmla="*/ 6667 w 1905000"/>
                <a:gd name="connsiteY110" fmla="*/ 809625 h 1866900"/>
                <a:gd name="connsiteX111" fmla="*/ 1899285 w 1905000"/>
                <a:gd name="connsiteY111" fmla="*/ 809625 h 1866900"/>
                <a:gd name="connsiteX112" fmla="*/ 1900238 w 1905000"/>
                <a:gd name="connsiteY112" fmla="*/ 819150 h 1866900"/>
                <a:gd name="connsiteX113" fmla="*/ 5715 w 1905000"/>
                <a:gd name="connsiteY113" fmla="*/ 819150 h 1866900"/>
                <a:gd name="connsiteX114" fmla="*/ 6667 w 1905000"/>
                <a:gd name="connsiteY114" fmla="*/ 809625 h 1866900"/>
                <a:gd name="connsiteX115" fmla="*/ 13335 w 1905000"/>
                <a:gd name="connsiteY115" fmla="*/ 762000 h 1866900"/>
                <a:gd name="connsiteX116" fmla="*/ 1891665 w 1905000"/>
                <a:gd name="connsiteY116" fmla="*/ 762000 h 1866900"/>
                <a:gd name="connsiteX117" fmla="*/ 1893570 w 1905000"/>
                <a:gd name="connsiteY117" fmla="*/ 771525 h 1866900"/>
                <a:gd name="connsiteX118" fmla="*/ 11430 w 1905000"/>
                <a:gd name="connsiteY118" fmla="*/ 771525 h 1866900"/>
                <a:gd name="connsiteX119" fmla="*/ 13335 w 1905000"/>
                <a:gd name="connsiteY119" fmla="*/ 762000 h 1866900"/>
                <a:gd name="connsiteX120" fmla="*/ 21907 w 1905000"/>
                <a:gd name="connsiteY120" fmla="*/ 714375 h 1866900"/>
                <a:gd name="connsiteX121" fmla="*/ 1883092 w 1905000"/>
                <a:gd name="connsiteY121" fmla="*/ 714375 h 1866900"/>
                <a:gd name="connsiteX122" fmla="*/ 1884997 w 1905000"/>
                <a:gd name="connsiteY122" fmla="*/ 723900 h 1866900"/>
                <a:gd name="connsiteX123" fmla="*/ 20002 w 1905000"/>
                <a:gd name="connsiteY123" fmla="*/ 723900 h 1866900"/>
                <a:gd name="connsiteX124" fmla="*/ 21907 w 1905000"/>
                <a:gd name="connsiteY124" fmla="*/ 714375 h 1866900"/>
                <a:gd name="connsiteX125" fmla="*/ 34289 w 1905000"/>
                <a:gd name="connsiteY125" fmla="*/ 666750 h 1866900"/>
                <a:gd name="connsiteX126" fmla="*/ 1870710 w 1905000"/>
                <a:gd name="connsiteY126" fmla="*/ 666750 h 1866900"/>
                <a:gd name="connsiteX127" fmla="*/ 1873567 w 1905000"/>
                <a:gd name="connsiteY127" fmla="*/ 676275 h 1866900"/>
                <a:gd name="connsiteX128" fmla="*/ 31432 w 1905000"/>
                <a:gd name="connsiteY128" fmla="*/ 676275 h 1866900"/>
                <a:gd name="connsiteX129" fmla="*/ 34289 w 1905000"/>
                <a:gd name="connsiteY129" fmla="*/ 666750 h 1866900"/>
                <a:gd name="connsiteX130" fmla="*/ 48577 w 1905000"/>
                <a:gd name="connsiteY130" fmla="*/ 619125 h 1866900"/>
                <a:gd name="connsiteX131" fmla="*/ 1857375 w 1905000"/>
                <a:gd name="connsiteY131" fmla="*/ 619125 h 1866900"/>
                <a:gd name="connsiteX132" fmla="*/ 1860233 w 1905000"/>
                <a:gd name="connsiteY132" fmla="*/ 628650 h 1866900"/>
                <a:gd name="connsiteX133" fmla="*/ 45720 w 1905000"/>
                <a:gd name="connsiteY133" fmla="*/ 628650 h 1866900"/>
                <a:gd name="connsiteX134" fmla="*/ 48577 w 1905000"/>
                <a:gd name="connsiteY134" fmla="*/ 619125 h 1866900"/>
                <a:gd name="connsiteX135" fmla="*/ 65722 w 1905000"/>
                <a:gd name="connsiteY135" fmla="*/ 571500 h 1866900"/>
                <a:gd name="connsiteX136" fmla="*/ 1839277 w 1905000"/>
                <a:gd name="connsiteY136" fmla="*/ 571500 h 1866900"/>
                <a:gd name="connsiteX137" fmla="*/ 1843087 w 1905000"/>
                <a:gd name="connsiteY137" fmla="*/ 581025 h 1866900"/>
                <a:gd name="connsiteX138" fmla="*/ 61912 w 1905000"/>
                <a:gd name="connsiteY138" fmla="*/ 581025 h 1866900"/>
                <a:gd name="connsiteX139" fmla="*/ 65722 w 1905000"/>
                <a:gd name="connsiteY139" fmla="*/ 571500 h 1866900"/>
                <a:gd name="connsiteX140" fmla="*/ 85725 w 1905000"/>
                <a:gd name="connsiteY140" fmla="*/ 523875 h 1866900"/>
                <a:gd name="connsiteX141" fmla="*/ 1819275 w 1905000"/>
                <a:gd name="connsiteY141" fmla="*/ 523875 h 1866900"/>
                <a:gd name="connsiteX142" fmla="*/ 1823085 w 1905000"/>
                <a:gd name="connsiteY142" fmla="*/ 533400 h 1866900"/>
                <a:gd name="connsiteX143" fmla="*/ 80962 w 1905000"/>
                <a:gd name="connsiteY143" fmla="*/ 533400 h 1866900"/>
                <a:gd name="connsiteX144" fmla="*/ 85725 w 1905000"/>
                <a:gd name="connsiteY144" fmla="*/ 523875 h 1866900"/>
                <a:gd name="connsiteX145" fmla="*/ 109538 w 1905000"/>
                <a:gd name="connsiteY145" fmla="*/ 476250 h 1866900"/>
                <a:gd name="connsiteX146" fmla="*/ 1796415 w 1905000"/>
                <a:gd name="connsiteY146" fmla="*/ 476250 h 1866900"/>
                <a:gd name="connsiteX147" fmla="*/ 1801178 w 1905000"/>
                <a:gd name="connsiteY147" fmla="*/ 485775 h 1866900"/>
                <a:gd name="connsiteX148" fmla="*/ 104775 w 1905000"/>
                <a:gd name="connsiteY148" fmla="*/ 485775 h 1866900"/>
                <a:gd name="connsiteX149" fmla="*/ 109538 w 1905000"/>
                <a:gd name="connsiteY149" fmla="*/ 476250 h 1866900"/>
                <a:gd name="connsiteX150" fmla="*/ 136207 w 1905000"/>
                <a:gd name="connsiteY150" fmla="*/ 428625 h 1866900"/>
                <a:gd name="connsiteX151" fmla="*/ 1768792 w 1905000"/>
                <a:gd name="connsiteY151" fmla="*/ 428625 h 1866900"/>
                <a:gd name="connsiteX152" fmla="*/ 1774507 w 1905000"/>
                <a:gd name="connsiteY152" fmla="*/ 438150 h 1866900"/>
                <a:gd name="connsiteX153" fmla="*/ 130492 w 1905000"/>
                <a:gd name="connsiteY153" fmla="*/ 438150 h 1866900"/>
                <a:gd name="connsiteX154" fmla="*/ 136207 w 1905000"/>
                <a:gd name="connsiteY154" fmla="*/ 428625 h 1866900"/>
                <a:gd name="connsiteX155" fmla="*/ 166687 w 1905000"/>
                <a:gd name="connsiteY155" fmla="*/ 381000 h 1866900"/>
                <a:gd name="connsiteX156" fmla="*/ 1738312 w 1905000"/>
                <a:gd name="connsiteY156" fmla="*/ 381000 h 1866900"/>
                <a:gd name="connsiteX157" fmla="*/ 1744979 w 1905000"/>
                <a:gd name="connsiteY157" fmla="*/ 390525 h 1866900"/>
                <a:gd name="connsiteX158" fmla="*/ 160019 w 1905000"/>
                <a:gd name="connsiteY158" fmla="*/ 390525 h 1866900"/>
                <a:gd name="connsiteX159" fmla="*/ 166687 w 1905000"/>
                <a:gd name="connsiteY159" fmla="*/ 381000 h 1866900"/>
                <a:gd name="connsiteX160" fmla="*/ 201929 w 1905000"/>
                <a:gd name="connsiteY160" fmla="*/ 333375 h 1866900"/>
                <a:gd name="connsiteX161" fmla="*/ 1704022 w 1905000"/>
                <a:gd name="connsiteY161" fmla="*/ 333375 h 1866900"/>
                <a:gd name="connsiteX162" fmla="*/ 1711642 w 1905000"/>
                <a:gd name="connsiteY162" fmla="*/ 342900 h 1866900"/>
                <a:gd name="connsiteX163" fmla="*/ 194309 w 1905000"/>
                <a:gd name="connsiteY163" fmla="*/ 342900 h 1866900"/>
                <a:gd name="connsiteX164" fmla="*/ 201929 w 1905000"/>
                <a:gd name="connsiteY164" fmla="*/ 333375 h 1866900"/>
                <a:gd name="connsiteX165" fmla="*/ 240981 w 1905000"/>
                <a:gd name="connsiteY165" fmla="*/ 285750 h 1866900"/>
                <a:gd name="connsiteX166" fmla="*/ 1664017 w 1905000"/>
                <a:gd name="connsiteY166" fmla="*/ 285750 h 1866900"/>
                <a:gd name="connsiteX167" fmla="*/ 1672589 w 1905000"/>
                <a:gd name="connsiteY167" fmla="*/ 295275 h 1866900"/>
                <a:gd name="connsiteX168" fmla="*/ 232409 w 1905000"/>
                <a:gd name="connsiteY168" fmla="*/ 295275 h 1866900"/>
                <a:gd name="connsiteX169" fmla="*/ 240981 w 1905000"/>
                <a:gd name="connsiteY169" fmla="*/ 285750 h 1866900"/>
                <a:gd name="connsiteX170" fmla="*/ 286702 w 1905000"/>
                <a:gd name="connsiteY170" fmla="*/ 238125 h 1866900"/>
                <a:gd name="connsiteX171" fmla="*/ 1619250 w 1905000"/>
                <a:gd name="connsiteY171" fmla="*/ 238125 h 1866900"/>
                <a:gd name="connsiteX172" fmla="*/ 1628775 w 1905000"/>
                <a:gd name="connsiteY172" fmla="*/ 247650 h 1866900"/>
                <a:gd name="connsiteX173" fmla="*/ 277177 w 1905000"/>
                <a:gd name="connsiteY173" fmla="*/ 247650 h 1866900"/>
                <a:gd name="connsiteX174" fmla="*/ 286702 w 1905000"/>
                <a:gd name="connsiteY174" fmla="*/ 238125 h 1866900"/>
                <a:gd name="connsiteX175" fmla="*/ 339090 w 1905000"/>
                <a:gd name="connsiteY175" fmla="*/ 190500 h 1866900"/>
                <a:gd name="connsiteX176" fmla="*/ 1565910 w 1905000"/>
                <a:gd name="connsiteY176" fmla="*/ 190500 h 1866900"/>
                <a:gd name="connsiteX177" fmla="*/ 1577340 w 1905000"/>
                <a:gd name="connsiteY177" fmla="*/ 200025 h 1866900"/>
                <a:gd name="connsiteX178" fmla="*/ 327660 w 1905000"/>
                <a:gd name="connsiteY178" fmla="*/ 200025 h 1866900"/>
                <a:gd name="connsiteX179" fmla="*/ 339090 w 1905000"/>
                <a:gd name="connsiteY179" fmla="*/ 190500 h 1866900"/>
                <a:gd name="connsiteX180" fmla="*/ 400049 w 1905000"/>
                <a:gd name="connsiteY180" fmla="*/ 142875 h 1866900"/>
                <a:gd name="connsiteX181" fmla="*/ 1503997 w 1905000"/>
                <a:gd name="connsiteY181" fmla="*/ 142875 h 1866900"/>
                <a:gd name="connsiteX182" fmla="*/ 1517332 w 1905000"/>
                <a:gd name="connsiteY182" fmla="*/ 152400 h 1866900"/>
                <a:gd name="connsiteX183" fmla="*/ 386714 w 1905000"/>
                <a:gd name="connsiteY183" fmla="*/ 152400 h 1866900"/>
                <a:gd name="connsiteX184" fmla="*/ 400049 w 1905000"/>
                <a:gd name="connsiteY184" fmla="*/ 142875 h 1866900"/>
                <a:gd name="connsiteX185" fmla="*/ 474345 w 1905000"/>
                <a:gd name="connsiteY185" fmla="*/ 95250 h 1866900"/>
                <a:gd name="connsiteX186" fmla="*/ 1429702 w 1905000"/>
                <a:gd name="connsiteY186" fmla="*/ 95250 h 1866900"/>
                <a:gd name="connsiteX187" fmla="*/ 1445895 w 1905000"/>
                <a:gd name="connsiteY187" fmla="*/ 104775 h 1866900"/>
                <a:gd name="connsiteX188" fmla="*/ 458152 w 1905000"/>
                <a:gd name="connsiteY188" fmla="*/ 104775 h 1866900"/>
                <a:gd name="connsiteX189" fmla="*/ 474345 w 1905000"/>
                <a:gd name="connsiteY189" fmla="*/ 95250 h 1866900"/>
                <a:gd name="connsiteX190" fmla="*/ 568642 w 1905000"/>
                <a:gd name="connsiteY190" fmla="*/ 47625 h 1866900"/>
                <a:gd name="connsiteX191" fmla="*/ 1337309 w 1905000"/>
                <a:gd name="connsiteY191" fmla="*/ 47625 h 1866900"/>
                <a:gd name="connsiteX192" fmla="*/ 1358265 w 1905000"/>
                <a:gd name="connsiteY192" fmla="*/ 57150 h 1866900"/>
                <a:gd name="connsiteX193" fmla="*/ 547687 w 1905000"/>
                <a:gd name="connsiteY193" fmla="*/ 57150 h 1866900"/>
                <a:gd name="connsiteX194" fmla="*/ 568642 w 1905000"/>
                <a:gd name="connsiteY194" fmla="*/ 47625 h 1866900"/>
                <a:gd name="connsiteX195" fmla="*/ 702945 w 1905000"/>
                <a:gd name="connsiteY195" fmla="*/ 0 h 1866900"/>
                <a:gd name="connsiteX196" fmla="*/ 1203960 w 1905000"/>
                <a:gd name="connsiteY196" fmla="*/ 0 h 1866900"/>
                <a:gd name="connsiteX197" fmla="*/ 1236345 w 1905000"/>
                <a:gd name="connsiteY197" fmla="*/ 9525 h 1866900"/>
                <a:gd name="connsiteX198" fmla="*/ 670560 w 1905000"/>
                <a:gd name="connsiteY198" fmla="*/ 9525 h 1866900"/>
                <a:gd name="connsiteX199" fmla="*/ 702945 w 1905000"/>
                <a:gd name="connsiteY199" fmla="*/ 0 h 1866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Lst>
              <a:rect l="l" t="t" r="r" b="b"/>
              <a:pathLst>
                <a:path w="1905000" h="1866900">
                  <a:moveTo>
                    <a:pt x="786764" y="1857375"/>
                  </a:moveTo>
                  <a:lnTo>
                    <a:pt x="1116329" y="1857375"/>
                  </a:lnTo>
                  <a:cubicBezTo>
                    <a:pt x="1093469" y="1861185"/>
                    <a:pt x="1070609" y="1864995"/>
                    <a:pt x="1047749" y="1866900"/>
                  </a:cubicBezTo>
                  <a:lnTo>
                    <a:pt x="855344" y="1866900"/>
                  </a:lnTo>
                  <a:cubicBezTo>
                    <a:pt x="832484" y="1864995"/>
                    <a:pt x="809624" y="1861185"/>
                    <a:pt x="786764" y="1857375"/>
                  </a:cubicBezTo>
                  <a:close/>
                  <a:moveTo>
                    <a:pt x="614362" y="1809750"/>
                  </a:moveTo>
                  <a:lnTo>
                    <a:pt x="1290637" y="1809750"/>
                  </a:lnTo>
                  <a:cubicBezTo>
                    <a:pt x="1281112" y="1812608"/>
                    <a:pt x="1272540" y="1816417"/>
                    <a:pt x="1263967" y="1819275"/>
                  </a:cubicBezTo>
                  <a:lnTo>
                    <a:pt x="640079" y="1819275"/>
                  </a:lnTo>
                  <a:cubicBezTo>
                    <a:pt x="631507" y="1816417"/>
                    <a:pt x="622935" y="1812608"/>
                    <a:pt x="614362" y="1809750"/>
                  </a:cubicBezTo>
                  <a:close/>
                  <a:moveTo>
                    <a:pt x="509587" y="1762125"/>
                  </a:moveTo>
                  <a:lnTo>
                    <a:pt x="1396365" y="1762125"/>
                  </a:lnTo>
                  <a:cubicBezTo>
                    <a:pt x="1389697" y="1764983"/>
                    <a:pt x="1383982" y="1768792"/>
                    <a:pt x="1377315" y="1771650"/>
                  </a:cubicBezTo>
                  <a:lnTo>
                    <a:pt x="527685" y="1771650"/>
                  </a:lnTo>
                  <a:cubicBezTo>
                    <a:pt x="521969" y="1768792"/>
                    <a:pt x="515302" y="1764983"/>
                    <a:pt x="509587" y="1762125"/>
                  </a:cubicBezTo>
                  <a:close/>
                  <a:moveTo>
                    <a:pt x="428625" y="1714500"/>
                  </a:moveTo>
                  <a:lnTo>
                    <a:pt x="1478280" y="1714500"/>
                  </a:lnTo>
                  <a:cubicBezTo>
                    <a:pt x="1472565" y="1717358"/>
                    <a:pt x="1467803" y="1721167"/>
                    <a:pt x="1463040" y="1724025"/>
                  </a:cubicBezTo>
                  <a:lnTo>
                    <a:pt x="443865" y="1724025"/>
                  </a:lnTo>
                  <a:cubicBezTo>
                    <a:pt x="438150" y="1721167"/>
                    <a:pt x="433388" y="1717358"/>
                    <a:pt x="428625" y="1714500"/>
                  </a:cubicBezTo>
                  <a:close/>
                  <a:moveTo>
                    <a:pt x="362902" y="1666875"/>
                  </a:moveTo>
                  <a:lnTo>
                    <a:pt x="1544002" y="1666875"/>
                  </a:lnTo>
                  <a:cubicBezTo>
                    <a:pt x="1540192" y="1669733"/>
                    <a:pt x="1535430" y="1673542"/>
                    <a:pt x="1531620" y="1676400"/>
                  </a:cubicBezTo>
                  <a:lnTo>
                    <a:pt x="375285" y="1676400"/>
                  </a:lnTo>
                  <a:cubicBezTo>
                    <a:pt x="370522" y="1673542"/>
                    <a:pt x="366712" y="1669733"/>
                    <a:pt x="362902" y="1666875"/>
                  </a:cubicBezTo>
                  <a:close/>
                  <a:moveTo>
                    <a:pt x="306705" y="1619250"/>
                  </a:moveTo>
                  <a:lnTo>
                    <a:pt x="1599247" y="1619250"/>
                  </a:lnTo>
                  <a:cubicBezTo>
                    <a:pt x="1595438" y="1622108"/>
                    <a:pt x="1592580" y="1625917"/>
                    <a:pt x="1588770" y="1628775"/>
                  </a:cubicBezTo>
                  <a:lnTo>
                    <a:pt x="317182" y="1628775"/>
                  </a:lnTo>
                  <a:cubicBezTo>
                    <a:pt x="313373" y="1625917"/>
                    <a:pt x="310515" y="1622108"/>
                    <a:pt x="306705" y="1619250"/>
                  </a:cubicBezTo>
                  <a:close/>
                  <a:moveTo>
                    <a:pt x="258127" y="1571625"/>
                  </a:moveTo>
                  <a:lnTo>
                    <a:pt x="1646872" y="1571625"/>
                  </a:lnTo>
                  <a:cubicBezTo>
                    <a:pt x="1643062" y="1574483"/>
                    <a:pt x="1640205" y="1578292"/>
                    <a:pt x="1637347" y="1581150"/>
                  </a:cubicBezTo>
                  <a:lnTo>
                    <a:pt x="266699" y="1581150"/>
                  </a:lnTo>
                  <a:cubicBezTo>
                    <a:pt x="263842" y="1578292"/>
                    <a:pt x="260984" y="1574483"/>
                    <a:pt x="258127" y="1571625"/>
                  </a:cubicBezTo>
                  <a:close/>
                  <a:moveTo>
                    <a:pt x="216217" y="1524000"/>
                  </a:moveTo>
                  <a:lnTo>
                    <a:pt x="1687830" y="1524000"/>
                  </a:lnTo>
                  <a:cubicBezTo>
                    <a:pt x="1684972" y="1526858"/>
                    <a:pt x="1683067" y="1530667"/>
                    <a:pt x="1680209" y="1533525"/>
                  </a:cubicBezTo>
                  <a:lnTo>
                    <a:pt x="223837" y="1533525"/>
                  </a:lnTo>
                  <a:cubicBezTo>
                    <a:pt x="221932" y="1530667"/>
                    <a:pt x="219074" y="1526858"/>
                    <a:pt x="216217" y="1524000"/>
                  </a:cubicBezTo>
                  <a:close/>
                  <a:moveTo>
                    <a:pt x="180022" y="1476375"/>
                  </a:moveTo>
                  <a:lnTo>
                    <a:pt x="1724977" y="1476375"/>
                  </a:lnTo>
                  <a:cubicBezTo>
                    <a:pt x="1723072" y="1479233"/>
                    <a:pt x="1720215" y="1483042"/>
                    <a:pt x="1718310" y="1485900"/>
                  </a:cubicBezTo>
                  <a:lnTo>
                    <a:pt x="186690" y="1485900"/>
                  </a:lnTo>
                  <a:cubicBezTo>
                    <a:pt x="184785" y="1483042"/>
                    <a:pt x="181927" y="1479233"/>
                    <a:pt x="180022" y="1476375"/>
                  </a:cubicBezTo>
                  <a:close/>
                  <a:moveTo>
                    <a:pt x="147637" y="1428750"/>
                  </a:moveTo>
                  <a:lnTo>
                    <a:pt x="1756410" y="1428750"/>
                  </a:lnTo>
                  <a:cubicBezTo>
                    <a:pt x="1754505" y="1431608"/>
                    <a:pt x="1752600" y="1435417"/>
                    <a:pt x="1750695" y="1438275"/>
                  </a:cubicBezTo>
                  <a:lnTo>
                    <a:pt x="153352" y="1438275"/>
                  </a:lnTo>
                  <a:cubicBezTo>
                    <a:pt x="151447" y="1435417"/>
                    <a:pt x="149542" y="1431608"/>
                    <a:pt x="147637" y="1428750"/>
                  </a:cubicBezTo>
                  <a:close/>
                  <a:moveTo>
                    <a:pt x="119062" y="1381125"/>
                  </a:moveTo>
                  <a:lnTo>
                    <a:pt x="1785937" y="1381125"/>
                  </a:lnTo>
                  <a:cubicBezTo>
                    <a:pt x="1784032" y="1383983"/>
                    <a:pt x="1782127" y="1387792"/>
                    <a:pt x="1780222" y="1390650"/>
                  </a:cubicBezTo>
                  <a:lnTo>
                    <a:pt x="124777" y="1390650"/>
                  </a:lnTo>
                  <a:cubicBezTo>
                    <a:pt x="122872" y="1387792"/>
                    <a:pt x="120967" y="1383983"/>
                    <a:pt x="119062" y="1381125"/>
                  </a:cubicBezTo>
                  <a:close/>
                  <a:moveTo>
                    <a:pt x="95250" y="1333500"/>
                  </a:moveTo>
                  <a:lnTo>
                    <a:pt x="1810703" y="1333500"/>
                  </a:lnTo>
                  <a:cubicBezTo>
                    <a:pt x="1808798" y="1336358"/>
                    <a:pt x="1807845" y="1340167"/>
                    <a:pt x="1805940" y="1343025"/>
                  </a:cubicBezTo>
                  <a:lnTo>
                    <a:pt x="100013" y="1343025"/>
                  </a:lnTo>
                  <a:cubicBezTo>
                    <a:pt x="98108" y="1340167"/>
                    <a:pt x="97155" y="1336358"/>
                    <a:pt x="95250" y="1333500"/>
                  </a:cubicBezTo>
                  <a:close/>
                  <a:moveTo>
                    <a:pt x="73342" y="1285875"/>
                  </a:moveTo>
                  <a:lnTo>
                    <a:pt x="1830705" y="1285875"/>
                  </a:lnTo>
                  <a:cubicBezTo>
                    <a:pt x="1829752" y="1288733"/>
                    <a:pt x="1827847" y="1292542"/>
                    <a:pt x="1826895" y="1295400"/>
                  </a:cubicBezTo>
                  <a:lnTo>
                    <a:pt x="77152" y="1295400"/>
                  </a:lnTo>
                  <a:cubicBezTo>
                    <a:pt x="76200" y="1292542"/>
                    <a:pt x="74295" y="1288733"/>
                    <a:pt x="73342" y="1285875"/>
                  </a:cubicBezTo>
                  <a:close/>
                  <a:moveTo>
                    <a:pt x="55245" y="1238250"/>
                  </a:moveTo>
                  <a:lnTo>
                    <a:pt x="1850708" y="1238250"/>
                  </a:lnTo>
                  <a:cubicBezTo>
                    <a:pt x="1848803" y="1241108"/>
                    <a:pt x="1847850" y="1244917"/>
                    <a:pt x="1846898" y="1247775"/>
                  </a:cubicBezTo>
                  <a:lnTo>
                    <a:pt x="59055" y="1247775"/>
                  </a:lnTo>
                  <a:cubicBezTo>
                    <a:pt x="57150" y="1244917"/>
                    <a:pt x="56197" y="1241108"/>
                    <a:pt x="55245" y="1238250"/>
                  </a:cubicBezTo>
                  <a:close/>
                  <a:moveTo>
                    <a:pt x="40004" y="1190625"/>
                  </a:moveTo>
                  <a:lnTo>
                    <a:pt x="1865947" y="1190625"/>
                  </a:lnTo>
                  <a:cubicBezTo>
                    <a:pt x="1864994" y="1193483"/>
                    <a:pt x="1864042" y="1197292"/>
                    <a:pt x="1863089" y="1200150"/>
                  </a:cubicBezTo>
                  <a:lnTo>
                    <a:pt x="42862" y="1200150"/>
                  </a:lnTo>
                  <a:cubicBezTo>
                    <a:pt x="41909" y="1197292"/>
                    <a:pt x="40957" y="1193483"/>
                    <a:pt x="40004" y="1190625"/>
                  </a:cubicBezTo>
                  <a:close/>
                  <a:moveTo>
                    <a:pt x="26669" y="1143000"/>
                  </a:moveTo>
                  <a:lnTo>
                    <a:pt x="1878329" y="1143000"/>
                  </a:lnTo>
                  <a:cubicBezTo>
                    <a:pt x="1878329" y="1145858"/>
                    <a:pt x="1877377" y="1149667"/>
                    <a:pt x="1876424" y="1152525"/>
                  </a:cubicBezTo>
                  <a:lnTo>
                    <a:pt x="29526" y="1152525"/>
                  </a:lnTo>
                  <a:cubicBezTo>
                    <a:pt x="28574" y="1149667"/>
                    <a:pt x="27622" y="1145858"/>
                    <a:pt x="26669" y="1143000"/>
                  </a:cubicBezTo>
                  <a:close/>
                  <a:moveTo>
                    <a:pt x="16192" y="1095375"/>
                  </a:moveTo>
                  <a:lnTo>
                    <a:pt x="1888807" y="1095375"/>
                  </a:lnTo>
                  <a:cubicBezTo>
                    <a:pt x="1887855" y="1098233"/>
                    <a:pt x="1887855" y="1102042"/>
                    <a:pt x="1886902" y="1104900"/>
                  </a:cubicBezTo>
                  <a:lnTo>
                    <a:pt x="18097" y="1104900"/>
                  </a:lnTo>
                  <a:cubicBezTo>
                    <a:pt x="17144" y="1102042"/>
                    <a:pt x="17144" y="1098233"/>
                    <a:pt x="16192" y="1095375"/>
                  </a:cubicBezTo>
                  <a:close/>
                  <a:moveTo>
                    <a:pt x="8572" y="1047750"/>
                  </a:moveTo>
                  <a:lnTo>
                    <a:pt x="1896427" y="1047750"/>
                  </a:lnTo>
                  <a:cubicBezTo>
                    <a:pt x="1896427" y="1050608"/>
                    <a:pt x="1895475" y="1054417"/>
                    <a:pt x="1895475" y="1057275"/>
                  </a:cubicBezTo>
                  <a:lnTo>
                    <a:pt x="9525" y="1057275"/>
                  </a:lnTo>
                  <a:cubicBezTo>
                    <a:pt x="9525" y="1054417"/>
                    <a:pt x="8572" y="1050608"/>
                    <a:pt x="8572" y="1047750"/>
                  </a:cubicBezTo>
                  <a:close/>
                  <a:moveTo>
                    <a:pt x="3810" y="1000125"/>
                  </a:moveTo>
                  <a:lnTo>
                    <a:pt x="1902143" y="1000125"/>
                  </a:lnTo>
                  <a:cubicBezTo>
                    <a:pt x="1902143" y="1002983"/>
                    <a:pt x="1901190" y="1006792"/>
                    <a:pt x="1901190" y="1009650"/>
                  </a:cubicBezTo>
                  <a:lnTo>
                    <a:pt x="4762" y="1009650"/>
                  </a:lnTo>
                  <a:cubicBezTo>
                    <a:pt x="4762" y="1006792"/>
                    <a:pt x="3810" y="1002983"/>
                    <a:pt x="3810" y="1000125"/>
                  </a:cubicBezTo>
                  <a:close/>
                  <a:moveTo>
                    <a:pt x="952" y="952500"/>
                  </a:moveTo>
                  <a:lnTo>
                    <a:pt x="1904047" y="952500"/>
                  </a:lnTo>
                  <a:cubicBezTo>
                    <a:pt x="1904047" y="955358"/>
                    <a:pt x="1904047" y="959167"/>
                    <a:pt x="1904047" y="962025"/>
                  </a:cubicBezTo>
                  <a:lnTo>
                    <a:pt x="952" y="962025"/>
                  </a:lnTo>
                  <a:cubicBezTo>
                    <a:pt x="952" y="959167"/>
                    <a:pt x="952" y="955358"/>
                    <a:pt x="952" y="952500"/>
                  </a:cubicBezTo>
                  <a:close/>
                  <a:moveTo>
                    <a:pt x="0" y="904875"/>
                  </a:moveTo>
                  <a:lnTo>
                    <a:pt x="1905000" y="904875"/>
                  </a:lnTo>
                  <a:cubicBezTo>
                    <a:pt x="1905000" y="907733"/>
                    <a:pt x="1905000" y="911542"/>
                    <a:pt x="1905000" y="914400"/>
                  </a:cubicBezTo>
                  <a:lnTo>
                    <a:pt x="0" y="914400"/>
                  </a:lnTo>
                  <a:cubicBezTo>
                    <a:pt x="0" y="911542"/>
                    <a:pt x="0" y="907733"/>
                    <a:pt x="0" y="904875"/>
                  </a:cubicBezTo>
                  <a:close/>
                  <a:moveTo>
                    <a:pt x="1905" y="857250"/>
                  </a:moveTo>
                  <a:lnTo>
                    <a:pt x="1902142" y="857250"/>
                  </a:lnTo>
                  <a:cubicBezTo>
                    <a:pt x="1903095" y="860108"/>
                    <a:pt x="1903095" y="863917"/>
                    <a:pt x="1903095" y="866775"/>
                  </a:cubicBezTo>
                  <a:lnTo>
                    <a:pt x="952" y="866775"/>
                  </a:lnTo>
                  <a:cubicBezTo>
                    <a:pt x="1905" y="863917"/>
                    <a:pt x="1905" y="860108"/>
                    <a:pt x="1905" y="857250"/>
                  </a:cubicBezTo>
                  <a:close/>
                  <a:moveTo>
                    <a:pt x="6667" y="809625"/>
                  </a:moveTo>
                  <a:lnTo>
                    <a:pt x="1899285" y="809625"/>
                  </a:lnTo>
                  <a:cubicBezTo>
                    <a:pt x="1899285" y="812483"/>
                    <a:pt x="1900238" y="816292"/>
                    <a:pt x="1900238" y="819150"/>
                  </a:cubicBezTo>
                  <a:lnTo>
                    <a:pt x="5715" y="819150"/>
                  </a:lnTo>
                  <a:cubicBezTo>
                    <a:pt x="5715" y="816292"/>
                    <a:pt x="6667" y="812483"/>
                    <a:pt x="6667" y="809625"/>
                  </a:cubicBezTo>
                  <a:close/>
                  <a:moveTo>
                    <a:pt x="13335" y="762000"/>
                  </a:moveTo>
                  <a:lnTo>
                    <a:pt x="1891665" y="762000"/>
                  </a:lnTo>
                  <a:cubicBezTo>
                    <a:pt x="1892618" y="764858"/>
                    <a:pt x="1892618" y="768667"/>
                    <a:pt x="1893570" y="771525"/>
                  </a:cubicBezTo>
                  <a:lnTo>
                    <a:pt x="11430" y="771525"/>
                  </a:lnTo>
                  <a:cubicBezTo>
                    <a:pt x="12382" y="768667"/>
                    <a:pt x="12382" y="764858"/>
                    <a:pt x="13335" y="762000"/>
                  </a:cubicBezTo>
                  <a:close/>
                  <a:moveTo>
                    <a:pt x="21907" y="714375"/>
                  </a:moveTo>
                  <a:lnTo>
                    <a:pt x="1883092" y="714375"/>
                  </a:lnTo>
                  <a:cubicBezTo>
                    <a:pt x="1884045" y="717233"/>
                    <a:pt x="1884045" y="721042"/>
                    <a:pt x="1884997" y="723900"/>
                  </a:cubicBezTo>
                  <a:lnTo>
                    <a:pt x="20002" y="723900"/>
                  </a:lnTo>
                  <a:cubicBezTo>
                    <a:pt x="20955" y="721042"/>
                    <a:pt x="20955" y="717233"/>
                    <a:pt x="21907" y="714375"/>
                  </a:cubicBezTo>
                  <a:close/>
                  <a:moveTo>
                    <a:pt x="34289" y="666750"/>
                  </a:moveTo>
                  <a:lnTo>
                    <a:pt x="1870710" y="666750"/>
                  </a:lnTo>
                  <a:cubicBezTo>
                    <a:pt x="1871662" y="669608"/>
                    <a:pt x="1872615" y="673417"/>
                    <a:pt x="1873567" y="676275"/>
                  </a:cubicBezTo>
                  <a:lnTo>
                    <a:pt x="31432" y="676275"/>
                  </a:lnTo>
                  <a:cubicBezTo>
                    <a:pt x="32385" y="673417"/>
                    <a:pt x="33337" y="669608"/>
                    <a:pt x="34289" y="666750"/>
                  </a:cubicBezTo>
                  <a:close/>
                  <a:moveTo>
                    <a:pt x="48577" y="619125"/>
                  </a:moveTo>
                  <a:lnTo>
                    <a:pt x="1857375" y="619125"/>
                  </a:lnTo>
                  <a:cubicBezTo>
                    <a:pt x="1858328" y="621983"/>
                    <a:pt x="1859280" y="625792"/>
                    <a:pt x="1860233" y="628650"/>
                  </a:cubicBezTo>
                  <a:lnTo>
                    <a:pt x="45720" y="628650"/>
                  </a:lnTo>
                  <a:cubicBezTo>
                    <a:pt x="46672" y="625792"/>
                    <a:pt x="47625" y="621983"/>
                    <a:pt x="48577" y="619125"/>
                  </a:cubicBezTo>
                  <a:close/>
                  <a:moveTo>
                    <a:pt x="65722" y="571500"/>
                  </a:moveTo>
                  <a:lnTo>
                    <a:pt x="1839277" y="571500"/>
                  </a:lnTo>
                  <a:cubicBezTo>
                    <a:pt x="1840230" y="574357"/>
                    <a:pt x="1842135" y="578168"/>
                    <a:pt x="1843087" y="581025"/>
                  </a:cubicBezTo>
                  <a:lnTo>
                    <a:pt x="61912" y="581025"/>
                  </a:lnTo>
                  <a:cubicBezTo>
                    <a:pt x="62864" y="578168"/>
                    <a:pt x="64770" y="574357"/>
                    <a:pt x="65722" y="571500"/>
                  </a:cubicBezTo>
                  <a:close/>
                  <a:moveTo>
                    <a:pt x="85725" y="523875"/>
                  </a:moveTo>
                  <a:lnTo>
                    <a:pt x="1819275" y="523875"/>
                  </a:lnTo>
                  <a:cubicBezTo>
                    <a:pt x="1820227" y="526732"/>
                    <a:pt x="1822132" y="530543"/>
                    <a:pt x="1823085" y="533400"/>
                  </a:cubicBezTo>
                  <a:lnTo>
                    <a:pt x="80962" y="533400"/>
                  </a:lnTo>
                  <a:cubicBezTo>
                    <a:pt x="82867" y="530543"/>
                    <a:pt x="83820" y="526732"/>
                    <a:pt x="85725" y="523875"/>
                  </a:cubicBezTo>
                  <a:close/>
                  <a:moveTo>
                    <a:pt x="109538" y="476250"/>
                  </a:moveTo>
                  <a:lnTo>
                    <a:pt x="1796415" y="476250"/>
                  </a:lnTo>
                  <a:cubicBezTo>
                    <a:pt x="1798320" y="479107"/>
                    <a:pt x="1799273" y="482918"/>
                    <a:pt x="1801178" y="485775"/>
                  </a:cubicBezTo>
                  <a:lnTo>
                    <a:pt x="104775" y="485775"/>
                  </a:lnTo>
                  <a:cubicBezTo>
                    <a:pt x="105728" y="482918"/>
                    <a:pt x="107633" y="479107"/>
                    <a:pt x="109538" y="476250"/>
                  </a:cubicBezTo>
                  <a:close/>
                  <a:moveTo>
                    <a:pt x="136207" y="428625"/>
                  </a:moveTo>
                  <a:lnTo>
                    <a:pt x="1768792" y="428625"/>
                  </a:lnTo>
                  <a:cubicBezTo>
                    <a:pt x="1770697" y="431482"/>
                    <a:pt x="1772602" y="435293"/>
                    <a:pt x="1774507" y="438150"/>
                  </a:cubicBezTo>
                  <a:lnTo>
                    <a:pt x="130492" y="438150"/>
                  </a:lnTo>
                  <a:cubicBezTo>
                    <a:pt x="132397" y="435293"/>
                    <a:pt x="134302" y="431482"/>
                    <a:pt x="136207" y="428625"/>
                  </a:cubicBezTo>
                  <a:close/>
                  <a:moveTo>
                    <a:pt x="166687" y="381000"/>
                  </a:moveTo>
                  <a:lnTo>
                    <a:pt x="1738312" y="381000"/>
                  </a:lnTo>
                  <a:cubicBezTo>
                    <a:pt x="1741169" y="383857"/>
                    <a:pt x="1743074" y="387668"/>
                    <a:pt x="1744979" y="390525"/>
                  </a:cubicBezTo>
                  <a:lnTo>
                    <a:pt x="160019" y="390525"/>
                  </a:lnTo>
                  <a:cubicBezTo>
                    <a:pt x="162877" y="387668"/>
                    <a:pt x="164782" y="383857"/>
                    <a:pt x="166687" y="381000"/>
                  </a:cubicBezTo>
                  <a:close/>
                  <a:moveTo>
                    <a:pt x="201929" y="333375"/>
                  </a:moveTo>
                  <a:lnTo>
                    <a:pt x="1704022" y="333375"/>
                  </a:lnTo>
                  <a:cubicBezTo>
                    <a:pt x="1706879" y="336232"/>
                    <a:pt x="1708784" y="340043"/>
                    <a:pt x="1711642" y="342900"/>
                  </a:cubicBezTo>
                  <a:lnTo>
                    <a:pt x="194309" y="342900"/>
                  </a:lnTo>
                  <a:cubicBezTo>
                    <a:pt x="197167" y="340043"/>
                    <a:pt x="199072" y="336232"/>
                    <a:pt x="201929" y="333375"/>
                  </a:cubicBezTo>
                  <a:close/>
                  <a:moveTo>
                    <a:pt x="240981" y="285750"/>
                  </a:moveTo>
                  <a:lnTo>
                    <a:pt x="1664017" y="285750"/>
                  </a:lnTo>
                  <a:cubicBezTo>
                    <a:pt x="1666874" y="288607"/>
                    <a:pt x="1669732" y="292418"/>
                    <a:pt x="1672589" y="295275"/>
                  </a:cubicBezTo>
                  <a:lnTo>
                    <a:pt x="232409" y="295275"/>
                  </a:lnTo>
                  <a:cubicBezTo>
                    <a:pt x="235267" y="292418"/>
                    <a:pt x="238124" y="288607"/>
                    <a:pt x="240981" y="285750"/>
                  </a:cubicBezTo>
                  <a:close/>
                  <a:moveTo>
                    <a:pt x="286702" y="238125"/>
                  </a:moveTo>
                  <a:lnTo>
                    <a:pt x="1619250" y="238125"/>
                  </a:lnTo>
                  <a:cubicBezTo>
                    <a:pt x="1622107" y="240982"/>
                    <a:pt x="1625917" y="244793"/>
                    <a:pt x="1628775" y="247650"/>
                  </a:cubicBezTo>
                  <a:lnTo>
                    <a:pt x="277177" y="247650"/>
                  </a:lnTo>
                  <a:cubicBezTo>
                    <a:pt x="280034" y="244793"/>
                    <a:pt x="282892" y="240982"/>
                    <a:pt x="286702" y="238125"/>
                  </a:cubicBezTo>
                  <a:close/>
                  <a:moveTo>
                    <a:pt x="339090" y="190500"/>
                  </a:moveTo>
                  <a:lnTo>
                    <a:pt x="1565910" y="190500"/>
                  </a:lnTo>
                  <a:cubicBezTo>
                    <a:pt x="1569720" y="193357"/>
                    <a:pt x="1573530" y="197168"/>
                    <a:pt x="1577340" y="200025"/>
                  </a:cubicBezTo>
                  <a:lnTo>
                    <a:pt x="327660" y="200025"/>
                  </a:lnTo>
                  <a:cubicBezTo>
                    <a:pt x="331470" y="197168"/>
                    <a:pt x="335280" y="193357"/>
                    <a:pt x="339090" y="190500"/>
                  </a:cubicBezTo>
                  <a:close/>
                  <a:moveTo>
                    <a:pt x="400049" y="142875"/>
                  </a:moveTo>
                  <a:lnTo>
                    <a:pt x="1503997" y="142875"/>
                  </a:lnTo>
                  <a:cubicBezTo>
                    <a:pt x="1508759" y="145733"/>
                    <a:pt x="1512569" y="149542"/>
                    <a:pt x="1517332" y="152400"/>
                  </a:cubicBezTo>
                  <a:lnTo>
                    <a:pt x="386714" y="152400"/>
                  </a:lnTo>
                  <a:cubicBezTo>
                    <a:pt x="391477" y="149542"/>
                    <a:pt x="395287" y="145733"/>
                    <a:pt x="400049" y="142875"/>
                  </a:cubicBezTo>
                  <a:close/>
                  <a:moveTo>
                    <a:pt x="474345" y="95250"/>
                  </a:moveTo>
                  <a:lnTo>
                    <a:pt x="1429702" y="95250"/>
                  </a:lnTo>
                  <a:cubicBezTo>
                    <a:pt x="1435417" y="98108"/>
                    <a:pt x="1440180" y="101917"/>
                    <a:pt x="1445895" y="104775"/>
                  </a:cubicBezTo>
                  <a:lnTo>
                    <a:pt x="458152" y="104775"/>
                  </a:lnTo>
                  <a:cubicBezTo>
                    <a:pt x="463867" y="101917"/>
                    <a:pt x="468630" y="98108"/>
                    <a:pt x="474345" y="95250"/>
                  </a:cubicBezTo>
                  <a:close/>
                  <a:moveTo>
                    <a:pt x="568642" y="47625"/>
                  </a:moveTo>
                  <a:lnTo>
                    <a:pt x="1337309" y="47625"/>
                  </a:lnTo>
                  <a:cubicBezTo>
                    <a:pt x="1343977" y="50483"/>
                    <a:pt x="1351597" y="54292"/>
                    <a:pt x="1358265" y="57150"/>
                  </a:cubicBezTo>
                  <a:lnTo>
                    <a:pt x="547687" y="57150"/>
                  </a:lnTo>
                  <a:cubicBezTo>
                    <a:pt x="554355" y="54292"/>
                    <a:pt x="561975" y="50483"/>
                    <a:pt x="568642" y="47625"/>
                  </a:cubicBezTo>
                  <a:close/>
                  <a:moveTo>
                    <a:pt x="702945" y="0"/>
                  </a:moveTo>
                  <a:lnTo>
                    <a:pt x="1203960" y="0"/>
                  </a:lnTo>
                  <a:cubicBezTo>
                    <a:pt x="1214438" y="2858"/>
                    <a:pt x="1225867" y="5715"/>
                    <a:pt x="1236345" y="9525"/>
                  </a:cubicBezTo>
                  <a:lnTo>
                    <a:pt x="670560" y="9525"/>
                  </a:lnTo>
                  <a:cubicBezTo>
                    <a:pt x="681037" y="5715"/>
                    <a:pt x="692467" y="2858"/>
                    <a:pt x="702945" y="0"/>
                  </a:cubicBezTo>
                  <a:close/>
                </a:path>
              </a:pathLst>
            </a:custGeom>
            <a:grpFill/>
            <a:ln w="14015" cap="flat">
              <a:noFill/>
              <a:prstDash val="solid"/>
              <a:miter/>
            </a:ln>
          </p:spPr>
          <p:txBody>
            <a:bodyPr rtlCol="0" anchor="ctr"/>
            <a:lstStyle/>
            <a:p>
              <a:pPr lvl="0"/>
              <a:endParaRPr lang="zh-CN" altLang="en-US"/>
            </a:p>
          </p:txBody>
        </p:sp>
        <p:sp>
          <p:nvSpPr>
            <p:cNvPr id="8" name="任意多边形: 形状 7">
              <a:extLst>
                <a:ext uri="{FF2B5EF4-FFF2-40B4-BE49-F238E27FC236}">
                  <a16:creationId xmlns="" xmlns:ahyp="http://schemas.microsoft.com/office/drawing/2018/hyperlinkcolor" xmlns:p14="http://schemas.microsoft.com/office/powerpoint/2010/main" xmlns:a16="http://schemas.microsoft.com/office/drawing/2014/main" id="{B12EC4E2-8D6F-42F4-9502-A731433702A2}"/>
                </a:ext>
              </a:extLst>
            </p:cNvPr>
            <p:cNvSpPr/>
            <p:nvPr/>
          </p:nvSpPr>
          <p:spPr>
            <a:xfrm>
              <a:off x="9421670" y="0"/>
              <a:ext cx="2770331" cy="1398732"/>
            </a:xfrm>
            <a:custGeom>
              <a:avLst/>
              <a:gdLst>
                <a:gd name="connsiteX0" fmla="*/ 685 w 2770331"/>
                <a:gd name="connsiteY0" fmla="*/ 0 h 1398732"/>
                <a:gd name="connsiteX1" fmla="*/ 2769647 w 2770331"/>
                <a:gd name="connsiteY1" fmla="*/ 0 h 1398732"/>
                <a:gd name="connsiteX2" fmla="*/ 2770331 w 2770331"/>
                <a:gd name="connsiteY2" fmla="*/ 13546 h 1398732"/>
                <a:gd name="connsiteX3" fmla="*/ 2770331 w 2770331"/>
                <a:gd name="connsiteY3" fmla="*/ 13586 h 1398732"/>
                <a:gd name="connsiteX4" fmla="*/ 2763181 w 2770331"/>
                <a:gd name="connsiteY4" fmla="*/ 155191 h 1398732"/>
                <a:gd name="connsiteX5" fmla="*/ 1385167 w 2770331"/>
                <a:gd name="connsiteY5" fmla="*/ 1398732 h 1398732"/>
                <a:gd name="connsiteX6" fmla="*/ 0 w 2770331"/>
                <a:gd name="connsiteY6" fmla="*/ 13566 h 1398732"/>
                <a:gd name="connsiteX7" fmla="*/ 685 w 2770331"/>
                <a:gd name="connsiteY7" fmla="*/ 0 h 1398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70331" h="1398732">
                  <a:moveTo>
                    <a:pt x="685" y="0"/>
                  </a:moveTo>
                  <a:lnTo>
                    <a:pt x="2769647" y="0"/>
                  </a:lnTo>
                  <a:lnTo>
                    <a:pt x="2770331" y="13546"/>
                  </a:lnTo>
                  <a:lnTo>
                    <a:pt x="2770331" y="13586"/>
                  </a:lnTo>
                  <a:lnTo>
                    <a:pt x="2763181" y="155191"/>
                  </a:lnTo>
                  <a:cubicBezTo>
                    <a:pt x="2692246" y="853670"/>
                    <a:pt x="2102359" y="1398732"/>
                    <a:pt x="1385167" y="1398732"/>
                  </a:cubicBezTo>
                  <a:cubicBezTo>
                    <a:pt x="620160" y="1398732"/>
                    <a:pt x="0" y="778572"/>
                    <a:pt x="0" y="13566"/>
                  </a:cubicBezTo>
                  <a:lnTo>
                    <a:pt x="685" y="0"/>
                  </a:lnTo>
                  <a:close/>
                </a:path>
              </a:pathLst>
            </a:custGeom>
            <a:grpFill/>
            <a:ln w="11088" cap="flat">
              <a:noFill/>
              <a:prstDash val="solid"/>
              <a:miter/>
            </a:ln>
          </p:spPr>
          <p:txBody>
            <a:bodyPr rtlCol="0" anchor="ctr"/>
            <a:lstStyle/>
            <a:p>
              <a:pPr lvl="0"/>
              <a:endParaRPr lang="zh-CN" altLang="en-US"/>
            </a:p>
          </p:txBody>
        </p:sp>
        <p:sp>
          <p:nvSpPr>
            <p:cNvPr id="9" name="任意多边形: 形状 8">
              <a:extLst>
                <a:ext uri="{FF2B5EF4-FFF2-40B4-BE49-F238E27FC236}">
                  <a16:creationId xmlns="" xmlns:ahyp="http://schemas.microsoft.com/office/drawing/2018/hyperlinkcolor" xmlns:p14="http://schemas.microsoft.com/office/powerpoint/2010/main" xmlns:a16="http://schemas.microsoft.com/office/drawing/2014/main" id="{2D272403-40BD-427A-A3AF-22CDE281BD98}"/>
                </a:ext>
              </a:extLst>
            </p:cNvPr>
            <p:cNvSpPr/>
            <p:nvPr/>
          </p:nvSpPr>
          <p:spPr>
            <a:xfrm>
              <a:off x="5252643" y="3384444"/>
              <a:ext cx="4217150" cy="3473556"/>
            </a:xfrm>
            <a:custGeom>
              <a:avLst/>
              <a:gdLst>
                <a:gd name="connsiteX0" fmla="*/ 2852892 w 4217150"/>
                <a:gd name="connsiteY0" fmla="*/ 466 h 3473556"/>
                <a:gd name="connsiteX1" fmla="*/ 3516107 w 4217150"/>
                <a:gd name="connsiteY1" fmla="*/ 187901 h 3473556"/>
                <a:gd name="connsiteX2" fmla="*/ 4029249 w 4217150"/>
                <a:gd name="connsiteY2" fmla="*/ 2103072 h 3473556"/>
                <a:gd name="connsiteX3" fmla="*/ 3237888 w 4217150"/>
                <a:gd name="connsiteY3" fmla="*/ 3473556 h 3473556"/>
                <a:gd name="connsiteX4" fmla="*/ 0 w 4217150"/>
                <a:gd name="connsiteY4" fmla="*/ 3473556 h 3473556"/>
                <a:gd name="connsiteX5" fmla="*/ 1600936 w 4217150"/>
                <a:gd name="connsiteY5" fmla="*/ 701044 h 3473556"/>
                <a:gd name="connsiteX6" fmla="*/ 2852892 w 4217150"/>
                <a:gd name="connsiteY6" fmla="*/ 466 h 3473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7150" h="3473556">
                  <a:moveTo>
                    <a:pt x="2852892" y="466"/>
                  </a:moveTo>
                  <a:cubicBezTo>
                    <a:pt x="3078904" y="6295"/>
                    <a:pt x="3306679" y="66976"/>
                    <a:pt x="3516107" y="187901"/>
                  </a:cubicBezTo>
                  <a:cubicBezTo>
                    <a:pt x="4186277" y="574861"/>
                    <a:pt x="4416209" y="1432902"/>
                    <a:pt x="4029249" y="2103072"/>
                  </a:cubicBezTo>
                  <a:lnTo>
                    <a:pt x="3237888" y="3473556"/>
                  </a:lnTo>
                  <a:lnTo>
                    <a:pt x="0" y="3473556"/>
                  </a:lnTo>
                  <a:lnTo>
                    <a:pt x="1600936" y="701044"/>
                  </a:lnTo>
                  <a:cubicBezTo>
                    <a:pt x="1866971" y="240302"/>
                    <a:pt x="2355666" y="-12359"/>
                    <a:pt x="2852892" y="466"/>
                  </a:cubicBezTo>
                  <a:close/>
                </a:path>
              </a:pathLst>
            </a:custGeom>
            <a:grpFill/>
            <a:ln w="14015" cap="flat">
              <a:noFill/>
              <a:prstDash val="solid"/>
              <a:miter/>
            </a:ln>
          </p:spPr>
          <p:txBody>
            <a:bodyPr rtlCol="0" anchor="ctr"/>
            <a:lstStyle/>
            <a:p>
              <a:pPr lvl="0"/>
              <a:endParaRPr lang="zh-CN" altLang="en-US"/>
            </a:p>
          </p:txBody>
        </p:sp>
      </p:grpSp>
    </p:spTree>
    <p:custDataLst>
      <p:tags r:id="rId1"/>
    </p:custDataLst>
    <p:extLst>
      <p:ext uri="{BB962C8B-B14F-4D97-AF65-F5344CB8AC3E}">
        <p14:creationId xmlns:p14="http://schemas.microsoft.com/office/powerpoint/2010/main" val="3297521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05" name="文本框 604">
            <a:extLst>
              <a:ext uri="{FF2B5EF4-FFF2-40B4-BE49-F238E27FC236}">
                <a16:creationId xmlns="" xmlns:a14="http://schemas.microsoft.com/office/drawing/2010/main" xmlns:p14="http://schemas.microsoft.com/office/powerpoint/2010/main" xmlns:a16="http://schemas.microsoft.com/office/drawing/2014/main" id="{5CCDB481-C962-47F4-881B-6DD1C2002730}"/>
              </a:ext>
            </a:extLst>
          </p:cNvPr>
          <p:cNvSpPr txBox="1"/>
          <p:nvPr/>
        </p:nvSpPr>
        <p:spPr>
          <a:xfrm>
            <a:off x="985798" y="5464421"/>
            <a:ext cx="2558947" cy="400110"/>
          </a:xfrm>
          <a:prstGeom prst="rect">
            <a:avLst/>
          </a:prstGeom>
          <a:noFill/>
        </p:spPr>
        <p:txBody>
          <a:bodyPr wrap="square" rtlCol="0" anchor="ctr">
            <a:spAutoFit/>
          </a:bodyPr>
          <a:lstStyle/>
          <a:p>
            <a:r>
              <a:rPr lang="zh-CN" altLang="en-US" sz="1000" dirty="0">
                <a:solidFill>
                  <a:srgbClr val="2F2F2F"/>
                </a:solidFill>
              </a:rPr>
              <a:t>使用 </a:t>
            </a:r>
            <a:r>
              <a:rPr lang="en-US" altLang="zh-CN" sz="1000" dirty="0" err="1">
                <a:solidFill>
                  <a:srgbClr val="2F2F2F"/>
                </a:solidFill>
              </a:rPr>
              <a:t>iSlide</a:t>
            </a:r>
            <a:r>
              <a:rPr lang="en-US" altLang="zh-CN" sz="1000" dirty="0">
                <a:solidFill>
                  <a:srgbClr val="2F2F2F"/>
                </a:solidFill>
              </a:rPr>
              <a:t>【</a:t>
            </a:r>
            <a:r>
              <a:rPr lang="zh-CN" altLang="en-US" sz="1000" dirty="0">
                <a:solidFill>
                  <a:srgbClr val="2F2F2F"/>
                </a:solidFill>
              </a:rPr>
              <a:t>图示库</a:t>
            </a:r>
            <a:r>
              <a:rPr lang="en-US" altLang="zh-CN" sz="1000" dirty="0">
                <a:solidFill>
                  <a:srgbClr val="2F2F2F"/>
                </a:solidFill>
              </a:rPr>
              <a:t>】</a:t>
            </a:r>
            <a:r>
              <a:rPr lang="zh-CN" altLang="en-US" sz="1000" dirty="0">
                <a:solidFill>
                  <a:srgbClr val="2F2F2F"/>
                </a:solidFill>
              </a:rPr>
              <a:t>筛选图示</a:t>
            </a:r>
            <a:endParaRPr lang="en-US" altLang="zh-CN" sz="1000" dirty="0">
              <a:solidFill>
                <a:srgbClr val="2F2F2F"/>
              </a:solidFill>
            </a:endParaRPr>
          </a:p>
          <a:p>
            <a:r>
              <a:rPr lang="en-US" altLang="zh-CN" sz="1000">
                <a:solidFill>
                  <a:srgbClr val="2F2F2F"/>
                </a:solidFill>
              </a:rPr>
              <a:t>Search </a:t>
            </a:r>
            <a:r>
              <a:rPr lang="en-US" altLang="zh-CN" sz="1000" smtClean="0">
                <a:solidFill>
                  <a:srgbClr val="2F2F2F"/>
                </a:solidFill>
              </a:rPr>
              <a:t>dia</a:t>
            </a:r>
            <a:r>
              <a:rPr lang="en-US" altLang="zh-CN" sz="100" smtClean="0">
                <a:solidFill>
                  <a:srgbClr val="2F2F2F"/>
                </a:solidFill>
              </a:rPr>
              <a:t> </a:t>
            </a:r>
            <a:r>
              <a:rPr lang="en-US" altLang="zh-CN" sz="1000" smtClean="0">
                <a:solidFill>
                  <a:srgbClr val="2F2F2F"/>
                </a:solidFill>
              </a:rPr>
              <a:t>grams </a:t>
            </a:r>
            <a:r>
              <a:rPr lang="en-US" altLang="zh-CN" sz="1000" dirty="0">
                <a:solidFill>
                  <a:srgbClr val="2F2F2F"/>
                </a:solidFill>
              </a:rPr>
              <a:t>in iSlide Diagram Library</a:t>
            </a:r>
            <a:endParaRPr lang="zh-CN" altLang="en-US" sz="1000" dirty="0">
              <a:solidFill>
                <a:srgbClr val="2F2F2F"/>
              </a:solidFill>
            </a:endParaRPr>
          </a:p>
        </p:txBody>
      </p:sp>
      <p:sp>
        <p:nvSpPr>
          <p:cNvPr id="606" name="椭圆 605">
            <a:extLst>
              <a:ext uri="{FF2B5EF4-FFF2-40B4-BE49-F238E27FC236}">
                <a16:creationId xmlns="" xmlns:a14="http://schemas.microsoft.com/office/drawing/2010/main" xmlns:p14="http://schemas.microsoft.com/office/powerpoint/2010/main" xmlns:a16="http://schemas.microsoft.com/office/drawing/2014/main" id="{BBAFAFCE-AD85-4ED5-894D-028379A54ED7}"/>
              </a:ext>
            </a:extLst>
          </p:cNvPr>
          <p:cNvSpPr/>
          <p:nvPr/>
        </p:nvSpPr>
        <p:spPr>
          <a:xfrm>
            <a:off x="660400" y="5526305"/>
            <a:ext cx="276343" cy="276341"/>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1</a:t>
            </a:r>
            <a:endParaRPr lang="zh-CN" altLang="en-US" sz="1200" dirty="0"/>
          </a:p>
        </p:txBody>
      </p:sp>
      <p:sp>
        <p:nvSpPr>
          <p:cNvPr id="608" name="文本框 607">
            <a:extLst>
              <a:ext uri="{FF2B5EF4-FFF2-40B4-BE49-F238E27FC236}">
                <a16:creationId xmlns="" xmlns:a14="http://schemas.microsoft.com/office/drawing/2010/main" xmlns:p14="http://schemas.microsoft.com/office/powerpoint/2010/main" xmlns:a16="http://schemas.microsoft.com/office/drawing/2014/main" id="{E808DBD7-0F1A-4037-9699-410F7A953BB4}"/>
              </a:ext>
            </a:extLst>
          </p:cNvPr>
          <p:cNvSpPr txBox="1"/>
          <p:nvPr/>
        </p:nvSpPr>
        <p:spPr>
          <a:xfrm>
            <a:off x="4677199" y="5464437"/>
            <a:ext cx="5284056" cy="400110"/>
          </a:xfrm>
          <a:prstGeom prst="rect">
            <a:avLst/>
          </a:prstGeom>
          <a:noFill/>
        </p:spPr>
        <p:txBody>
          <a:bodyPr wrap="square" rtlCol="0" anchor="ctr">
            <a:spAutoFit/>
          </a:bodyPr>
          <a:lstStyle/>
          <a:p>
            <a:r>
              <a:rPr lang="zh-CN" altLang="en-US" sz="1000" dirty="0">
                <a:solidFill>
                  <a:srgbClr val="2F2F2F"/>
                </a:solidFill>
              </a:rPr>
              <a:t>选择图示插入当前 </a:t>
            </a:r>
            <a:r>
              <a:rPr lang="en-US" altLang="zh-CN" sz="1000" dirty="0">
                <a:solidFill>
                  <a:srgbClr val="2F2F2F"/>
                </a:solidFill>
              </a:rPr>
              <a:t>PPT </a:t>
            </a:r>
            <a:r>
              <a:rPr lang="zh-CN" altLang="en-US" sz="1000" dirty="0">
                <a:solidFill>
                  <a:srgbClr val="2F2F2F"/>
                </a:solidFill>
              </a:rPr>
              <a:t>主题，编辑修改文字，替换图标或填充图片</a:t>
            </a:r>
            <a:endParaRPr lang="en-US" altLang="zh-CN" sz="1000" dirty="0">
              <a:solidFill>
                <a:srgbClr val="2F2F2F"/>
              </a:solidFill>
            </a:endParaRPr>
          </a:p>
          <a:p>
            <a:r>
              <a:rPr lang="en-US" altLang="zh-CN" sz="1000" dirty="0">
                <a:solidFill>
                  <a:srgbClr val="2F2F2F"/>
                </a:solidFill>
              </a:rPr>
              <a:t>Click to insert </a:t>
            </a:r>
            <a:r>
              <a:rPr lang="en-US" altLang="zh-CN" sz="1000">
                <a:solidFill>
                  <a:srgbClr val="2F2F2F"/>
                </a:solidFill>
              </a:rPr>
              <a:t>diagram </a:t>
            </a:r>
            <a:r>
              <a:rPr lang="en-US" altLang="zh-CN" sz="1000" smtClean="0">
                <a:solidFill>
                  <a:srgbClr val="2F2F2F"/>
                </a:solidFill>
              </a:rPr>
              <a:t>in</a:t>
            </a:r>
            <a:r>
              <a:rPr lang="en-US" altLang="zh-CN" sz="100" smtClean="0">
                <a:solidFill>
                  <a:srgbClr val="2F2F2F"/>
                </a:solidFill>
              </a:rPr>
              <a:t> </a:t>
            </a:r>
            <a:r>
              <a:rPr lang="en-US" altLang="zh-CN" sz="1000" smtClean="0">
                <a:solidFill>
                  <a:srgbClr val="2F2F2F"/>
                </a:solidFill>
              </a:rPr>
              <a:t>to </a:t>
            </a:r>
            <a:r>
              <a:rPr lang="en-US" altLang="zh-CN" sz="1000" dirty="0">
                <a:solidFill>
                  <a:srgbClr val="2F2F2F"/>
                </a:solidFill>
              </a:rPr>
              <a:t>current slide, then edit text, replace icons or fill pictures</a:t>
            </a:r>
            <a:endParaRPr lang="zh-CN" altLang="en-US" sz="1000" dirty="0">
              <a:solidFill>
                <a:srgbClr val="2F2F2F"/>
              </a:solidFill>
            </a:endParaRPr>
          </a:p>
        </p:txBody>
      </p:sp>
      <p:sp>
        <p:nvSpPr>
          <p:cNvPr id="609" name="椭圆 608">
            <a:extLst>
              <a:ext uri="{FF2B5EF4-FFF2-40B4-BE49-F238E27FC236}">
                <a16:creationId xmlns="" xmlns:a14="http://schemas.microsoft.com/office/drawing/2010/main" xmlns:p14="http://schemas.microsoft.com/office/powerpoint/2010/main" xmlns:a16="http://schemas.microsoft.com/office/drawing/2014/main" id="{42B1532E-6800-4DB7-A456-55C6D9651A6A}"/>
              </a:ext>
            </a:extLst>
          </p:cNvPr>
          <p:cNvSpPr/>
          <p:nvPr/>
        </p:nvSpPr>
        <p:spPr>
          <a:xfrm>
            <a:off x="4355743" y="5526320"/>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2</a:t>
            </a:r>
            <a:endParaRPr lang="zh-CN" altLang="en-US" sz="1200" dirty="0"/>
          </a:p>
        </p:txBody>
      </p:sp>
      <p:grpSp>
        <p:nvGrpSpPr>
          <p:cNvPr id="199" name="组合 198">
            <a:extLst>
              <a:ext uri="{FF2B5EF4-FFF2-40B4-BE49-F238E27FC236}">
                <a16:creationId xmlns="" xmlns:a14="http://schemas.microsoft.com/office/drawing/2010/main" xmlns:p14="http://schemas.microsoft.com/office/powerpoint/2010/main" xmlns:a16="http://schemas.microsoft.com/office/drawing/2014/main" id="{20144B8B-CD16-47CC-9F33-4C1C08CF978C}"/>
              </a:ext>
            </a:extLst>
          </p:cNvPr>
          <p:cNvGrpSpPr/>
          <p:nvPr/>
        </p:nvGrpSpPr>
        <p:grpSpPr>
          <a:xfrm>
            <a:off x="660400" y="1959182"/>
            <a:ext cx="3002400" cy="3002401"/>
            <a:chOff x="677034" y="1959176"/>
            <a:chExt cx="3002400" cy="3002401"/>
          </a:xfrm>
        </p:grpSpPr>
        <p:sp>
          <p:nvSpPr>
            <p:cNvPr id="854" name="矩形 853">
              <a:extLst>
                <a:ext uri="{FF2B5EF4-FFF2-40B4-BE49-F238E27FC236}">
                  <a16:creationId xmlns="" xmlns:a14="http://schemas.microsoft.com/office/drawing/2010/main" xmlns:p14="http://schemas.microsoft.com/office/powerpoint/2010/main" xmlns:a16="http://schemas.microsoft.com/office/drawing/2014/main" id="{BA8BA330-F6C5-428A-8FB0-D295E5F08876}"/>
                </a:ext>
              </a:extLst>
            </p:cNvPr>
            <p:cNvSpPr/>
            <p:nvPr/>
          </p:nvSpPr>
          <p:spPr>
            <a:xfrm>
              <a:off x="677034" y="1959176"/>
              <a:ext cx="3002400" cy="3002400"/>
            </a:xfrm>
            <a:prstGeom prst="rect">
              <a:avLst/>
            </a:prstGeom>
            <a:gradFill>
              <a:gsLst>
                <a:gs pos="80000">
                  <a:schemeClr val="bg1"/>
                </a:gs>
                <a:gs pos="100000">
                  <a:schemeClr val="bg1">
                    <a:alpha val="0"/>
                  </a:schemeClr>
                </a:gs>
              </a:gsLst>
              <a:lin ang="5400000" scaled="1"/>
            </a:gradFill>
            <a:ln w="9525">
              <a:noFill/>
            </a:ln>
            <a:effectLst>
              <a:outerShdw blurRad="63500" sx="102000" sy="102000" algn="ctr" rotWithShape="0">
                <a:srgbClr val="E7E5EA">
                  <a:alpha val="5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1175" name="组合 1174">
              <a:extLst>
                <a:ext uri="{FF2B5EF4-FFF2-40B4-BE49-F238E27FC236}">
                  <a16:creationId xmlns="" xmlns:a14="http://schemas.microsoft.com/office/drawing/2010/main" xmlns:p14="http://schemas.microsoft.com/office/powerpoint/2010/main" xmlns:a16="http://schemas.microsoft.com/office/drawing/2014/main" id="{AE850707-79EE-4926-8282-2DF39231E88A}"/>
                </a:ext>
              </a:extLst>
            </p:cNvPr>
            <p:cNvGrpSpPr/>
            <p:nvPr/>
          </p:nvGrpSpPr>
          <p:grpSpPr>
            <a:xfrm>
              <a:off x="2237046" y="3541481"/>
              <a:ext cx="1322298" cy="743793"/>
              <a:chOff x="795891" y="2682194"/>
              <a:chExt cx="1322298" cy="743793"/>
            </a:xfrm>
          </p:grpSpPr>
          <p:sp>
            <p:nvSpPr>
              <p:cNvPr id="1176" name="矩形: 圆角 1175">
                <a:extLst>
                  <a:ext uri="{FF2B5EF4-FFF2-40B4-BE49-F238E27FC236}">
                    <a16:creationId xmlns="" xmlns:a14="http://schemas.microsoft.com/office/drawing/2010/main" xmlns:p14="http://schemas.microsoft.com/office/powerpoint/2010/main" xmlns:a16="http://schemas.microsoft.com/office/drawing/2014/main" id="{C77ECE32-79B9-4A12-A540-656E059A5138}"/>
                  </a:ext>
                </a:extLst>
              </p:cNvPr>
              <p:cNvSpPr>
                <a:spLocks noChangeAspect="1"/>
              </p:cNvSpPr>
              <p:nvPr/>
            </p:nvSpPr>
            <p:spPr>
              <a:xfrm>
                <a:off x="795891" y="2682194"/>
                <a:ext cx="1322298" cy="743793"/>
              </a:xfrm>
              <a:prstGeom prst="roundRect">
                <a:avLst>
                  <a:gd name="adj" fmla="val 4418"/>
                </a:avLst>
              </a:prstGeom>
              <a:solidFill>
                <a:schemeClr val="bg1"/>
              </a:solidFill>
              <a:ln w="12700">
                <a:solidFill>
                  <a:srgbClr val="F0EE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177" name="任意多边形: 形状 1176">
                <a:extLst>
                  <a:ext uri="{FF2B5EF4-FFF2-40B4-BE49-F238E27FC236}">
                    <a16:creationId xmlns="" xmlns:a14="http://schemas.microsoft.com/office/drawing/2010/main" xmlns:p14="http://schemas.microsoft.com/office/powerpoint/2010/main" xmlns:a16="http://schemas.microsoft.com/office/drawing/2014/main" id="{D8D8F1ED-AD80-40D6-BECB-C842BA1E550A}"/>
                  </a:ext>
                </a:extLst>
              </p:cNvPr>
              <p:cNvSpPr/>
              <p:nvPr/>
            </p:nvSpPr>
            <p:spPr>
              <a:xfrm>
                <a:off x="795891" y="2682194"/>
                <a:ext cx="1322298" cy="382553"/>
              </a:xfrm>
              <a:custGeom>
                <a:avLst/>
                <a:gdLst>
                  <a:gd name="connsiteX0" fmla="*/ 29553 w 1189177"/>
                  <a:gd name="connsiteY0" fmla="*/ 0 h 385548"/>
                  <a:gd name="connsiteX1" fmla="*/ 1159624 w 1189177"/>
                  <a:gd name="connsiteY1" fmla="*/ 0 h 385548"/>
                  <a:gd name="connsiteX2" fmla="*/ 1189177 w 1189177"/>
                  <a:gd name="connsiteY2" fmla="*/ 29553 h 385548"/>
                  <a:gd name="connsiteX3" fmla="*/ 1189177 w 1189177"/>
                  <a:gd name="connsiteY3" fmla="*/ 385548 h 385548"/>
                  <a:gd name="connsiteX4" fmla="*/ 0 w 1189177"/>
                  <a:gd name="connsiteY4" fmla="*/ 385548 h 385548"/>
                  <a:gd name="connsiteX5" fmla="*/ 0 w 1189177"/>
                  <a:gd name="connsiteY5" fmla="*/ 29553 h 385548"/>
                  <a:gd name="connsiteX6" fmla="*/ 29553 w 1189177"/>
                  <a:gd name="connsiteY6" fmla="*/ 0 h 385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9177" h="385548">
                    <a:moveTo>
                      <a:pt x="29553" y="0"/>
                    </a:moveTo>
                    <a:lnTo>
                      <a:pt x="1159624" y="0"/>
                    </a:lnTo>
                    <a:cubicBezTo>
                      <a:pt x="1175946" y="0"/>
                      <a:pt x="1189177" y="13231"/>
                      <a:pt x="1189177" y="29553"/>
                    </a:cubicBezTo>
                    <a:lnTo>
                      <a:pt x="1189177" y="385548"/>
                    </a:lnTo>
                    <a:lnTo>
                      <a:pt x="0" y="385548"/>
                    </a:lnTo>
                    <a:lnTo>
                      <a:pt x="0" y="29553"/>
                    </a:lnTo>
                    <a:cubicBezTo>
                      <a:pt x="0" y="13231"/>
                      <a:pt x="13231" y="0"/>
                      <a:pt x="29553" y="0"/>
                    </a:cubicBezTo>
                    <a:close/>
                  </a:path>
                </a:pathLst>
              </a:custGeom>
              <a:solidFill>
                <a:srgbClr val="867D98">
                  <a:lumMod val="20000"/>
                  <a:lumOff val="80000"/>
                </a:srgbClr>
              </a:solidFill>
              <a:ln w="38100" cap="flat" cmpd="sng" algn="ctr">
                <a:noFill/>
                <a:prstDash val="solid"/>
                <a:miter lim="800000"/>
              </a:ln>
              <a:effectLst/>
            </p:spPr>
            <p:txBody>
              <a:bodyPr wrap="square" rtlCol="0"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endParaRPr>
              </a:p>
            </p:txBody>
          </p:sp>
          <p:grpSp>
            <p:nvGrpSpPr>
              <p:cNvPr id="1178" name="组合 1177">
                <a:extLst>
                  <a:ext uri="{FF2B5EF4-FFF2-40B4-BE49-F238E27FC236}">
                    <a16:creationId xmlns="" xmlns:a14="http://schemas.microsoft.com/office/drawing/2010/main" xmlns:p14="http://schemas.microsoft.com/office/powerpoint/2010/main" xmlns:a16="http://schemas.microsoft.com/office/drawing/2014/main" id="{28511EBC-9EF7-4DD2-9C71-440E2C7E88B2}"/>
                  </a:ext>
                </a:extLst>
              </p:cNvPr>
              <p:cNvGrpSpPr/>
              <p:nvPr/>
            </p:nvGrpSpPr>
            <p:grpSpPr>
              <a:xfrm>
                <a:off x="903307" y="3161290"/>
                <a:ext cx="1107466" cy="151273"/>
                <a:chOff x="890763" y="3168433"/>
                <a:chExt cx="1107466" cy="151273"/>
              </a:xfrm>
            </p:grpSpPr>
            <p:grpSp>
              <p:nvGrpSpPr>
                <p:cNvPr id="1179" name="组合 1178">
                  <a:extLst>
                    <a:ext uri="{FF2B5EF4-FFF2-40B4-BE49-F238E27FC236}">
                      <a16:creationId xmlns="" xmlns:a14="http://schemas.microsoft.com/office/drawing/2010/main" xmlns:p14="http://schemas.microsoft.com/office/powerpoint/2010/main" xmlns:a16="http://schemas.microsoft.com/office/drawing/2014/main" id="{C7245D6A-88C2-4564-A776-93D4903660CA}"/>
                    </a:ext>
                  </a:extLst>
                </p:cNvPr>
                <p:cNvGrpSpPr/>
                <p:nvPr/>
              </p:nvGrpSpPr>
              <p:grpSpPr>
                <a:xfrm>
                  <a:off x="890763" y="3168433"/>
                  <a:ext cx="288000" cy="151273"/>
                  <a:chOff x="890763" y="3187237"/>
                  <a:chExt cx="288000" cy="151273"/>
                </a:xfrm>
              </p:grpSpPr>
              <p:sp>
                <p:nvSpPr>
                  <p:cNvPr id="1186" name="矩形 1185">
                    <a:extLst>
                      <a:ext uri="{FF2B5EF4-FFF2-40B4-BE49-F238E27FC236}">
                        <a16:creationId xmlns="" xmlns:a14="http://schemas.microsoft.com/office/drawing/2010/main" xmlns:p14="http://schemas.microsoft.com/office/powerpoint/2010/main" xmlns:a16="http://schemas.microsoft.com/office/drawing/2014/main" id="{3558600A-838B-4B82-A710-8E22238BEB82}"/>
                      </a:ext>
                    </a:extLst>
                  </p:cNvPr>
                  <p:cNvSpPr/>
                  <p:nvPr/>
                </p:nvSpPr>
                <p:spPr>
                  <a:xfrm>
                    <a:off x="890763" y="3187237"/>
                    <a:ext cx="288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87" name="矩形 1186">
                    <a:extLst>
                      <a:ext uri="{FF2B5EF4-FFF2-40B4-BE49-F238E27FC236}">
                        <a16:creationId xmlns="" xmlns:a14="http://schemas.microsoft.com/office/drawing/2010/main" xmlns:p14="http://schemas.microsoft.com/office/powerpoint/2010/main" xmlns:a16="http://schemas.microsoft.com/office/drawing/2014/main" id="{CCA9112F-73C5-4C39-BE10-3AA73133E594}"/>
                      </a:ext>
                    </a:extLst>
                  </p:cNvPr>
                  <p:cNvSpPr/>
                  <p:nvPr/>
                </p:nvSpPr>
                <p:spPr>
                  <a:xfrm>
                    <a:off x="890763" y="3284510"/>
                    <a:ext cx="216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180" name="组合 1179">
                  <a:extLst>
                    <a:ext uri="{FF2B5EF4-FFF2-40B4-BE49-F238E27FC236}">
                      <a16:creationId xmlns="" xmlns:a14="http://schemas.microsoft.com/office/drawing/2010/main" xmlns:p14="http://schemas.microsoft.com/office/powerpoint/2010/main" xmlns:a16="http://schemas.microsoft.com/office/drawing/2014/main" id="{EBEFA3BC-34D0-4B85-A593-58A86E525EE0}"/>
                    </a:ext>
                  </a:extLst>
                </p:cNvPr>
                <p:cNvGrpSpPr/>
                <p:nvPr/>
              </p:nvGrpSpPr>
              <p:grpSpPr>
                <a:xfrm>
                  <a:off x="1300496" y="3168433"/>
                  <a:ext cx="288000" cy="151273"/>
                  <a:chOff x="890763" y="3187237"/>
                  <a:chExt cx="288000" cy="151273"/>
                </a:xfrm>
              </p:grpSpPr>
              <p:sp>
                <p:nvSpPr>
                  <p:cNvPr id="1184" name="矩形 1183">
                    <a:extLst>
                      <a:ext uri="{FF2B5EF4-FFF2-40B4-BE49-F238E27FC236}">
                        <a16:creationId xmlns="" xmlns:a14="http://schemas.microsoft.com/office/drawing/2010/main" xmlns:p14="http://schemas.microsoft.com/office/powerpoint/2010/main" xmlns:a16="http://schemas.microsoft.com/office/drawing/2014/main" id="{9861A848-16B8-4211-9FC9-45D02AACFAF8}"/>
                      </a:ext>
                    </a:extLst>
                  </p:cNvPr>
                  <p:cNvSpPr/>
                  <p:nvPr/>
                </p:nvSpPr>
                <p:spPr>
                  <a:xfrm>
                    <a:off x="890763" y="3187237"/>
                    <a:ext cx="288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85" name="矩形 1184">
                    <a:extLst>
                      <a:ext uri="{FF2B5EF4-FFF2-40B4-BE49-F238E27FC236}">
                        <a16:creationId xmlns="" xmlns:a14="http://schemas.microsoft.com/office/drawing/2010/main" xmlns:p14="http://schemas.microsoft.com/office/powerpoint/2010/main" xmlns:a16="http://schemas.microsoft.com/office/drawing/2014/main" id="{41EAD282-F1B9-47C8-8237-1593EFAA3566}"/>
                      </a:ext>
                    </a:extLst>
                  </p:cNvPr>
                  <p:cNvSpPr/>
                  <p:nvPr/>
                </p:nvSpPr>
                <p:spPr>
                  <a:xfrm>
                    <a:off x="890763" y="3284510"/>
                    <a:ext cx="216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181" name="组合 1180">
                  <a:extLst>
                    <a:ext uri="{FF2B5EF4-FFF2-40B4-BE49-F238E27FC236}">
                      <a16:creationId xmlns="" xmlns:a14="http://schemas.microsoft.com/office/drawing/2010/main" xmlns:p14="http://schemas.microsoft.com/office/powerpoint/2010/main" xmlns:a16="http://schemas.microsoft.com/office/drawing/2014/main" id="{C4ECBB84-A9C1-43CF-992F-B7D2A9AEFF9D}"/>
                    </a:ext>
                  </a:extLst>
                </p:cNvPr>
                <p:cNvGrpSpPr/>
                <p:nvPr/>
              </p:nvGrpSpPr>
              <p:grpSpPr>
                <a:xfrm>
                  <a:off x="1710229" y="3168433"/>
                  <a:ext cx="288000" cy="151273"/>
                  <a:chOff x="890763" y="3187237"/>
                  <a:chExt cx="288000" cy="151273"/>
                </a:xfrm>
              </p:grpSpPr>
              <p:sp>
                <p:nvSpPr>
                  <p:cNvPr id="1182" name="矩形 1181">
                    <a:extLst>
                      <a:ext uri="{FF2B5EF4-FFF2-40B4-BE49-F238E27FC236}">
                        <a16:creationId xmlns="" xmlns:a14="http://schemas.microsoft.com/office/drawing/2010/main" xmlns:p14="http://schemas.microsoft.com/office/powerpoint/2010/main" xmlns:a16="http://schemas.microsoft.com/office/drawing/2014/main" id="{210D9AC1-FCD2-4D8D-B173-7E1E87899759}"/>
                      </a:ext>
                    </a:extLst>
                  </p:cNvPr>
                  <p:cNvSpPr/>
                  <p:nvPr/>
                </p:nvSpPr>
                <p:spPr>
                  <a:xfrm>
                    <a:off x="890763" y="3187237"/>
                    <a:ext cx="288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83" name="矩形 1182">
                    <a:extLst>
                      <a:ext uri="{FF2B5EF4-FFF2-40B4-BE49-F238E27FC236}">
                        <a16:creationId xmlns="" xmlns:a14="http://schemas.microsoft.com/office/drawing/2010/main" xmlns:p14="http://schemas.microsoft.com/office/powerpoint/2010/main" xmlns:a16="http://schemas.microsoft.com/office/drawing/2014/main" id="{27D00380-E26D-4D19-8C1E-0D0FC2518CEB}"/>
                      </a:ext>
                    </a:extLst>
                  </p:cNvPr>
                  <p:cNvSpPr/>
                  <p:nvPr/>
                </p:nvSpPr>
                <p:spPr>
                  <a:xfrm>
                    <a:off x="890763" y="3284510"/>
                    <a:ext cx="216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grpSp>
        <p:sp>
          <p:nvSpPr>
            <p:cNvPr id="846" name="矩形 845">
              <a:extLst>
                <a:ext uri="{FF2B5EF4-FFF2-40B4-BE49-F238E27FC236}">
                  <a16:creationId xmlns="" xmlns:a14="http://schemas.microsoft.com/office/drawing/2010/main" xmlns:p14="http://schemas.microsoft.com/office/powerpoint/2010/main" xmlns:a16="http://schemas.microsoft.com/office/drawing/2014/main" id="{8843ECBA-98A8-425F-B9CE-8DF5FACEEB4E}"/>
                </a:ext>
              </a:extLst>
            </p:cNvPr>
            <p:cNvSpPr/>
            <p:nvPr/>
          </p:nvSpPr>
          <p:spPr>
            <a:xfrm>
              <a:off x="677034" y="1964334"/>
              <a:ext cx="3002400" cy="320240"/>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dirty="0"/>
            </a:p>
          </p:txBody>
        </p:sp>
        <p:sp>
          <p:nvSpPr>
            <p:cNvPr id="847" name="矩形 846">
              <a:extLst>
                <a:ext uri="{FF2B5EF4-FFF2-40B4-BE49-F238E27FC236}">
                  <a16:creationId xmlns="" xmlns:a14="http://schemas.microsoft.com/office/drawing/2010/main" xmlns:p14="http://schemas.microsoft.com/office/powerpoint/2010/main" xmlns:a16="http://schemas.microsoft.com/office/drawing/2014/main" id="{C5551026-40D8-4A72-9A74-3E935305E165}"/>
                </a:ext>
              </a:extLst>
            </p:cNvPr>
            <p:cNvSpPr/>
            <p:nvPr/>
          </p:nvSpPr>
          <p:spPr>
            <a:xfrm>
              <a:off x="797125" y="2038897"/>
              <a:ext cx="1436291" cy="153888"/>
            </a:xfrm>
            <a:prstGeom prst="rect">
              <a:avLst/>
            </a:prstGeom>
          </p:spPr>
          <p:txBody>
            <a:bodyPr wrap="none" lIns="0" tIns="0" rIns="0" bIns="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sz="1000" kern="0" dirty="0">
                  <a:solidFill>
                    <a:srgbClr val="FFFFFF"/>
                  </a:solidFill>
                </a:rPr>
                <a:t>图示库 </a:t>
              </a:r>
              <a:r>
                <a:rPr lang="en-US" altLang="zh-CN" sz="1000" kern="0" dirty="0">
                  <a:solidFill>
                    <a:srgbClr val="FFFFFF"/>
                  </a:solidFill>
                </a:rPr>
                <a:t>/ </a:t>
              </a:r>
              <a:r>
                <a:rPr lang="en-US" altLang="zh-CN" sz="1000" kern="0">
                  <a:solidFill>
                    <a:srgbClr val="FFFFFF"/>
                  </a:solidFill>
                </a:rPr>
                <a:t>Diagram </a:t>
              </a:r>
              <a:r>
                <a:rPr lang="en-US" altLang="zh-CN" sz="1000" kern="0" smtClean="0">
                  <a:solidFill>
                    <a:srgbClr val="FFFFFF"/>
                  </a:solidFill>
                </a:rPr>
                <a:t>Lib</a:t>
              </a:r>
              <a:r>
                <a:rPr lang="en-US" altLang="zh-CN" sz="100" kern="0" smtClean="0">
                  <a:solidFill>
                    <a:srgbClr val="FFFFFF"/>
                  </a:solidFill>
                </a:rPr>
                <a:t> </a:t>
              </a:r>
              <a:r>
                <a:rPr lang="en-US" altLang="zh-CN" sz="1000" kern="0" smtClean="0">
                  <a:solidFill>
                    <a:srgbClr val="FFFFFF"/>
                  </a:solidFill>
                </a:rPr>
                <a:t>rary</a:t>
              </a:r>
              <a:endParaRPr lang="zh-CN" altLang="en-US" sz="1000" dirty="0"/>
            </a:p>
          </p:txBody>
        </p:sp>
        <p:sp>
          <p:nvSpPr>
            <p:cNvPr id="848" name="Multiply 213">
              <a:extLst>
                <a:ext uri="{FF2B5EF4-FFF2-40B4-BE49-F238E27FC236}">
                  <a16:creationId xmlns="" xmlns:a14="http://schemas.microsoft.com/office/drawing/2010/main" xmlns:p14="http://schemas.microsoft.com/office/powerpoint/2010/main" xmlns:a16="http://schemas.microsoft.com/office/drawing/2014/main" id="{3838A130-2F03-4DA6-9A10-BF5D0AD4D3F2}"/>
                </a:ext>
              </a:extLst>
            </p:cNvPr>
            <p:cNvSpPr>
              <a:spLocks noChangeAspect="1"/>
            </p:cNvSpPr>
            <p:nvPr/>
          </p:nvSpPr>
          <p:spPr>
            <a:xfrm>
              <a:off x="3465543" y="2068412"/>
              <a:ext cx="112084" cy="112084"/>
            </a:xfrm>
            <a:custGeom>
              <a:avLst/>
              <a:gdLst>
                <a:gd name="T0" fmla="*/ 11040 w 11360"/>
                <a:gd name="T1" fmla="*/ 320 h 11360"/>
                <a:gd name="T2" fmla="*/ 11040 w 11360"/>
                <a:gd name="T3" fmla="*/ 1360 h 11360"/>
                <a:gd name="T4" fmla="*/ 6720 w 11360"/>
                <a:gd name="T5" fmla="*/ 5680 h 11360"/>
                <a:gd name="T6" fmla="*/ 11040 w 11360"/>
                <a:gd name="T7" fmla="*/ 10000 h 11360"/>
                <a:gd name="T8" fmla="*/ 11040 w 11360"/>
                <a:gd name="T9" fmla="*/ 11040 h 11360"/>
                <a:gd name="T10" fmla="*/ 10000 w 11360"/>
                <a:gd name="T11" fmla="*/ 11040 h 11360"/>
                <a:gd name="T12" fmla="*/ 5680 w 11360"/>
                <a:gd name="T13" fmla="*/ 6720 h 11360"/>
                <a:gd name="T14" fmla="*/ 1360 w 11360"/>
                <a:gd name="T15" fmla="*/ 11040 h 11360"/>
                <a:gd name="T16" fmla="*/ 320 w 11360"/>
                <a:gd name="T17" fmla="*/ 11040 h 11360"/>
                <a:gd name="T18" fmla="*/ 320 w 11360"/>
                <a:gd name="T19" fmla="*/ 10000 h 11360"/>
                <a:gd name="T20" fmla="*/ 4640 w 11360"/>
                <a:gd name="T21" fmla="*/ 5680 h 11360"/>
                <a:gd name="T22" fmla="*/ 320 w 11360"/>
                <a:gd name="T23" fmla="*/ 1360 h 11360"/>
                <a:gd name="T24" fmla="*/ 320 w 11360"/>
                <a:gd name="T25" fmla="*/ 320 h 11360"/>
                <a:gd name="T26" fmla="*/ 1360 w 11360"/>
                <a:gd name="T27" fmla="*/ 320 h 11360"/>
                <a:gd name="T28" fmla="*/ 5680 w 11360"/>
                <a:gd name="T29" fmla="*/ 4640 h 11360"/>
                <a:gd name="T30" fmla="*/ 10000 w 11360"/>
                <a:gd name="T31" fmla="*/ 320 h 11360"/>
                <a:gd name="T32" fmla="*/ 11040 w 11360"/>
                <a:gd name="T33" fmla="*/ 320 h 1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60" h="11360">
                  <a:moveTo>
                    <a:pt x="11040" y="320"/>
                  </a:moveTo>
                  <a:cubicBezTo>
                    <a:pt x="11360" y="640"/>
                    <a:pt x="11360" y="1120"/>
                    <a:pt x="11040" y="1360"/>
                  </a:cubicBezTo>
                  <a:lnTo>
                    <a:pt x="6720" y="5680"/>
                  </a:lnTo>
                  <a:lnTo>
                    <a:pt x="11040" y="10000"/>
                  </a:lnTo>
                  <a:cubicBezTo>
                    <a:pt x="11360" y="10320"/>
                    <a:pt x="11360" y="10800"/>
                    <a:pt x="11040" y="11040"/>
                  </a:cubicBezTo>
                  <a:cubicBezTo>
                    <a:pt x="10720" y="11360"/>
                    <a:pt x="10240" y="11360"/>
                    <a:pt x="10000" y="11040"/>
                  </a:cubicBezTo>
                  <a:lnTo>
                    <a:pt x="5680" y="6720"/>
                  </a:lnTo>
                  <a:lnTo>
                    <a:pt x="1360" y="11040"/>
                  </a:lnTo>
                  <a:cubicBezTo>
                    <a:pt x="1040" y="11360"/>
                    <a:pt x="560" y="11360"/>
                    <a:pt x="320" y="11040"/>
                  </a:cubicBezTo>
                  <a:cubicBezTo>
                    <a:pt x="0" y="10720"/>
                    <a:pt x="0" y="10240"/>
                    <a:pt x="320" y="10000"/>
                  </a:cubicBezTo>
                  <a:lnTo>
                    <a:pt x="4640" y="5680"/>
                  </a:lnTo>
                  <a:lnTo>
                    <a:pt x="320" y="1360"/>
                  </a:lnTo>
                  <a:cubicBezTo>
                    <a:pt x="0" y="1040"/>
                    <a:pt x="0" y="560"/>
                    <a:pt x="320" y="320"/>
                  </a:cubicBezTo>
                  <a:cubicBezTo>
                    <a:pt x="640" y="80"/>
                    <a:pt x="1120" y="0"/>
                    <a:pt x="1360" y="320"/>
                  </a:cubicBezTo>
                  <a:lnTo>
                    <a:pt x="5680" y="4640"/>
                  </a:lnTo>
                  <a:lnTo>
                    <a:pt x="10000" y="320"/>
                  </a:lnTo>
                  <a:cubicBezTo>
                    <a:pt x="10240" y="0"/>
                    <a:pt x="10800" y="0"/>
                    <a:pt x="11040" y="320"/>
                  </a:cubicBezTo>
                  <a:close/>
                </a:path>
              </a:pathLst>
            </a:custGeom>
            <a:solidFill>
              <a:schemeClr val="bg1"/>
            </a:solidFill>
            <a:ln w="127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54">
                <a:defRPr/>
              </a:pPr>
              <a:endParaRPr lang="zh-CN" altLang="en-US" kern="0">
                <a:solidFill>
                  <a:srgbClr val="FFFFFF"/>
                </a:solidFill>
                <a:latin typeface="Arial"/>
                <a:ea typeface="微软雅黑"/>
              </a:endParaRPr>
            </a:p>
          </p:txBody>
        </p:sp>
        <p:grpSp>
          <p:nvGrpSpPr>
            <p:cNvPr id="850" name="组合 849">
              <a:extLst>
                <a:ext uri="{FF2B5EF4-FFF2-40B4-BE49-F238E27FC236}">
                  <a16:creationId xmlns="" xmlns:a14="http://schemas.microsoft.com/office/drawing/2010/main" xmlns:p14="http://schemas.microsoft.com/office/powerpoint/2010/main" xmlns:a16="http://schemas.microsoft.com/office/drawing/2014/main" id="{C2AC0C8A-FD06-42B3-84FE-67EBE61ABAE7}"/>
                </a:ext>
              </a:extLst>
            </p:cNvPr>
            <p:cNvGrpSpPr/>
            <p:nvPr/>
          </p:nvGrpSpPr>
          <p:grpSpPr>
            <a:xfrm>
              <a:off x="797124" y="2404170"/>
              <a:ext cx="1205447" cy="160120"/>
              <a:chOff x="4248155" y="2141651"/>
              <a:chExt cx="1084090" cy="144000"/>
            </a:xfrm>
            <a:solidFill>
              <a:srgbClr val="E7E5EA"/>
            </a:solidFill>
          </p:grpSpPr>
          <p:sp>
            <p:nvSpPr>
              <p:cNvPr id="996" name="矩形 995">
                <a:extLst>
                  <a:ext uri="{FF2B5EF4-FFF2-40B4-BE49-F238E27FC236}">
                    <a16:creationId xmlns="" xmlns:a14="http://schemas.microsoft.com/office/drawing/2010/main" xmlns:p14="http://schemas.microsoft.com/office/powerpoint/2010/main" xmlns:a16="http://schemas.microsoft.com/office/drawing/2014/main" id="{4A648450-3619-4DB2-9D93-E285BE610748}"/>
                  </a:ext>
                </a:extLst>
              </p:cNvPr>
              <p:cNvSpPr>
                <a:spLocks/>
              </p:cNvSpPr>
              <p:nvPr/>
            </p:nvSpPr>
            <p:spPr>
              <a:xfrm>
                <a:off x="424815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997" name="矩形 996">
                <a:extLst>
                  <a:ext uri="{FF2B5EF4-FFF2-40B4-BE49-F238E27FC236}">
                    <a16:creationId xmlns="" xmlns:a14="http://schemas.microsoft.com/office/drawing/2010/main" xmlns:p14="http://schemas.microsoft.com/office/powerpoint/2010/main" xmlns:a16="http://schemas.microsoft.com/office/drawing/2014/main" id="{D10C8A5E-0A32-4118-B936-C290F38145EE}"/>
                  </a:ext>
                </a:extLst>
              </p:cNvPr>
              <p:cNvSpPr>
                <a:spLocks/>
              </p:cNvSpPr>
              <p:nvPr/>
            </p:nvSpPr>
            <p:spPr>
              <a:xfrm>
                <a:off x="464824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998" name="矩形 997">
                <a:extLst>
                  <a:ext uri="{FF2B5EF4-FFF2-40B4-BE49-F238E27FC236}">
                    <a16:creationId xmlns="" xmlns:a14="http://schemas.microsoft.com/office/drawing/2010/main" xmlns:p14="http://schemas.microsoft.com/office/powerpoint/2010/main" xmlns:a16="http://schemas.microsoft.com/office/drawing/2014/main" id="{5E25D274-21E4-49C1-92A6-F6DF95B8D01E}"/>
                  </a:ext>
                </a:extLst>
              </p:cNvPr>
              <p:cNvSpPr>
                <a:spLocks/>
              </p:cNvSpPr>
              <p:nvPr/>
            </p:nvSpPr>
            <p:spPr>
              <a:xfrm>
                <a:off x="504424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grpSp>
        <p:grpSp>
          <p:nvGrpSpPr>
            <p:cNvPr id="851" name="组合 850">
              <a:extLst>
                <a:ext uri="{FF2B5EF4-FFF2-40B4-BE49-F238E27FC236}">
                  <a16:creationId xmlns="" xmlns:a14="http://schemas.microsoft.com/office/drawing/2010/main" xmlns:p14="http://schemas.microsoft.com/office/powerpoint/2010/main" xmlns:a16="http://schemas.microsoft.com/office/drawing/2014/main" id="{37DB5920-5464-4F00-BC8E-356D4A25963E}"/>
                </a:ext>
              </a:extLst>
            </p:cNvPr>
            <p:cNvGrpSpPr/>
            <p:nvPr/>
          </p:nvGrpSpPr>
          <p:grpSpPr>
            <a:xfrm>
              <a:off x="2797927" y="2404170"/>
              <a:ext cx="761417" cy="160120"/>
              <a:chOff x="6047529" y="2141651"/>
              <a:chExt cx="684762" cy="144000"/>
            </a:xfrm>
            <a:solidFill>
              <a:srgbClr val="E7E5EA"/>
            </a:solidFill>
          </p:grpSpPr>
          <p:sp>
            <p:nvSpPr>
              <p:cNvPr id="994" name="矩形 993">
                <a:extLst>
                  <a:ext uri="{FF2B5EF4-FFF2-40B4-BE49-F238E27FC236}">
                    <a16:creationId xmlns="" xmlns:a14="http://schemas.microsoft.com/office/drawing/2010/main" xmlns:p14="http://schemas.microsoft.com/office/powerpoint/2010/main" xmlns:a16="http://schemas.microsoft.com/office/drawing/2014/main" id="{61D9A505-57F8-4F3D-8542-8071ED53962C}"/>
                  </a:ext>
                </a:extLst>
              </p:cNvPr>
              <p:cNvSpPr>
                <a:spLocks/>
              </p:cNvSpPr>
              <p:nvPr/>
            </p:nvSpPr>
            <p:spPr>
              <a:xfrm>
                <a:off x="6047529"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995" name="矩形 994">
                <a:extLst>
                  <a:ext uri="{FF2B5EF4-FFF2-40B4-BE49-F238E27FC236}">
                    <a16:creationId xmlns="" xmlns:a14="http://schemas.microsoft.com/office/drawing/2010/main" xmlns:p14="http://schemas.microsoft.com/office/powerpoint/2010/main" xmlns:a16="http://schemas.microsoft.com/office/drawing/2014/main" id="{49FE1BBF-2FDB-48E7-8FDC-88654D1F74AD}"/>
                  </a:ext>
                </a:extLst>
              </p:cNvPr>
              <p:cNvSpPr>
                <a:spLocks/>
              </p:cNvSpPr>
              <p:nvPr/>
            </p:nvSpPr>
            <p:spPr>
              <a:xfrm>
                <a:off x="6444291"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sp>
          <p:nvSpPr>
            <p:cNvPr id="865" name="矩形: 圆角 864">
              <a:extLst>
                <a:ext uri="{FF2B5EF4-FFF2-40B4-BE49-F238E27FC236}">
                  <a16:creationId xmlns="" xmlns:a14="http://schemas.microsoft.com/office/drawing/2010/main" xmlns:p14="http://schemas.microsoft.com/office/powerpoint/2010/main" xmlns:a16="http://schemas.microsoft.com/office/drawing/2014/main" id="{DD2E63D6-6AE5-47B3-9136-DD9595C59592}"/>
                </a:ext>
              </a:extLst>
            </p:cNvPr>
            <p:cNvSpPr>
              <a:spLocks noChangeAspect="1"/>
            </p:cNvSpPr>
            <p:nvPr/>
          </p:nvSpPr>
          <p:spPr>
            <a:xfrm>
              <a:off x="2237046" y="2682194"/>
              <a:ext cx="1322298" cy="743793"/>
            </a:xfrm>
            <a:prstGeom prst="roundRect">
              <a:avLst>
                <a:gd name="adj" fmla="val 4418"/>
              </a:avLst>
            </a:prstGeom>
            <a:solidFill>
              <a:schemeClr val="bg1"/>
            </a:solidFill>
            <a:ln w="12700">
              <a:solidFill>
                <a:srgbClr val="F0EE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sp>
          <p:nvSpPr>
            <p:cNvPr id="866" name="矩形: 圆角 865">
              <a:extLst>
                <a:ext uri="{FF2B5EF4-FFF2-40B4-BE49-F238E27FC236}">
                  <a16:creationId xmlns="" xmlns:a14="http://schemas.microsoft.com/office/drawing/2010/main" xmlns:p14="http://schemas.microsoft.com/office/powerpoint/2010/main" xmlns:a16="http://schemas.microsoft.com/office/drawing/2014/main" id="{7150F21C-954F-4DB0-821B-E1B6C03B7E19}"/>
                </a:ext>
              </a:extLst>
            </p:cNvPr>
            <p:cNvSpPr>
              <a:spLocks noChangeAspect="1"/>
            </p:cNvSpPr>
            <p:nvPr/>
          </p:nvSpPr>
          <p:spPr>
            <a:xfrm>
              <a:off x="795891" y="3541481"/>
              <a:ext cx="1322298" cy="743793"/>
            </a:xfrm>
            <a:prstGeom prst="roundRect">
              <a:avLst>
                <a:gd name="adj" fmla="val 4418"/>
              </a:avLst>
            </a:prstGeom>
            <a:solidFill>
              <a:schemeClr val="bg1"/>
            </a:solidFill>
            <a:ln w="12700">
              <a:solidFill>
                <a:srgbClr val="F0EE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868" name="矩形: 圆角 867">
              <a:extLst>
                <a:ext uri="{FF2B5EF4-FFF2-40B4-BE49-F238E27FC236}">
                  <a16:creationId xmlns="" xmlns:a14="http://schemas.microsoft.com/office/drawing/2010/main" xmlns:p14="http://schemas.microsoft.com/office/powerpoint/2010/main" xmlns:a16="http://schemas.microsoft.com/office/drawing/2014/main" id="{BED8AC01-2DFD-4915-8568-787BE6DA01CB}"/>
                </a:ext>
              </a:extLst>
            </p:cNvPr>
            <p:cNvSpPr>
              <a:spLocks noChangeAspect="1"/>
            </p:cNvSpPr>
            <p:nvPr/>
          </p:nvSpPr>
          <p:spPr>
            <a:xfrm>
              <a:off x="795891" y="4400769"/>
              <a:ext cx="1322298" cy="560808"/>
            </a:xfrm>
            <a:prstGeom prst="roundRect">
              <a:avLst>
                <a:gd name="adj" fmla="val 4418"/>
              </a:avLst>
            </a:prstGeom>
            <a:gradFill>
              <a:gsLst>
                <a:gs pos="50000">
                  <a:schemeClr val="bg1"/>
                </a:gs>
                <a:gs pos="100000">
                  <a:schemeClr val="bg1">
                    <a:alpha val="0"/>
                  </a:schemeClr>
                </a:gs>
              </a:gsLst>
              <a:lin ang="5400000" scaled="1"/>
            </a:gradFill>
            <a:ln w="12700">
              <a:gradFill>
                <a:gsLst>
                  <a:gs pos="0">
                    <a:srgbClr val="E7E5EA"/>
                  </a:gs>
                  <a:gs pos="100000">
                    <a:srgbClr val="E7E5EA">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869" name="矩形: 圆角 868">
              <a:extLst>
                <a:ext uri="{FF2B5EF4-FFF2-40B4-BE49-F238E27FC236}">
                  <a16:creationId xmlns="" xmlns:a14="http://schemas.microsoft.com/office/drawing/2010/main" xmlns:p14="http://schemas.microsoft.com/office/powerpoint/2010/main" xmlns:a16="http://schemas.microsoft.com/office/drawing/2014/main" id="{1783222E-7BB4-47D3-9EB9-C37001E8BCE1}"/>
                </a:ext>
              </a:extLst>
            </p:cNvPr>
            <p:cNvSpPr>
              <a:spLocks noChangeAspect="1"/>
            </p:cNvSpPr>
            <p:nvPr/>
          </p:nvSpPr>
          <p:spPr>
            <a:xfrm>
              <a:off x="2237046" y="4400769"/>
              <a:ext cx="1322298" cy="560808"/>
            </a:xfrm>
            <a:prstGeom prst="roundRect">
              <a:avLst>
                <a:gd name="adj" fmla="val 4418"/>
              </a:avLst>
            </a:prstGeom>
            <a:gradFill>
              <a:gsLst>
                <a:gs pos="50000">
                  <a:schemeClr val="bg1"/>
                </a:gs>
                <a:gs pos="100000">
                  <a:schemeClr val="bg1">
                    <a:alpha val="0"/>
                  </a:schemeClr>
                </a:gs>
              </a:gsLst>
              <a:lin ang="5400000" scaled="1"/>
            </a:gradFill>
            <a:ln w="12700">
              <a:gradFill>
                <a:gsLst>
                  <a:gs pos="0">
                    <a:srgbClr val="E7E5EA"/>
                  </a:gs>
                  <a:gs pos="100000">
                    <a:srgbClr val="E7E5EA">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874" name="组合 873">
              <a:extLst>
                <a:ext uri="{FF2B5EF4-FFF2-40B4-BE49-F238E27FC236}">
                  <a16:creationId xmlns="" xmlns:a14="http://schemas.microsoft.com/office/drawing/2010/main" xmlns:p14="http://schemas.microsoft.com/office/powerpoint/2010/main" xmlns:a16="http://schemas.microsoft.com/office/drawing/2014/main" id="{A45346F3-945E-42EA-99F7-BF1CA0EBCF23}"/>
                </a:ext>
              </a:extLst>
            </p:cNvPr>
            <p:cNvGrpSpPr/>
            <p:nvPr/>
          </p:nvGrpSpPr>
          <p:grpSpPr>
            <a:xfrm>
              <a:off x="957184" y="3664359"/>
              <a:ext cx="999712" cy="498037"/>
              <a:chOff x="7744090" y="1288932"/>
              <a:chExt cx="1833124" cy="913228"/>
            </a:xfrm>
          </p:grpSpPr>
          <p:cxnSp>
            <p:nvCxnSpPr>
              <p:cNvPr id="950" name="连接符: 肘形 949">
                <a:extLst>
                  <a:ext uri="{FF2B5EF4-FFF2-40B4-BE49-F238E27FC236}">
                    <a16:creationId xmlns="" xmlns:a14="http://schemas.microsoft.com/office/drawing/2010/main" xmlns:p14="http://schemas.microsoft.com/office/powerpoint/2010/main" xmlns:a16="http://schemas.microsoft.com/office/drawing/2014/main" id="{2DC0960E-DCC8-4213-89A3-9C8E6917B555}"/>
                  </a:ext>
                </a:extLst>
              </p:cNvPr>
              <p:cNvCxnSpPr>
                <a:cxnSpLocks/>
                <a:stCxn id="955" idx="1"/>
                <a:endCxn id="956" idx="0"/>
              </p:cNvCxnSpPr>
              <p:nvPr/>
            </p:nvCxnSpPr>
            <p:spPr>
              <a:xfrm rot="10800000" flipV="1">
                <a:off x="7949112" y="1465564"/>
                <a:ext cx="285973" cy="326552"/>
              </a:xfrm>
              <a:prstGeom prst="bentConnector2">
                <a:avLst/>
              </a:prstGeom>
              <a:solidFill>
                <a:srgbClr val="867D98">
                  <a:lumMod val="20000"/>
                  <a:lumOff val="80000"/>
                </a:srgbClr>
              </a:solidFill>
              <a:ln w="12700" cap="flat" cmpd="sng" algn="ctr">
                <a:solidFill>
                  <a:srgbClr val="E7E5EA"/>
                </a:solidFill>
                <a:prstDash val="solid"/>
                <a:miter lim="800000"/>
              </a:ln>
              <a:effectLst/>
            </p:spPr>
          </p:cxnSp>
          <p:cxnSp>
            <p:nvCxnSpPr>
              <p:cNvPr id="951" name="连接符: 肘形 950">
                <a:extLst>
                  <a:ext uri="{FF2B5EF4-FFF2-40B4-BE49-F238E27FC236}">
                    <a16:creationId xmlns="" xmlns:a14="http://schemas.microsoft.com/office/drawing/2010/main" xmlns:p14="http://schemas.microsoft.com/office/powerpoint/2010/main" xmlns:a16="http://schemas.microsoft.com/office/drawing/2014/main" id="{03CD0D39-088F-448F-8C3C-4FF43F92033E}"/>
                  </a:ext>
                </a:extLst>
              </p:cNvPr>
              <p:cNvCxnSpPr>
                <a:cxnSpLocks/>
                <a:stCxn id="955" idx="3"/>
              </p:cNvCxnSpPr>
              <p:nvPr/>
            </p:nvCxnSpPr>
            <p:spPr>
              <a:xfrm>
                <a:off x="9135072" y="1465564"/>
                <a:ext cx="225522" cy="326552"/>
              </a:xfrm>
              <a:prstGeom prst="bentConnector2">
                <a:avLst/>
              </a:prstGeom>
              <a:solidFill>
                <a:srgbClr val="867D98">
                  <a:lumMod val="20000"/>
                  <a:lumOff val="80000"/>
                </a:srgbClr>
              </a:solidFill>
              <a:ln w="12700" cap="flat" cmpd="sng" algn="ctr">
                <a:solidFill>
                  <a:srgbClr val="E7E5EA"/>
                </a:solidFill>
                <a:prstDash val="solid"/>
                <a:miter lim="800000"/>
              </a:ln>
              <a:effectLst/>
            </p:spPr>
          </p:cxnSp>
          <p:grpSp>
            <p:nvGrpSpPr>
              <p:cNvPr id="952" name="组合 951">
                <a:extLst>
                  <a:ext uri="{FF2B5EF4-FFF2-40B4-BE49-F238E27FC236}">
                    <a16:creationId xmlns="" xmlns:a14="http://schemas.microsoft.com/office/drawing/2010/main" xmlns:p14="http://schemas.microsoft.com/office/powerpoint/2010/main" xmlns:a16="http://schemas.microsoft.com/office/drawing/2014/main" id="{758E4CA3-A24B-4E35-8D8A-86224D79D0F3}"/>
                  </a:ext>
                </a:extLst>
              </p:cNvPr>
              <p:cNvGrpSpPr/>
              <p:nvPr/>
            </p:nvGrpSpPr>
            <p:grpSpPr>
              <a:xfrm>
                <a:off x="7744090" y="1288932"/>
                <a:ext cx="1833124" cy="913228"/>
                <a:chOff x="7824356" y="1531238"/>
                <a:chExt cx="1725410" cy="859568"/>
              </a:xfrm>
            </p:grpSpPr>
            <p:sp>
              <p:nvSpPr>
                <p:cNvPr id="956" name="椭圆 23">
                  <a:extLst>
                    <a:ext uri="{FF2B5EF4-FFF2-40B4-BE49-F238E27FC236}">
                      <a16:creationId xmlns="" xmlns:a14="http://schemas.microsoft.com/office/drawing/2010/main" xmlns:p14="http://schemas.microsoft.com/office/powerpoint/2010/main" xmlns:a16="http://schemas.microsoft.com/office/drawing/2014/main" id="{6FED75BF-8F8A-417D-86F1-CCF2CCA854C3}"/>
                    </a:ext>
                  </a:extLst>
                </p:cNvPr>
                <p:cNvSpPr/>
                <p:nvPr/>
              </p:nvSpPr>
              <p:spPr>
                <a:xfrm>
                  <a:off x="7824356" y="2004856"/>
                  <a:ext cx="385951" cy="385950"/>
                </a:xfrm>
                <a:prstGeom prst="roundRect">
                  <a:avLst>
                    <a:gd name="adj" fmla="val 13472"/>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a:solidFill>
                      <a:srgbClr val="44546A">
                        <a:lumMod val="60000"/>
                        <a:lumOff val="40000"/>
                      </a:srgbClr>
                    </a:solidFill>
                  </a:endParaRPr>
                </a:p>
              </p:txBody>
            </p:sp>
            <p:cxnSp>
              <p:nvCxnSpPr>
                <p:cNvPr id="954" name="连接符: 肘形 953">
                  <a:extLst>
                    <a:ext uri="{FF2B5EF4-FFF2-40B4-BE49-F238E27FC236}">
                      <a16:creationId xmlns="" xmlns:a14="http://schemas.microsoft.com/office/drawing/2010/main" xmlns:p14="http://schemas.microsoft.com/office/powerpoint/2010/main" xmlns:a16="http://schemas.microsoft.com/office/drawing/2014/main" id="{C0DCE433-FEB9-4256-AD52-55CF06BA8EB0}"/>
                    </a:ext>
                  </a:extLst>
                </p:cNvPr>
                <p:cNvCxnSpPr>
                  <a:cxnSpLocks/>
                </p:cNvCxnSpPr>
                <p:nvPr/>
              </p:nvCxnSpPr>
              <p:spPr>
                <a:xfrm rot="16200000" flipV="1">
                  <a:off x="8681605" y="1783431"/>
                  <a:ext cx="12700" cy="442850"/>
                </a:xfrm>
                <a:prstGeom prst="bentConnector3">
                  <a:avLst>
                    <a:gd name="adj1" fmla="val 1554551"/>
                  </a:avLst>
                </a:prstGeom>
                <a:solidFill>
                  <a:srgbClr val="867D98">
                    <a:lumMod val="20000"/>
                    <a:lumOff val="80000"/>
                  </a:srgbClr>
                </a:solidFill>
                <a:ln w="12700" cap="flat" cmpd="sng" algn="ctr">
                  <a:solidFill>
                    <a:srgbClr val="E7E5EA"/>
                  </a:solidFill>
                  <a:prstDash val="solid"/>
                  <a:miter lim="800000"/>
                </a:ln>
                <a:effectLst/>
              </p:spPr>
            </p:cxnSp>
            <p:sp>
              <p:nvSpPr>
                <p:cNvPr id="955" name="圆角矩形 13">
                  <a:extLst>
                    <a:ext uri="{FF2B5EF4-FFF2-40B4-BE49-F238E27FC236}">
                      <a16:creationId xmlns="" xmlns:a14="http://schemas.microsoft.com/office/drawing/2010/main" xmlns:p14="http://schemas.microsoft.com/office/powerpoint/2010/main" xmlns:a16="http://schemas.microsoft.com/office/drawing/2014/main" id="{425684A3-885C-4A76-A115-DF158F3814AA}"/>
                    </a:ext>
                  </a:extLst>
                </p:cNvPr>
                <p:cNvSpPr/>
                <p:nvPr/>
              </p:nvSpPr>
              <p:spPr>
                <a:xfrm flipV="1">
                  <a:off x="8286501" y="1531238"/>
                  <a:ext cx="847108" cy="332509"/>
                </a:xfrm>
                <a:prstGeom prst="roundRect">
                  <a:avLst>
                    <a:gd name="adj" fmla="val 13146"/>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endParaRPr>
                </a:p>
              </p:txBody>
            </p:sp>
            <p:sp>
              <p:nvSpPr>
                <p:cNvPr id="1054" name="椭圆 23">
                  <a:extLst>
                    <a:ext uri="{FF2B5EF4-FFF2-40B4-BE49-F238E27FC236}">
                      <a16:creationId xmlns="" xmlns:a14="http://schemas.microsoft.com/office/drawing/2010/main" xmlns:p14="http://schemas.microsoft.com/office/powerpoint/2010/main" xmlns:a16="http://schemas.microsoft.com/office/drawing/2014/main" id="{9035EC9B-2C33-4F7F-9809-0CDD148A767C}"/>
                    </a:ext>
                  </a:extLst>
                </p:cNvPr>
                <p:cNvSpPr/>
                <p:nvPr/>
              </p:nvSpPr>
              <p:spPr>
                <a:xfrm>
                  <a:off x="8270843" y="2004856"/>
                  <a:ext cx="385950" cy="385950"/>
                </a:xfrm>
                <a:prstGeom prst="roundRect">
                  <a:avLst>
                    <a:gd name="adj" fmla="val 13472"/>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a:solidFill>
                      <a:srgbClr val="44546A">
                        <a:lumMod val="60000"/>
                        <a:lumOff val="40000"/>
                      </a:srgbClr>
                    </a:solidFill>
                  </a:endParaRPr>
                </a:p>
              </p:txBody>
            </p:sp>
            <p:sp>
              <p:nvSpPr>
                <p:cNvPr id="1055" name="椭圆 23">
                  <a:extLst>
                    <a:ext uri="{FF2B5EF4-FFF2-40B4-BE49-F238E27FC236}">
                      <a16:creationId xmlns="" xmlns:a14="http://schemas.microsoft.com/office/drawing/2010/main" xmlns:p14="http://schemas.microsoft.com/office/powerpoint/2010/main" xmlns:a16="http://schemas.microsoft.com/office/drawing/2014/main" id="{ADF15E24-6782-4AFE-9825-CF52713FCFF3}"/>
                    </a:ext>
                  </a:extLst>
                </p:cNvPr>
                <p:cNvSpPr/>
                <p:nvPr/>
              </p:nvSpPr>
              <p:spPr>
                <a:xfrm>
                  <a:off x="8717329" y="2004856"/>
                  <a:ext cx="385950" cy="385950"/>
                </a:xfrm>
                <a:prstGeom prst="roundRect">
                  <a:avLst>
                    <a:gd name="adj" fmla="val 13472"/>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a:solidFill>
                      <a:srgbClr val="44546A">
                        <a:lumMod val="60000"/>
                        <a:lumOff val="40000"/>
                      </a:srgbClr>
                    </a:solidFill>
                  </a:endParaRPr>
                </a:p>
              </p:txBody>
            </p:sp>
            <p:sp>
              <p:nvSpPr>
                <p:cNvPr id="1056" name="椭圆 23">
                  <a:extLst>
                    <a:ext uri="{FF2B5EF4-FFF2-40B4-BE49-F238E27FC236}">
                      <a16:creationId xmlns="" xmlns:a14="http://schemas.microsoft.com/office/drawing/2010/main" xmlns:p14="http://schemas.microsoft.com/office/powerpoint/2010/main" xmlns:a16="http://schemas.microsoft.com/office/drawing/2014/main" id="{F8288D8E-E3DC-4D46-9429-06EEF8F0B14C}"/>
                    </a:ext>
                  </a:extLst>
                </p:cNvPr>
                <p:cNvSpPr/>
                <p:nvPr/>
              </p:nvSpPr>
              <p:spPr>
                <a:xfrm>
                  <a:off x="9163816" y="2004856"/>
                  <a:ext cx="385950" cy="385950"/>
                </a:xfrm>
                <a:prstGeom prst="roundRect">
                  <a:avLst>
                    <a:gd name="adj" fmla="val 13472"/>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a:solidFill>
                      <a:srgbClr val="44546A">
                        <a:lumMod val="60000"/>
                        <a:lumOff val="40000"/>
                      </a:srgbClr>
                    </a:solidFill>
                  </a:endParaRPr>
                </a:p>
              </p:txBody>
            </p:sp>
          </p:grpSp>
        </p:grpSp>
        <p:sp>
          <p:nvSpPr>
            <p:cNvPr id="876" name="矩形: 圆角 875">
              <a:extLst>
                <a:ext uri="{FF2B5EF4-FFF2-40B4-BE49-F238E27FC236}">
                  <a16:creationId xmlns="" xmlns:a14="http://schemas.microsoft.com/office/drawing/2010/main" xmlns:p14="http://schemas.microsoft.com/office/powerpoint/2010/main" xmlns:a16="http://schemas.microsoft.com/office/drawing/2014/main" id="{717959DC-79F8-484F-955A-560CC57C056E}"/>
                </a:ext>
              </a:extLst>
            </p:cNvPr>
            <p:cNvSpPr>
              <a:spLocks noChangeAspect="1"/>
            </p:cNvSpPr>
            <p:nvPr/>
          </p:nvSpPr>
          <p:spPr>
            <a:xfrm>
              <a:off x="2237046" y="3541481"/>
              <a:ext cx="1322298" cy="743793"/>
            </a:xfrm>
            <a:prstGeom prst="roundRect">
              <a:avLst>
                <a:gd name="adj" fmla="val 4418"/>
              </a:avLst>
            </a:prstGeom>
            <a:noFill/>
            <a:ln w="19050">
              <a:solidFill>
                <a:srgbClr val="F734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877" name="组合 876">
              <a:extLst>
                <a:ext uri="{FF2B5EF4-FFF2-40B4-BE49-F238E27FC236}">
                  <a16:creationId xmlns="" xmlns:a14="http://schemas.microsoft.com/office/drawing/2010/main" xmlns:p14="http://schemas.microsoft.com/office/powerpoint/2010/main" xmlns:a16="http://schemas.microsoft.com/office/drawing/2014/main" id="{A47B174F-DED1-4EE4-98E9-9689C17871B3}"/>
                </a:ext>
              </a:extLst>
            </p:cNvPr>
            <p:cNvGrpSpPr/>
            <p:nvPr/>
          </p:nvGrpSpPr>
          <p:grpSpPr>
            <a:xfrm>
              <a:off x="932879" y="4540141"/>
              <a:ext cx="1048323" cy="258613"/>
              <a:chOff x="5400091" y="4685784"/>
              <a:chExt cx="1747512" cy="431123"/>
            </a:xfrm>
          </p:grpSpPr>
          <p:sp>
            <p:nvSpPr>
              <p:cNvPr id="933" name="圆角矩形 13">
                <a:extLst>
                  <a:ext uri="{FF2B5EF4-FFF2-40B4-BE49-F238E27FC236}">
                    <a16:creationId xmlns="" xmlns:a14="http://schemas.microsoft.com/office/drawing/2010/main" xmlns:p14="http://schemas.microsoft.com/office/powerpoint/2010/main" xmlns:a16="http://schemas.microsoft.com/office/drawing/2014/main" id="{E984AE22-DDC3-4306-93CF-33DF1411F324}"/>
                  </a:ext>
                </a:extLst>
              </p:cNvPr>
              <p:cNvSpPr/>
              <p:nvPr/>
            </p:nvSpPr>
            <p:spPr>
              <a:xfrm>
                <a:off x="5400093" y="4935166"/>
                <a:ext cx="497744" cy="181741"/>
              </a:xfrm>
              <a:prstGeom prst="roundRect">
                <a:avLst>
                  <a:gd name="adj" fmla="val 7526"/>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latin typeface="Arial"/>
                  <a:ea typeface="微软雅黑"/>
                </a:endParaRPr>
              </a:p>
            </p:txBody>
          </p:sp>
          <p:sp>
            <p:nvSpPr>
              <p:cNvPr id="936" name="圆角矩形 245">
                <a:extLst>
                  <a:ext uri="{FF2B5EF4-FFF2-40B4-BE49-F238E27FC236}">
                    <a16:creationId xmlns="" xmlns:a14="http://schemas.microsoft.com/office/drawing/2010/main" xmlns:p14="http://schemas.microsoft.com/office/powerpoint/2010/main" xmlns:a16="http://schemas.microsoft.com/office/drawing/2014/main" id="{849C80C1-BE01-465E-B9B6-4452729B5A75}"/>
                  </a:ext>
                </a:extLst>
              </p:cNvPr>
              <p:cNvSpPr/>
              <p:nvPr/>
            </p:nvSpPr>
            <p:spPr>
              <a:xfrm>
                <a:off x="5400091" y="4685784"/>
                <a:ext cx="1747511" cy="152087"/>
              </a:xfrm>
              <a:prstGeom prst="roundRect">
                <a:avLst>
                  <a:gd name="adj" fmla="val 13146"/>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latin typeface="Arial"/>
                  <a:ea typeface="微软雅黑"/>
                </a:endParaRPr>
              </a:p>
            </p:txBody>
          </p:sp>
          <p:sp>
            <p:nvSpPr>
              <p:cNvPr id="1078" name="圆角矩形 13">
                <a:extLst>
                  <a:ext uri="{FF2B5EF4-FFF2-40B4-BE49-F238E27FC236}">
                    <a16:creationId xmlns="" xmlns:a14="http://schemas.microsoft.com/office/drawing/2010/main" xmlns:p14="http://schemas.microsoft.com/office/powerpoint/2010/main" xmlns:a16="http://schemas.microsoft.com/office/drawing/2014/main" id="{CBEF49A2-DE81-4E3A-9FC4-3EF2DA37CCB9}"/>
                  </a:ext>
                </a:extLst>
              </p:cNvPr>
              <p:cNvSpPr/>
              <p:nvPr/>
            </p:nvSpPr>
            <p:spPr>
              <a:xfrm>
                <a:off x="6024976" y="4935166"/>
                <a:ext cx="497744" cy="181741"/>
              </a:xfrm>
              <a:prstGeom prst="roundRect">
                <a:avLst>
                  <a:gd name="adj" fmla="val 7526"/>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latin typeface="Arial"/>
                  <a:ea typeface="微软雅黑"/>
                </a:endParaRPr>
              </a:p>
            </p:txBody>
          </p:sp>
          <p:sp>
            <p:nvSpPr>
              <p:cNvPr id="1079" name="圆角矩形 13">
                <a:extLst>
                  <a:ext uri="{FF2B5EF4-FFF2-40B4-BE49-F238E27FC236}">
                    <a16:creationId xmlns="" xmlns:a14="http://schemas.microsoft.com/office/drawing/2010/main" xmlns:p14="http://schemas.microsoft.com/office/powerpoint/2010/main" xmlns:a16="http://schemas.microsoft.com/office/drawing/2014/main" id="{F1443997-023C-4899-949D-EFB18DCA2EFB}"/>
                  </a:ext>
                </a:extLst>
              </p:cNvPr>
              <p:cNvSpPr/>
              <p:nvPr/>
            </p:nvSpPr>
            <p:spPr>
              <a:xfrm>
                <a:off x="6649859" y="4935166"/>
                <a:ext cx="497744" cy="181741"/>
              </a:xfrm>
              <a:prstGeom prst="roundRect">
                <a:avLst>
                  <a:gd name="adj" fmla="val 7526"/>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latin typeface="Arial"/>
                  <a:ea typeface="微软雅黑"/>
                </a:endParaRPr>
              </a:p>
            </p:txBody>
          </p:sp>
        </p:grpSp>
        <p:grpSp>
          <p:nvGrpSpPr>
            <p:cNvPr id="16" name="组合 15">
              <a:extLst>
                <a:ext uri="{FF2B5EF4-FFF2-40B4-BE49-F238E27FC236}">
                  <a16:creationId xmlns="" xmlns:a14="http://schemas.microsoft.com/office/drawing/2010/main" xmlns:p14="http://schemas.microsoft.com/office/powerpoint/2010/main" xmlns:a16="http://schemas.microsoft.com/office/drawing/2014/main" id="{2DAF75D4-D96A-4B48-B019-A6009ADFD41C}"/>
                </a:ext>
              </a:extLst>
            </p:cNvPr>
            <p:cNvGrpSpPr/>
            <p:nvPr/>
          </p:nvGrpSpPr>
          <p:grpSpPr>
            <a:xfrm>
              <a:off x="2432734" y="2810541"/>
              <a:ext cx="930922" cy="487099"/>
              <a:chOff x="2346558" y="2871788"/>
              <a:chExt cx="856042" cy="447918"/>
            </a:xfrm>
          </p:grpSpPr>
          <p:sp>
            <p:nvSpPr>
              <p:cNvPr id="15" name="椭圆 14">
                <a:extLst>
                  <a:ext uri="{FF2B5EF4-FFF2-40B4-BE49-F238E27FC236}">
                    <a16:creationId xmlns="" xmlns:a14="http://schemas.microsoft.com/office/drawing/2010/main" xmlns:p14="http://schemas.microsoft.com/office/powerpoint/2010/main" xmlns:a16="http://schemas.microsoft.com/office/drawing/2014/main" id="{30EB6250-9E39-4126-8AA4-AB3EDCED7EB6}"/>
                  </a:ext>
                </a:extLst>
              </p:cNvPr>
              <p:cNvSpPr>
                <a:spLocks noChangeAspect="1"/>
              </p:cNvSpPr>
              <p:nvPr/>
            </p:nvSpPr>
            <p:spPr>
              <a:xfrm>
                <a:off x="2346558" y="2871788"/>
                <a:ext cx="216000" cy="216000"/>
              </a:xfrm>
              <a:prstGeom prst="ellipse">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016" name="组合 1015">
                <a:extLst>
                  <a:ext uri="{FF2B5EF4-FFF2-40B4-BE49-F238E27FC236}">
                    <a16:creationId xmlns="" xmlns:a14="http://schemas.microsoft.com/office/drawing/2010/main" xmlns:p14="http://schemas.microsoft.com/office/powerpoint/2010/main" xmlns:a16="http://schemas.microsoft.com/office/drawing/2014/main" id="{00B46A84-E3D2-42EF-999A-0E0C42EBBC2D}"/>
                  </a:ext>
                </a:extLst>
              </p:cNvPr>
              <p:cNvGrpSpPr/>
              <p:nvPr/>
            </p:nvGrpSpPr>
            <p:grpSpPr>
              <a:xfrm>
                <a:off x="2364558" y="3168433"/>
                <a:ext cx="180000" cy="151273"/>
                <a:chOff x="926763" y="3187237"/>
                <a:chExt cx="144000" cy="151273"/>
              </a:xfrm>
            </p:grpSpPr>
            <p:sp>
              <p:nvSpPr>
                <p:cNvPr id="1023" name="矩形 1022">
                  <a:extLst>
                    <a:ext uri="{FF2B5EF4-FFF2-40B4-BE49-F238E27FC236}">
                      <a16:creationId xmlns="" xmlns:a14="http://schemas.microsoft.com/office/drawing/2010/main" xmlns:p14="http://schemas.microsoft.com/office/powerpoint/2010/main" xmlns:a16="http://schemas.microsoft.com/office/drawing/2014/main" id="{0939C5B3-D0BE-4CBE-9F01-15D03E9B4905}"/>
                    </a:ext>
                  </a:extLst>
                </p:cNvPr>
                <p:cNvSpPr/>
                <p:nvPr/>
              </p:nvSpPr>
              <p:spPr>
                <a:xfrm>
                  <a:off x="926763" y="3187237"/>
                  <a:ext cx="144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24" name="矩形 1023">
                  <a:extLst>
                    <a:ext uri="{FF2B5EF4-FFF2-40B4-BE49-F238E27FC236}">
                      <a16:creationId xmlns="" xmlns:a14="http://schemas.microsoft.com/office/drawing/2010/main" xmlns:p14="http://schemas.microsoft.com/office/powerpoint/2010/main" xmlns:a16="http://schemas.microsoft.com/office/drawing/2014/main" id="{2BFB96C1-8536-43E9-8B4B-83BEEEDD63EE}"/>
                    </a:ext>
                  </a:extLst>
                </p:cNvPr>
                <p:cNvSpPr/>
                <p:nvPr/>
              </p:nvSpPr>
              <p:spPr>
                <a:xfrm>
                  <a:off x="926763" y="3284510"/>
                  <a:ext cx="144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041" name="椭圆 1040">
                <a:extLst>
                  <a:ext uri="{FF2B5EF4-FFF2-40B4-BE49-F238E27FC236}">
                    <a16:creationId xmlns="" xmlns:a14="http://schemas.microsoft.com/office/drawing/2010/main" xmlns:p14="http://schemas.microsoft.com/office/powerpoint/2010/main" xmlns:a16="http://schemas.microsoft.com/office/drawing/2014/main" id="{6CEF65A3-982C-4BEA-865C-CB1C6FB3B03C}"/>
                  </a:ext>
                </a:extLst>
              </p:cNvPr>
              <p:cNvSpPr>
                <a:spLocks noChangeAspect="1"/>
              </p:cNvSpPr>
              <p:nvPr/>
            </p:nvSpPr>
            <p:spPr>
              <a:xfrm>
                <a:off x="2666579" y="2871788"/>
                <a:ext cx="216000" cy="216000"/>
              </a:xfrm>
              <a:prstGeom prst="ellipse">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042" name="组合 1041">
                <a:extLst>
                  <a:ext uri="{FF2B5EF4-FFF2-40B4-BE49-F238E27FC236}">
                    <a16:creationId xmlns="" xmlns:a14="http://schemas.microsoft.com/office/drawing/2010/main" xmlns:p14="http://schemas.microsoft.com/office/powerpoint/2010/main" xmlns:a16="http://schemas.microsoft.com/office/drawing/2014/main" id="{3E064D18-B094-48FE-8986-E1850BC4D92C}"/>
                  </a:ext>
                </a:extLst>
              </p:cNvPr>
              <p:cNvGrpSpPr/>
              <p:nvPr/>
            </p:nvGrpSpPr>
            <p:grpSpPr>
              <a:xfrm>
                <a:off x="2684579" y="3168433"/>
                <a:ext cx="180000" cy="151273"/>
                <a:chOff x="926763" y="3187237"/>
                <a:chExt cx="144000" cy="151273"/>
              </a:xfrm>
            </p:grpSpPr>
            <p:sp>
              <p:nvSpPr>
                <p:cNvPr id="1043" name="矩形 1042">
                  <a:extLst>
                    <a:ext uri="{FF2B5EF4-FFF2-40B4-BE49-F238E27FC236}">
                      <a16:creationId xmlns="" xmlns:a14="http://schemas.microsoft.com/office/drawing/2010/main" xmlns:p14="http://schemas.microsoft.com/office/powerpoint/2010/main" xmlns:a16="http://schemas.microsoft.com/office/drawing/2014/main" id="{E3ECD842-62EE-4219-B56E-B39E7EA7768B}"/>
                    </a:ext>
                  </a:extLst>
                </p:cNvPr>
                <p:cNvSpPr/>
                <p:nvPr/>
              </p:nvSpPr>
              <p:spPr>
                <a:xfrm>
                  <a:off x="926763" y="3187237"/>
                  <a:ext cx="144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44" name="矩形 1043">
                  <a:extLst>
                    <a:ext uri="{FF2B5EF4-FFF2-40B4-BE49-F238E27FC236}">
                      <a16:creationId xmlns="" xmlns:a14="http://schemas.microsoft.com/office/drawing/2010/main" xmlns:p14="http://schemas.microsoft.com/office/powerpoint/2010/main" xmlns:a16="http://schemas.microsoft.com/office/drawing/2014/main" id="{1B95D614-39A0-4244-80D1-C3EEBD4BD33A}"/>
                    </a:ext>
                  </a:extLst>
                </p:cNvPr>
                <p:cNvSpPr/>
                <p:nvPr/>
              </p:nvSpPr>
              <p:spPr>
                <a:xfrm>
                  <a:off x="926763" y="3284510"/>
                  <a:ext cx="144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045" name="椭圆 1044">
                <a:extLst>
                  <a:ext uri="{FF2B5EF4-FFF2-40B4-BE49-F238E27FC236}">
                    <a16:creationId xmlns="" xmlns:a14="http://schemas.microsoft.com/office/drawing/2010/main" xmlns:p14="http://schemas.microsoft.com/office/powerpoint/2010/main" xmlns:a16="http://schemas.microsoft.com/office/drawing/2014/main" id="{190098A9-E668-4E89-A186-0A482EAD4129}"/>
                  </a:ext>
                </a:extLst>
              </p:cNvPr>
              <p:cNvSpPr>
                <a:spLocks noChangeAspect="1"/>
              </p:cNvSpPr>
              <p:nvPr/>
            </p:nvSpPr>
            <p:spPr>
              <a:xfrm>
                <a:off x="2986600" y="2871788"/>
                <a:ext cx="216000" cy="216000"/>
              </a:xfrm>
              <a:prstGeom prst="ellipse">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046" name="组合 1045">
                <a:extLst>
                  <a:ext uri="{FF2B5EF4-FFF2-40B4-BE49-F238E27FC236}">
                    <a16:creationId xmlns="" xmlns:a14="http://schemas.microsoft.com/office/drawing/2010/main" xmlns:p14="http://schemas.microsoft.com/office/powerpoint/2010/main" xmlns:a16="http://schemas.microsoft.com/office/drawing/2014/main" id="{432BC3E3-C33F-45DB-9C12-80DBA9576112}"/>
                  </a:ext>
                </a:extLst>
              </p:cNvPr>
              <p:cNvGrpSpPr/>
              <p:nvPr/>
            </p:nvGrpSpPr>
            <p:grpSpPr>
              <a:xfrm>
                <a:off x="3004600" y="3168433"/>
                <a:ext cx="180000" cy="151273"/>
                <a:chOff x="926763" y="3187237"/>
                <a:chExt cx="144000" cy="151273"/>
              </a:xfrm>
            </p:grpSpPr>
            <p:sp>
              <p:nvSpPr>
                <p:cNvPr id="1047" name="矩形 1046">
                  <a:extLst>
                    <a:ext uri="{FF2B5EF4-FFF2-40B4-BE49-F238E27FC236}">
                      <a16:creationId xmlns="" xmlns:a14="http://schemas.microsoft.com/office/drawing/2010/main" xmlns:p14="http://schemas.microsoft.com/office/powerpoint/2010/main" xmlns:a16="http://schemas.microsoft.com/office/drawing/2014/main" id="{AFBE4C15-7AB1-49CF-B975-F6CA747FBD07}"/>
                    </a:ext>
                  </a:extLst>
                </p:cNvPr>
                <p:cNvSpPr/>
                <p:nvPr/>
              </p:nvSpPr>
              <p:spPr>
                <a:xfrm>
                  <a:off x="926763" y="3187237"/>
                  <a:ext cx="144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48" name="矩形 1047">
                  <a:extLst>
                    <a:ext uri="{FF2B5EF4-FFF2-40B4-BE49-F238E27FC236}">
                      <a16:creationId xmlns="" xmlns:a14="http://schemas.microsoft.com/office/drawing/2010/main" xmlns:p14="http://schemas.microsoft.com/office/powerpoint/2010/main" xmlns:a16="http://schemas.microsoft.com/office/drawing/2014/main" id="{7970FEF5-16DF-4A00-989C-7C6C60A9B9EE}"/>
                    </a:ext>
                  </a:extLst>
                </p:cNvPr>
                <p:cNvSpPr/>
                <p:nvPr/>
              </p:nvSpPr>
              <p:spPr>
                <a:xfrm>
                  <a:off x="926763" y="3284510"/>
                  <a:ext cx="144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sp>
          <p:nvSpPr>
            <p:cNvPr id="863" name="矩形: 圆角 862">
              <a:extLst>
                <a:ext uri="{FF2B5EF4-FFF2-40B4-BE49-F238E27FC236}">
                  <a16:creationId xmlns="" xmlns:a14="http://schemas.microsoft.com/office/drawing/2010/main" xmlns:p14="http://schemas.microsoft.com/office/powerpoint/2010/main" xmlns:a16="http://schemas.microsoft.com/office/drawing/2014/main" id="{B64809AD-D167-45C7-A4EC-8560EE574446}"/>
                </a:ext>
              </a:extLst>
            </p:cNvPr>
            <p:cNvSpPr>
              <a:spLocks noChangeAspect="1"/>
            </p:cNvSpPr>
            <p:nvPr/>
          </p:nvSpPr>
          <p:spPr>
            <a:xfrm>
              <a:off x="795891" y="2682194"/>
              <a:ext cx="1322298" cy="743793"/>
            </a:xfrm>
            <a:prstGeom prst="roundRect">
              <a:avLst>
                <a:gd name="adj" fmla="val 4418"/>
              </a:avLst>
            </a:prstGeom>
            <a:solidFill>
              <a:schemeClr val="bg1"/>
            </a:solidFill>
            <a:ln w="12700">
              <a:solidFill>
                <a:srgbClr val="F0EE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25" name="组合 24">
              <a:extLst>
                <a:ext uri="{FF2B5EF4-FFF2-40B4-BE49-F238E27FC236}">
                  <a16:creationId xmlns="" xmlns:a14="http://schemas.microsoft.com/office/drawing/2010/main" xmlns:p14="http://schemas.microsoft.com/office/powerpoint/2010/main" xmlns:a16="http://schemas.microsoft.com/office/drawing/2014/main" id="{4194A22F-CDBB-4156-87AB-7F39A731E5B3}"/>
                </a:ext>
              </a:extLst>
            </p:cNvPr>
            <p:cNvGrpSpPr/>
            <p:nvPr/>
          </p:nvGrpSpPr>
          <p:grpSpPr>
            <a:xfrm>
              <a:off x="958894" y="2827593"/>
              <a:ext cx="996293" cy="452994"/>
              <a:chOff x="2397064" y="3686880"/>
              <a:chExt cx="996293" cy="452994"/>
            </a:xfrm>
          </p:grpSpPr>
          <p:grpSp>
            <p:nvGrpSpPr>
              <p:cNvPr id="938" name="组合 937">
                <a:extLst>
                  <a:ext uri="{FF2B5EF4-FFF2-40B4-BE49-F238E27FC236}">
                    <a16:creationId xmlns="" xmlns:a14="http://schemas.microsoft.com/office/drawing/2010/main" xmlns:p14="http://schemas.microsoft.com/office/powerpoint/2010/main" xmlns:a16="http://schemas.microsoft.com/office/drawing/2014/main" id="{17F70482-DADB-43DB-A367-52DA6ED9235A}"/>
                  </a:ext>
                </a:extLst>
              </p:cNvPr>
              <p:cNvGrpSpPr/>
              <p:nvPr/>
            </p:nvGrpSpPr>
            <p:grpSpPr>
              <a:xfrm>
                <a:off x="2397064" y="3686880"/>
                <a:ext cx="466228" cy="452994"/>
                <a:chOff x="7824355" y="3116332"/>
                <a:chExt cx="916957" cy="890931"/>
              </a:xfrm>
            </p:grpSpPr>
            <p:sp>
              <p:nvSpPr>
                <p:cNvPr id="944" name="六边形 943">
                  <a:extLst>
                    <a:ext uri="{FF2B5EF4-FFF2-40B4-BE49-F238E27FC236}">
                      <a16:creationId xmlns="" xmlns:a14="http://schemas.microsoft.com/office/drawing/2010/main" xmlns:p14="http://schemas.microsoft.com/office/powerpoint/2010/main" xmlns:a16="http://schemas.microsoft.com/office/drawing/2014/main" id="{594B32B4-0694-4481-BEDC-09F0B29FD15B}"/>
                    </a:ext>
                  </a:extLst>
                </p:cNvPr>
                <p:cNvSpPr/>
                <p:nvPr/>
              </p:nvSpPr>
              <p:spPr>
                <a:xfrm>
                  <a:off x="7824355" y="3116332"/>
                  <a:ext cx="479977" cy="413773"/>
                </a:xfrm>
                <a:prstGeom prst="hexagon">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a:solidFill>
                      <a:srgbClr val="44546A">
                        <a:lumMod val="60000"/>
                        <a:lumOff val="40000"/>
                      </a:srgbClr>
                    </a:solidFill>
                  </a:endParaRPr>
                </a:p>
              </p:txBody>
            </p:sp>
            <p:sp>
              <p:nvSpPr>
                <p:cNvPr id="945" name="六边形 944">
                  <a:extLst>
                    <a:ext uri="{FF2B5EF4-FFF2-40B4-BE49-F238E27FC236}">
                      <a16:creationId xmlns="" xmlns:a14="http://schemas.microsoft.com/office/drawing/2010/main" xmlns:p14="http://schemas.microsoft.com/office/powerpoint/2010/main" xmlns:a16="http://schemas.microsoft.com/office/drawing/2014/main" id="{3295658D-3A76-4A00-8F34-A27D1CBEC15C}"/>
                    </a:ext>
                  </a:extLst>
                </p:cNvPr>
                <p:cNvSpPr/>
                <p:nvPr/>
              </p:nvSpPr>
              <p:spPr>
                <a:xfrm>
                  <a:off x="8261335" y="3350709"/>
                  <a:ext cx="479977" cy="413773"/>
                </a:xfrm>
                <a:prstGeom prst="hexagon">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a:solidFill>
                      <a:srgbClr val="44546A">
                        <a:lumMod val="60000"/>
                        <a:lumOff val="40000"/>
                      </a:srgbClr>
                    </a:solidFill>
                  </a:endParaRPr>
                </a:p>
              </p:txBody>
            </p:sp>
            <p:sp>
              <p:nvSpPr>
                <p:cNvPr id="947" name="六边形 946">
                  <a:extLst>
                    <a:ext uri="{FF2B5EF4-FFF2-40B4-BE49-F238E27FC236}">
                      <a16:creationId xmlns="" xmlns:a14="http://schemas.microsoft.com/office/drawing/2010/main" xmlns:p14="http://schemas.microsoft.com/office/powerpoint/2010/main" xmlns:a16="http://schemas.microsoft.com/office/drawing/2014/main" id="{B7C876CD-DA17-4FBD-81B9-C9478A41935C}"/>
                    </a:ext>
                  </a:extLst>
                </p:cNvPr>
                <p:cNvSpPr/>
                <p:nvPr/>
              </p:nvSpPr>
              <p:spPr>
                <a:xfrm>
                  <a:off x="7833058" y="3593491"/>
                  <a:ext cx="479976" cy="413772"/>
                </a:xfrm>
                <a:prstGeom prst="hexagon">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endParaRPr>
                </a:p>
              </p:txBody>
            </p:sp>
          </p:grpSp>
          <p:grpSp>
            <p:nvGrpSpPr>
              <p:cNvPr id="24" name="组合 23">
                <a:extLst>
                  <a:ext uri="{FF2B5EF4-FFF2-40B4-BE49-F238E27FC236}">
                    <a16:creationId xmlns="" xmlns:a14="http://schemas.microsoft.com/office/drawing/2010/main" xmlns:p14="http://schemas.microsoft.com/office/powerpoint/2010/main" xmlns:a16="http://schemas.microsoft.com/office/drawing/2014/main" id="{8FE53A35-7B1D-4667-B649-AA89BB44D808}"/>
                  </a:ext>
                </a:extLst>
              </p:cNvPr>
              <p:cNvGrpSpPr/>
              <p:nvPr/>
            </p:nvGrpSpPr>
            <p:grpSpPr>
              <a:xfrm>
                <a:off x="2941293" y="3788716"/>
                <a:ext cx="452064" cy="249322"/>
                <a:chOff x="2985439" y="3716434"/>
                <a:chExt cx="452064" cy="249322"/>
              </a:xfrm>
            </p:grpSpPr>
            <p:sp>
              <p:nvSpPr>
                <p:cNvPr id="1065" name="矩形 1064">
                  <a:extLst>
                    <a:ext uri="{FF2B5EF4-FFF2-40B4-BE49-F238E27FC236}">
                      <a16:creationId xmlns="" xmlns:a14="http://schemas.microsoft.com/office/drawing/2010/main" xmlns:p14="http://schemas.microsoft.com/office/powerpoint/2010/main" xmlns:a16="http://schemas.microsoft.com/office/drawing/2014/main" id="{EC4235DF-6AC4-4F0F-94CE-C13DD6DB3628}"/>
                    </a:ext>
                  </a:extLst>
                </p:cNvPr>
                <p:cNvSpPr/>
                <p:nvPr/>
              </p:nvSpPr>
              <p:spPr>
                <a:xfrm>
                  <a:off x="2985441" y="3716434"/>
                  <a:ext cx="452062"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66" name="矩形 1065">
                  <a:extLst>
                    <a:ext uri="{FF2B5EF4-FFF2-40B4-BE49-F238E27FC236}">
                      <a16:creationId xmlns="" xmlns:a14="http://schemas.microsoft.com/office/drawing/2010/main" xmlns:p14="http://schemas.microsoft.com/office/powerpoint/2010/main" xmlns:a16="http://schemas.microsoft.com/office/drawing/2014/main" id="{45E34FC1-122D-40D6-BEA9-226EA2BDCBCE}"/>
                    </a:ext>
                  </a:extLst>
                </p:cNvPr>
                <p:cNvSpPr/>
                <p:nvPr/>
              </p:nvSpPr>
              <p:spPr>
                <a:xfrm>
                  <a:off x="2985439" y="3813707"/>
                  <a:ext cx="396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069" name="矩形 1068">
                  <a:extLst>
                    <a:ext uri="{FF2B5EF4-FFF2-40B4-BE49-F238E27FC236}">
                      <a16:creationId xmlns="" xmlns:a14="http://schemas.microsoft.com/office/drawing/2010/main" xmlns:p14="http://schemas.microsoft.com/office/powerpoint/2010/main" xmlns:a16="http://schemas.microsoft.com/office/drawing/2014/main" id="{DA16AA45-D176-4D08-BD59-281FF7895BC2}"/>
                    </a:ext>
                  </a:extLst>
                </p:cNvPr>
                <p:cNvSpPr/>
                <p:nvPr/>
              </p:nvSpPr>
              <p:spPr>
                <a:xfrm>
                  <a:off x="2985439" y="3911756"/>
                  <a:ext cx="339047"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grpSp>
          <p:nvGrpSpPr>
            <p:cNvPr id="29" name="组合 28">
              <a:extLst>
                <a:ext uri="{FF2B5EF4-FFF2-40B4-BE49-F238E27FC236}">
                  <a16:creationId xmlns="" xmlns:a14="http://schemas.microsoft.com/office/drawing/2010/main" xmlns:p14="http://schemas.microsoft.com/office/powerpoint/2010/main" xmlns:a16="http://schemas.microsoft.com/office/drawing/2014/main" id="{98748623-E96F-40FF-A776-467E82C6C4A8}"/>
                </a:ext>
              </a:extLst>
            </p:cNvPr>
            <p:cNvGrpSpPr/>
            <p:nvPr/>
          </p:nvGrpSpPr>
          <p:grpSpPr>
            <a:xfrm>
              <a:off x="2390618" y="4549429"/>
              <a:ext cx="1015154" cy="263489"/>
              <a:chOff x="2306270" y="4491548"/>
              <a:chExt cx="1015154" cy="263489"/>
            </a:xfrm>
          </p:grpSpPr>
          <p:sp>
            <p:nvSpPr>
              <p:cNvPr id="930" name="圆角矩形 13">
                <a:extLst>
                  <a:ext uri="{FF2B5EF4-FFF2-40B4-BE49-F238E27FC236}">
                    <a16:creationId xmlns="" xmlns:a14="http://schemas.microsoft.com/office/drawing/2010/main" xmlns:p14="http://schemas.microsoft.com/office/powerpoint/2010/main" xmlns:a16="http://schemas.microsoft.com/office/drawing/2014/main" id="{201B923C-EDD6-428E-B992-557CEF434B8B}"/>
                  </a:ext>
                </a:extLst>
              </p:cNvPr>
              <p:cNvSpPr/>
              <p:nvPr/>
            </p:nvSpPr>
            <p:spPr>
              <a:xfrm>
                <a:off x="2626870" y="4491548"/>
                <a:ext cx="357831" cy="263489"/>
              </a:xfrm>
              <a:prstGeom prst="roundRect">
                <a:avLst>
                  <a:gd name="adj" fmla="val 8038"/>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latin typeface="Arial"/>
                  <a:ea typeface="微软雅黑"/>
                </a:endParaRPr>
              </a:p>
            </p:txBody>
          </p:sp>
          <p:grpSp>
            <p:nvGrpSpPr>
              <p:cNvPr id="26" name="组合 25">
                <a:extLst>
                  <a:ext uri="{FF2B5EF4-FFF2-40B4-BE49-F238E27FC236}">
                    <a16:creationId xmlns="" xmlns:a14="http://schemas.microsoft.com/office/drawing/2010/main" xmlns:p14="http://schemas.microsoft.com/office/powerpoint/2010/main" xmlns:a16="http://schemas.microsoft.com/office/drawing/2014/main" id="{45C074C8-B745-491A-9083-938E1FFF3520}"/>
                  </a:ext>
                </a:extLst>
              </p:cNvPr>
              <p:cNvGrpSpPr/>
              <p:nvPr/>
            </p:nvGrpSpPr>
            <p:grpSpPr>
              <a:xfrm>
                <a:off x="3069273" y="4491548"/>
                <a:ext cx="252151" cy="249322"/>
                <a:chOff x="3167324" y="4573427"/>
                <a:chExt cx="452064" cy="249322"/>
              </a:xfrm>
            </p:grpSpPr>
            <p:sp>
              <p:nvSpPr>
                <p:cNvPr id="1071" name="矩形 1070">
                  <a:extLst>
                    <a:ext uri="{FF2B5EF4-FFF2-40B4-BE49-F238E27FC236}">
                      <a16:creationId xmlns="" xmlns:a14="http://schemas.microsoft.com/office/drawing/2010/main" xmlns:p14="http://schemas.microsoft.com/office/powerpoint/2010/main" xmlns:a16="http://schemas.microsoft.com/office/drawing/2014/main" id="{0CBAB299-BCC4-4DB1-B0B1-81F3C2F3B2C8}"/>
                    </a:ext>
                  </a:extLst>
                </p:cNvPr>
                <p:cNvSpPr/>
                <p:nvPr/>
              </p:nvSpPr>
              <p:spPr>
                <a:xfrm>
                  <a:off x="3167326" y="4573427"/>
                  <a:ext cx="452062"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72" name="矩形 1071">
                  <a:extLst>
                    <a:ext uri="{FF2B5EF4-FFF2-40B4-BE49-F238E27FC236}">
                      <a16:creationId xmlns="" xmlns:a14="http://schemas.microsoft.com/office/drawing/2010/main" xmlns:p14="http://schemas.microsoft.com/office/powerpoint/2010/main" xmlns:a16="http://schemas.microsoft.com/office/drawing/2014/main" id="{97B82DC9-2FF1-498F-A360-B7CB02AFA5BD}"/>
                    </a:ext>
                  </a:extLst>
                </p:cNvPr>
                <p:cNvSpPr/>
                <p:nvPr/>
              </p:nvSpPr>
              <p:spPr>
                <a:xfrm>
                  <a:off x="3167324" y="4670700"/>
                  <a:ext cx="396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073" name="矩形 1072">
                  <a:extLst>
                    <a:ext uri="{FF2B5EF4-FFF2-40B4-BE49-F238E27FC236}">
                      <a16:creationId xmlns="" xmlns:a14="http://schemas.microsoft.com/office/drawing/2010/main" xmlns:p14="http://schemas.microsoft.com/office/powerpoint/2010/main" xmlns:a16="http://schemas.microsoft.com/office/drawing/2014/main" id="{0A3E8C70-F56A-4348-A5A3-965280C2638D}"/>
                    </a:ext>
                  </a:extLst>
                </p:cNvPr>
                <p:cNvSpPr/>
                <p:nvPr/>
              </p:nvSpPr>
              <p:spPr>
                <a:xfrm>
                  <a:off x="3167324" y="4768749"/>
                  <a:ext cx="339047"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074" name="组合 1073">
                <a:extLst>
                  <a:ext uri="{FF2B5EF4-FFF2-40B4-BE49-F238E27FC236}">
                    <a16:creationId xmlns="" xmlns:a14="http://schemas.microsoft.com/office/drawing/2010/main" xmlns:p14="http://schemas.microsoft.com/office/powerpoint/2010/main" xmlns:a16="http://schemas.microsoft.com/office/drawing/2014/main" id="{ED8E2C3F-E938-4D95-883D-D29C518F3E79}"/>
                  </a:ext>
                </a:extLst>
              </p:cNvPr>
              <p:cNvGrpSpPr/>
              <p:nvPr/>
            </p:nvGrpSpPr>
            <p:grpSpPr>
              <a:xfrm>
                <a:off x="2306270" y="4491548"/>
                <a:ext cx="252152" cy="249322"/>
                <a:chOff x="3167322" y="4573427"/>
                <a:chExt cx="452066" cy="249322"/>
              </a:xfrm>
            </p:grpSpPr>
            <p:sp>
              <p:nvSpPr>
                <p:cNvPr id="1075" name="矩形 1074">
                  <a:extLst>
                    <a:ext uri="{FF2B5EF4-FFF2-40B4-BE49-F238E27FC236}">
                      <a16:creationId xmlns="" xmlns:a14="http://schemas.microsoft.com/office/drawing/2010/main" xmlns:p14="http://schemas.microsoft.com/office/powerpoint/2010/main" xmlns:a16="http://schemas.microsoft.com/office/drawing/2014/main" id="{2248F49E-F982-40F3-89EF-ECD9EF3F1A0C}"/>
                    </a:ext>
                  </a:extLst>
                </p:cNvPr>
                <p:cNvSpPr/>
                <p:nvPr/>
              </p:nvSpPr>
              <p:spPr>
                <a:xfrm>
                  <a:off x="3167326" y="4573427"/>
                  <a:ext cx="452062"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76" name="矩形 1075">
                  <a:extLst>
                    <a:ext uri="{FF2B5EF4-FFF2-40B4-BE49-F238E27FC236}">
                      <a16:creationId xmlns="" xmlns:a14="http://schemas.microsoft.com/office/drawing/2010/main" xmlns:p14="http://schemas.microsoft.com/office/powerpoint/2010/main" xmlns:a16="http://schemas.microsoft.com/office/drawing/2014/main" id="{C6A487A8-755C-4D28-B0AA-507A3359D845}"/>
                    </a:ext>
                  </a:extLst>
                </p:cNvPr>
                <p:cNvSpPr/>
                <p:nvPr/>
              </p:nvSpPr>
              <p:spPr>
                <a:xfrm>
                  <a:off x="3167326" y="4670700"/>
                  <a:ext cx="396001"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077" name="矩形 1076">
                  <a:extLst>
                    <a:ext uri="{FF2B5EF4-FFF2-40B4-BE49-F238E27FC236}">
                      <a16:creationId xmlns="" xmlns:a14="http://schemas.microsoft.com/office/drawing/2010/main" xmlns:p14="http://schemas.microsoft.com/office/powerpoint/2010/main" xmlns:a16="http://schemas.microsoft.com/office/drawing/2014/main" id="{F08D21E7-7021-4181-8C31-97F5FB37D7BA}"/>
                    </a:ext>
                  </a:extLst>
                </p:cNvPr>
                <p:cNvSpPr/>
                <p:nvPr/>
              </p:nvSpPr>
              <p:spPr>
                <a:xfrm>
                  <a:off x="3167322" y="4768749"/>
                  <a:ext cx="339047"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grpSp>
      <p:grpSp>
        <p:nvGrpSpPr>
          <p:cNvPr id="198" name="组合 197">
            <a:extLst>
              <a:ext uri="{FF2B5EF4-FFF2-40B4-BE49-F238E27FC236}">
                <a16:creationId xmlns="" xmlns:a14="http://schemas.microsoft.com/office/drawing/2010/main" xmlns:p14="http://schemas.microsoft.com/office/powerpoint/2010/main" xmlns:a16="http://schemas.microsoft.com/office/drawing/2014/main" id="{FC522BDD-3447-423F-96CD-D460760F796C}"/>
              </a:ext>
            </a:extLst>
          </p:cNvPr>
          <p:cNvGrpSpPr/>
          <p:nvPr/>
        </p:nvGrpSpPr>
        <p:grpSpPr>
          <a:xfrm>
            <a:off x="4355744" y="1959177"/>
            <a:ext cx="4630137" cy="3093736"/>
            <a:chOff x="4355738" y="1959177"/>
            <a:chExt cx="4630137" cy="3093736"/>
          </a:xfrm>
        </p:grpSpPr>
        <p:sp>
          <p:nvSpPr>
            <p:cNvPr id="611" name="Freeform 6">
              <a:extLst>
                <a:ext uri="{FF2B5EF4-FFF2-40B4-BE49-F238E27FC236}">
                  <a16:creationId xmlns="" xmlns:a14="http://schemas.microsoft.com/office/drawing/2010/main" xmlns:p14="http://schemas.microsoft.com/office/powerpoint/2010/main" xmlns:a16="http://schemas.microsoft.com/office/drawing/2014/main" id="{61153CE2-AE0B-441F-B0A1-0FBBB2760D07}"/>
                </a:ext>
              </a:extLst>
            </p:cNvPr>
            <p:cNvSpPr>
              <a:spLocks/>
            </p:cNvSpPr>
            <p:nvPr/>
          </p:nvSpPr>
          <p:spPr bwMode="auto">
            <a:xfrm>
              <a:off x="4355738" y="1959177"/>
              <a:ext cx="4630137" cy="3093736"/>
            </a:xfrm>
            <a:prstGeom prst="rect">
              <a:avLst/>
            </a:prstGeom>
            <a:gradFill>
              <a:gsLst>
                <a:gs pos="83000">
                  <a:schemeClr val="bg1"/>
                </a:gs>
                <a:gs pos="100000">
                  <a:schemeClr val="bg1">
                    <a:alpha val="0"/>
                  </a:schemeClr>
                </a:gs>
              </a:gsLst>
              <a:lin ang="5400000" scaled="1"/>
            </a:gradFill>
            <a:ln w="9525">
              <a:noFill/>
              <a:round/>
              <a:headEnd/>
              <a:tailEnd/>
            </a:ln>
            <a:effectLst>
              <a:outerShdw blurRad="63500" sx="102000" sy="102000" algn="ctr" rotWithShape="0">
                <a:srgbClr val="E7E5EA">
                  <a:alpha val="50000"/>
                </a:srgbClr>
              </a:outerShdw>
            </a:effectLst>
          </p:spPr>
          <p:txBody>
            <a:bodyPr vert="horz" wrap="square" lIns="91440" tIns="45720" rIns="91440" bIns="45720" numCol="1" anchor="t" anchorCtr="0" compatLnSpc="1">
              <a:prstTxWarp prst="textNoShape">
                <a:avLst/>
              </a:prstTxWarp>
            </a:bodyPr>
            <a:lstStyle/>
            <a:p>
              <a:endParaRPr lang="zh-CN" altLang="en-US"/>
            </a:p>
          </p:txBody>
        </p:sp>
        <p:sp>
          <p:nvSpPr>
            <p:cNvPr id="1092" name="矩形: 圆角 1091">
              <a:extLst>
                <a:ext uri="{FF2B5EF4-FFF2-40B4-BE49-F238E27FC236}">
                  <a16:creationId xmlns="" xmlns:a14="http://schemas.microsoft.com/office/drawing/2010/main" xmlns:p14="http://schemas.microsoft.com/office/powerpoint/2010/main" xmlns:a16="http://schemas.microsoft.com/office/drawing/2014/main" id="{3A2A346D-64A0-4D7C-9357-189428DEBCC6}"/>
                </a:ext>
              </a:extLst>
            </p:cNvPr>
            <p:cNvSpPr>
              <a:spLocks noChangeAspect="1"/>
            </p:cNvSpPr>
            <p:nvPr/>
          </p:nvSpPr>
          <p:spPr>
            <a:xfrm>
              <a:off x="4537757" y="2967959"/>
              <a:ext cx="697541" cy="400205"/>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12" name="Rectangle 8">
              <a:extLst>
                <a:ext uri="{FF2B5EF4-FFF2-40B4-BE49-F238E27FC236}">
                  <a16:creationId xmlns="" xmlns:a14="http://schemas.microsoft.com/office/drawing/2010/main" xmlns:p14="http://schemas.microsoft.com/office/powerpoint/2010/main" xmlns:a16="http://schemas.microsoft.com/office/drawing/2014/main" id="{795F2FB1-4108-407F-B036-2EAEC202A805}"/>
                </a:ext>
              </a:extLst>
            </p:cNvPr>
            <p:cNvSpPr>
              <a:spLocks noChangeArrowheads="1"/>
            </p:cNvSpPr>
            <p:nvPr/>
          </p:nvSpPr>
          <p:spPr bwMode="auto">
            <a:xfrm>
              <a:off x="4537760" y="2305823"/>
              <a:ext cx="4293867" cy="401176"/>
            </a:xfrm>
            <a:prstGeom prst="rect">
              <a:avLst/>
            </a:prstGeom>
            <a:solidFill>
              <a:srgbClr val="F0EE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13" name="Rectangle 9">
              <a:extLst>
                <a:ext uri="{FF2B5EF4-FFF2-40B4-BE49-F238E27FC236}">
                  <a16:creationId xmlns="" xmlns:a14="http://schemas.microsoft.com/office/drawing/2010/main" xmlns:p14="http://schemas.microsoft.com/office/powerpoint/2010/main" xmlns:a16="http://schemas.microsoft.com/office/drawing/2014/main" id="{FAC73EC9-CB85-4FC7-82FF-A7427177F2F8}"/>
                </a:ext>
              </a:extLst>
            </p:cNvPr>
            <p:cNvSpPr>
              <a:spLocks noChangeArrowheads="1"/>
            </p:cNvSpPr>
            <p:nvPr/>
          </p:nvSpPr>
          <p:spPr bwMode="auto">
            <a:xfrm>
              <a:off x="4537760" y="2305823"/>
              <a:ext cx="4293867" cy="233694"/>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14" name="Oval 14">
              <a:extLst>
                <a:ext uri="{FF2B5EF4-FFF2-40B4-BE49-F238E27FC236}">
                  <a16:creationId xmlns="" xmlns:a14="http://schemas.microsoft.com/office/drawing/2010/main" xmlns:p14="http://schemas.microsoft.com/office/powerpoint/2010/main" xmlns:a16="http://schemas.microsoft.com/office/drawing/2014/main" id="{F65FB675-16E4-453F-84A9-3127E2E0653E}"/>
                </a:ext>
              </a:extLst>
            </p:cNvPr>
            <p:cNvSpPr>
              <a:spLocks noChangeArrowheads="1"/>
            </p:cNvSpPr>
            <p:nvPr/>
          </p:nvSpPr>
          <p:spPr bwMode="auto">
            <a:xfrm>
              <a:off x="5016364" y="2138342"/>
              <a:ext cx="78918" cy="80494"/>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15" name="Oval 15">
              <a:extLst>
                <a:ext uri="{FF2B5EF4-FFF2-40B4-BE49-F238E27FC236}">
                  <a16:creationId xmlns="" xmlns:a14="http://schemas.microsoft.com/office/drawing/2010/main" xmlns:p14="http://schemas.microsoft.com/office/powerpoint/2010/main" xmlns:a16="http://schemas.microsoft.com/office/drawing/2014/main" id="{DD3E21B5-B971-448C-989F-4965A0978D04}"/>
                </a:ext>
              </a:extLst>
            </p:cNvPr>
            <p:cNvSpPr>
              <a:spLocks noChangeArrowheads="1"/>
            </p:cNvSpPr>
            <p:nvPr/>
          </p:nvSpPr>
          <p:spPr bwMode="auto">
            <a:xfrm>
              <a:off x="5155108" y="2138342"/>
              <a:ext cx="80193" cy="80494"/>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16" name="Oval 16">
              <a:extLst>
                <a:ext uri="{FF2B5EF4-FFF2-40B4-BE49-F238E27FC236}">
                  <a16:creationId xmlns="" xmlns:a14="http://schemas.microsoft.com/office/drawing/2010/main" xmlns:p14="http://schemas.microsoft.com/office/powerpoint/2010/main" xmlns:a16="http://schemas.microsoft.com/office/drawing/2014/main" id="{7F70320F-CFB0-46CE-B0CB-765F25CC79E1}"/>
                </a:ext>
              </a:extLst>
            </p:cNvPr>
            <p:cNvSpPr>
              <a:spLocks noChangeArrowheads="1"/>
            </p:cNvSpPr>
            <p:nvPr/>
          </p:nvSpPr>
          <p:spPr bwMode="auto">
            <a:xfrm>
              <a:off x="5293852" y="2138342"/>
              <a:ext cx="80193" cy="80494"/>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18" name="Freeform 18">
              <a:extLst>
                <a:ext uri="{FF2B5EF4-FFF2-40B4-BE49-F238E27FC236}">
                  <a16:creationId xmlns="" xmlns:a14="http://schemas.microsoft.com/office/drawing/2010/main" xmlns:p14="http://schemas.microsoft.com/office/powerpoint/2010/main" xmlns:a16="http://schemas.microsoft.com/office/drawing/2014/main" id="{06C97715-B4C3-41BA-BCBA-D4F078BE20EB}"/>
                </a:ext>
              </a:extLst>
            </p:cNvPr>
            <p:cNvSpPr>
              <a:spLocks/>
            </p:cNvSpPr>
            <p:nvPr/>
          </p:nvSpPr>
          <p:spPr bwMode="auto">
            <a:xfrm>
              <a:off x="5604436" y="2349966"/>
              <a:ext cx="669536" cy="211624"/>
            </a:xfrm>
            <a:custGeom>
              <a:avLst/>
              <a:gdLst>
                <a:gd name="T0" fmla="*/ 520 w 547"/>
                <a:gd name="T1" fmla="*/ 170 h 170"/>
                <a:gd name="T2" fmla="*/ 27 w 547"/>
                <a:gd name="T3" fmla="*/ 170 h 170"/>
                <a:gd name="T4" fmla="*/ 0 w 547"/>
                <a:gd name="T5" fmla="*/ 143 h 170"/>
                <a:gd name="T6" fmla="*/ 0 w 547"/>
                <a:gd name="T7" fmla="*/ 27 h 170"/>
                <a:gd name="T8" fmla="*/ 27 w 547"/>
                <a:gd name="T9" fmla="*/ 0 h 170"/>
                <a:gd name="T10" fmla="*/ 520 w 547"/>
                <a:gd name="T11" fmla="*/ 0 h 170"/>
                <a:gd name="T12" fmla="*/ 547 w 547"/>
                <a:gd name="T13" fmla="*/ 27 h 170"/>
                <a:gd name="T14" fmla="*/ 547 w 547"/>
                <a:gd name="T15" fmla="*/ 143 h 170"/>
                <a:gd name="T16" fmla="*/ 520 w 547"/>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7" h="170">
                  <a:moveTo>
                    <a:pt x="520" y="170"/>
                  </a:moveTo>
                  <a:cubicBezTo>
                    <a:pt x="27" y="170"/>
                    <a:pt x="27" y="170"/>
                    <a:pt x="27" y="170"/>
                  </a:cubicBezTo>
                  <a:cubicBezTo>
                    <a:pt x="12" y="170"/>
                    <a:pt x="0" y="158"/>
                    <a:pt x="0" y="143"/>
                  </a:cubicBezTo>
                  <a:cubicBezTo>
                    <a:pt x="0" y="27"/>
                    <a:pt x="0" y="27"/>
                    <a:pt x="0" y="27"/>
                  </a:cubicBezTo>
                  <a:cubicBezTo>
                    <a:pt x="0" y="12"/>
                    <a:pt x="12" y="0"/>
                    <a:pt x="27" y="0"/>
                  </a:cubicBezTo>
                  <a:cubicBezTo>
                    <a:pt x="520" y="0"/>
                    <a:pt x="520" y="0"/>
                    <a:pt x="520" y="0"/>
                  </a:cubicBezTo>
                  <a:cubicBezTo>
                    <a:pt x="535" y="0"/>
                    <a:pt x="547" y="12"/>
                    <a:pt x="547" y="27"/>
                  </a:cubicBezTo>
                  <a:cubicBezTo>
                    <a:pt x="547" y="143"/>
                    <a:pt x="547" y="143"/>
                    <a:pt x="547" y="143"/>
                  </a:cubicBezTo>
                  <a:cubicBezTo>
                    <a:pt x="547" y="158"/>
                    <a:pt x="535" y="170"/>
                    <a:pt x="520" y="170"/>
                  </a:cubicBezTo>
                  <a:close/>
                </a:path>
              </a:pathLst>
            </a:cu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19" name="Rectangle 19">
              <a:extLst>
                <a:ext uri="{FF2B5EF4-FFF2-40B4-BE49-F238E27FC236}">
                  <a16:creationId xmlns="" xmlns:a14="http://schemas.microsoft.com/office/drawing/2010/main" xmlns:p14="http://schemas.microsoft.com/office/powerpoint/2010/main" xmlns:a16="http://schemas.microsoft.com/office/drawing/2014/main" id="{3FE38F1D-2F74-447A-9229-7248475B55ED}"/>
                </a:ext>
              </a:extLst>
            </p:cNvPr>
            <p:cNvSpPr>
              <a:spLocks noChangeArrowheads="1"/>
            </p:cNvSpPr>
            <p:nvPr/>
          </p:nvSpPr>
          <p:spPr bwMode="auto">
            <a:xfrm>
              <a:off x="5766092" y="2423969"/>
              <a:ext cx="323313" cy="63617"/>
            </a:xfrm>
            <a:prstGeom prst="rect">
              <a:avLst/>
            </a:prstGeom>
            <a:solidFill>
              <a:srgbClr val="CFCB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0" name="Freeform 20">
              <a:extLst>
                <a:ext uri="{FF2B5EF4-FFF2-40B4-BE49-F238E27FC236}">
                  <a16:creationId xmlns="" xmlns:a14="http://schemas.microsoft.com/office/drawing/2010/main" xmlns:p14="http://schemas.microsoft.com/office/powerpoint/2010/main" xmlns:a16="http://schemas.microsoft.com/office/drawing/2014/main" id="{59FB75A4-6A40-4880-A7F8-5852FF741217}"/>
                </a:ext>
              </a:extLst>
            </p:cNvPr>
            <p:cNvSpPr>
              <a:spLocks/>
            </p:cNvSpPr>
            <p:nvPr/>
          </p:nvSpPr>
          <p:spPr bwMode="auto">
            <a:xfrm>
              <a:off x="4974358" y="2405792"/>
              <a:ext cx="308037" cy="63617"/>
            </a:xfrm>
            <a:custGeom>
              <a:avLst/>
              <a:gdLst>
                <a:gd name="T0" fmla="*/ 227 w 251"/>
                <a:gd name="T1" fmla="*/ 0 h 51"/>
                <a:gd name="T2" fmla="*/ 24 w 251"/>
                <a:gd name="T3" fmla="*/ 0 h 51"/>
                <a:gd name="T4" fmla="*/ 0 w 251"/>
                <a:gd name="T5" fmla="*/ 24 h 51"/>
                <a:gd name="T6" fmla="*/ 0 w 251"/>
                <a:gd name="T7" fmla="*/ 27 h 51"/>
                <a:gd name="T8" fmla="*/ 24 w 251"/>
                <a:gd name="T9" fmla="*/ 51 h 51"/>
                <a:gd name="T10" fmla="*/ 227 w 251"/>
                <a:gd name="T11" fmla="*/ 51 h 51"/>
                <a:gd name="T12" fmla="*/ 251 w 251"/>
                <a:gd name="T13" fmla="*/ 27 h 51"/>
                <a:gd name="T14" fmla="*/ 251 w 251"/>
                <a:gd name="T15" fmla="*/ 24 h 51"/>
                <a:gd name="T16" fmla="*/ 227 w 25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1" y="41"/>
                    <a:pt x="251" y="27"/>
                  </a:cubicBezTo>
                  <a:cubicBezTo>
                    <a:pt x="251" y="24"/>
                    <a:pt x="251" y="24"/>
                    <a:pt x="251" y="24"/>
                  </a:cubicBezTo>
                  <a:cubicBezTo>
                    <a:pt x="251"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1" name="Freeform 21">
              <a:extLst>
                <a:ext uri="{FF2B5EF4-FFF2-40B4-BE49-F238E27FC236}">
                  <a16:creationId xmlns="" xmlns:a14="http://schemas.microsoft.com/office/drawing/2010/main" xmlns:p14="http://schemas.microsoft.com/office/powerpoint/2010/main" xmlns:a16="http://schemas.microsoft.com/office/drawing/2014/main" id="{E139472C-0020-4EA9-82FF-4CE53DFDB91B}"/>
                </a:ext>
              </a:extLst>
            </p:cNvPr>
            <p:cNvSpPr>
              <a:spLocks/>
            </p:cNvSpPr>
            <p:nvPr/>
          </p:nvSpPr>
          <p:spPr bwMode="auto">
            <a:xfrm>
              <a:off x="6534914" y="2405792"/>
              <a:ext cx="306765" cy="63617"/>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0" y="0"/>
                    <a:pt x="0" y="11"/>
                    <a:pt x="0" y="24"/>
                  </a:cubicBezTo>
                  <a:cubicBezTo>
                    <a:pt x="0" y="27"/>
                    <a:pt x="0" y="27"/>
                    <a:pt x="0" y="27"/>
                  </a:cubicBezTo>
                  <a:cubicBezTo>
                    <a:pt x="0" y="41"/>
                    <a:pt x="10" y="51"/>
                    <a:pt x="24" y="51"/>
                  </a:cubicBezTo>
                  <a:cubicBezTo>
                    <a:pt x="226" y="51"/>
                    <a:pt x="226" y="51"/>
                    <a:pt x="226" y="51"/>
                  </a:cubicBezTo>
                  <a:cubicBezTo>
                    <a:pt x="239" y="51"/>
                    <a:pt x="250" y="41"/>
                    <a:pt x="250" y="27"/>
                  </a:cubicBezTo>
                  <a:cubicBezTo>
                    <a:pt x="250" y="24"/>
                    <a:pt x="250" y="24"/>
                    <a:pt x="250" y="24"/>
                  </a:cubicBezTo>
                  <a:cubicBezTo>
                    <a:pt x="250" y="11"/>
                    <a:pt x="239"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2" name="Freeform 22">
              <a:extLst>
                <a:ext uri="{FF2B5EF4-FFF2-40B4-BE49-F238E27FC236}">
                  <a16:creationId xmlns="" xmlns:a14="http://schemas.microsoft.com/office/drawing/2010/main" xmlns:p14="http://schemas.microsoft.com/office/powerpoint/2010/main" xmlns:a16="http://schemas.microsoft.com/office/drawing/2014/main" id="{27617993-F16B-4E93-95CA-E1BE3120C21F}"/>
                </a:ext>
              </a:extLst>
            </p:cNvPr>
            <p:cNvSpPr>
              <a:spLocks/>
            </p:cNvSpPr>
            <p:nvPr/>
          </p:nvSpPr>
          <p:spPr bwMode="auto">
            <a:xfrm>
              <a:off x="7117894" y="2405792"/>
              <a:ext cx="306765" cy="63617"/>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1" y="0"/>
                    <a:pt x="0" y="11"/>
                    <a:pt x="0" y="24"/>
                  </a:cubicBezTo>
                  <a:cubicBezTo>
                    <a:pt x="0" y="27"/>
                    <a:pt x="0" y="27"/>
                    <a:pt x="0" y="27"/>
                  </a:cubicBezTo>
                  <a:cubicBezTo>
                    <a:pt x="0" y="41"/>
                    <a:pt x="11" y="51"/>
                    <a:pt x="24" y="51"/>
                  </a:cubicBezTo>
                  <a:cubicBezTo>
                    <a:pt x="226" y="51"/>
                    <a:pt x="226" y="51"/>
                    <a:pt x="226" y="51"/>
                  </a:cubicBezTo>
                  <a:cubicBezTo>
                    <a:pt x="240" y="51"/>
                    <a:pt x="250" y="41"/>
                    <a:pt x="250" y="27"/>
                  </a:cubicBezTo>
                  <a:cubicBezTo>
                    <a:pt x="250" y="24"/>
                    <a:pt x="250" y="24"/>
                    <a:pt x="250" y="24"/>
                  </a:cubicBezTo>
                  <a:cubicBezTo>
                    <a:pt x="250" y="11"/>
                    <a:pt x="240"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3" name="Freeform 23">
              <a:extLst>
                <a:ext uri="{FF2B5EF4-FFF2-40B4-BE49-F238E27FC236}">
                  <a16:creationId xmlns="" xmlns:a14="http://schemas.microsoft.com/office/drawing/2010/main" xmlns:p14="http://schemas.microsoft.com/office/powerpoint/2010/main" xmlns:a16="http://schemas.microsoft.com/office/drawing/2014/main" id="{69FD1E44-430C-4F82-BCBB-E6FB7DC74782}"/>
                </a:ext>
              </a:extLst>
            </p:cNvPr>
            <p:cNvSpPr>
              <a:spLocks/>
            </p:cNvSpPr>
            <p:nvPr/>
          </p:nvSpPr>
          <p:spPr bwMode="auto">
            <a:xfrm>
              <a:off x="7700875" y="2405792"/>
              <a:ext cx="306765" cy="63617"/>
            </a:xfrm>
            <a:custGeom>
              <a:avLst/>
              <a:gdLst>
                <a:gd name="T0" fmla="*/ 227 w 250"/>
                <a:gd name="T1" fmla="*/ 0 h 51"/>
                <a:gd name="T2" fmla="*/ 24 w 250"/>
                <a:gd name="T3" fmla="*/ 0 h 51"/>
                <a:gd name="T4" fmla="*/ 0 w 250"/>
                <a:gd name="T5" fmla="*/ 24 h 51"/>
                <a:gd name="T6" fmla="*/ 0 w 250"/>
                <a:gd name="T7" fmla="*/ 27 h 51"/>
                <a:gd name="T8" fmla="*/ 24 w 250"/>
                <a:gd name="T9" fmla="*/ 51 h 51"/>
                <a:gd name="T10" fmla="*/ 227 w 250"/>
                <a:gd name="T11" fmla="*/ 51 h 51"/>
                <a:gd name="T12" fmla="*/ 250 w 250"/>
                <a:gd name="T13" fmla="*/ 27 h 51"/>
                <a:gd name="T14" fmla="*/ 250 w 250"/>
                <a:gd name="T15" fmla="*/ 24 h 51"/>
                <a:gd name="T16" fmla="*/ 227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0" y="41"/>
                    <a:pt x="250" y="27"/>
                  </a:cubicBezTo>
                  <a:cubicBezTo>
                    <a:pt x="250" y="24"/>
                    <a:pt x="250" y="24"/>
                    <a:pt x="250" y="24"/>
                  </a:cubicBezTo>
                  <a:cubicBezTo>
                    <a:pt x="250"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06" name="任意多边形: 形状 1105">
              <a:extLst>
                <a:ext uri="{FF2B5EF4-FFF2-40B4-BE49-F238E27FC236}">
                  <a16:creationId xmlns="" xmlns:a14="http://schemas.microsoft.com/office/drawing/2010/main" xmlns:p14="http://schemas.microsoft.com/office/powerpoint/2010/main" xmlns:a16="http://schemas.microsoft.com/office/drawing/2014/main" id="{A138CBCE-9F42-49A3-BE88-2D66367E5DD9}"/>
                </a:ext>
              </a:extLst>
            </p:cNvPr>
            <p:cNvSpPr>
              <a:spLocks/>
            </p:cNvSpPr>
            <p:nvPr/>
          </p:nvSpPr>
          <p:spPr>
            <a:xfrm>
              <a:off x="4537757" y="3442511"/>
              <a:ext cx="697541" cy="205836"/>
            </a:xfrm>
            <a:custGeom>
              <a:avLst/>
              <a:gdLst>
                <a:gd name="connsiteX0" fmla="*/ 29553 w 1189177"/>
                <a:gd name="connsiteY0" fmla="*/ 0 h 385548"/>
                <a:gd name="connsiteX1" fmla="*/ 1159624 w 1189177"/>
                <a:gd name="connsiteY1" fmla="*/ 0 h 385548"/>
                <a:gd name="connsiteX2" fmla="*/ 1189177 w 1189177"/>
                <a:gd name="connsiteY2" fmla="*/ 29553 h 385548"/>
                <a:gd name="connsiteX3" fmla="*/ 1189177 w 1189177"/>
                <a:gd name="connsiteY3" fmla="*/ 385548 h 385548"/>
                <a:gd name="connsiteX4" fmla="*/ 0 w 1189177"/>
                <a:gd name="connsiteY4" fmla="*/ 385548 h 385548"/>
                <a:gd name="connsiteX5" fmla="*/ 0 w 1189177"/>
                <a:gd name="connsiteY5" fmla="*/ 29553 h 385548"/>
                <a:gd name="connsiteX6" fmla="*/ 29553 w 1189177"/>
                <a:gd name="connsiteY6" fmla="*/ 0 h 385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9177" h="385548">
                  <a:moveTo>
                    <a:pt x="29553" y="0"/>
                  </a:moveTo>
                  <a:lnTo>
                    <a:pt x="1159624" y="0"/>
                  </a:lnTo>
                  <a:cubicBezTo>
                    <a:pt x="1175946" y="0"/>
                    <a:pt x="1189177" y="13231"/>
                    <a:pt x="1189177" y="29553"/>
                  </a:cubicBezTo>
                  <a:lnTo>
                    <a:pt x="1189177" y="385548"/>
                  </a:lnTo>
                  <a:lnTo>
                    <a:pt x="0" y="385548"/>
                  </a:lnTo>
                  <a:lnTo>
                    <a:pt x="0" y="29553"/>
                  </a:lnTo>
                  <a:cubicBezTo>
                    <a:pt x="0" y="13231"/>
                    <a:pt x="13231" y="0"/>
                    <a:pt x="29553" y="0"/>
                  </a:cubicBezTo>
                  <a:close/>
                </a:path>
              </a:pathLst>
            </a:custGeom>
            <a:solidFill>
              <a:srgbClr val="867D98">
                <a:lumMod val="20000"/>
                <a:lumOff val="80000"/>
              </a:srgbClr>
            </a:solidFill>
            <a:ln w="38100" cap="flat" cmpd="sng" algn="ctr">
              <a:noFill/>
              <a:prstDash val="solid"/>
              <a:miter lim="800000"/>
            </a:ln>
            <a:effectLst/>
          </p:spPr>
          <p:txBody>
            <a:bodyPr wrap="square" rtlCol="0"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endParaRPr>
            </a:p>
          </p:txBody>
        </p:sp>
        <p:grpSp>
          <p:nvGrpSpPr>
            <p:cNvPr id="1107" name="组合 1106">
              <a:extLst>
                <a:ext uri="{FF2B5EF4-FFF2-40B4-BE49-F238E27FC236}">
                  <a16:creationId xmlns="" xmlns:a14="http://schemas.microsoft.com/office/drawing/2010/main" xmlns:p14="http://schemas.microsoft.com/office/powerpoint/2010/main" xmlns:a16="http://schemas.microsoft.com/office/drawing/2014/main" id="{D0A53F62-7EC8-4EC8-95AD-0768F498C341}"/>
                </a:ext>
              </a:extLst>
            </p:cNvPr>
            <p:cNvGrpSpPr/>
            <p:nvPr/>
          </p:nvGrpSpPr>
          <p:grpSpPr>
            <a:xfrm>
              <a:off x="4594421" y="3700293"/>
              <a:ext cx="584212" cy="81394"/>
              <a:chOff x="890763" y="3168433"/>
              <a:chExt cx="1107466" cy="151273"/>
            </a:xfrm>
          </p:grpSpPr>
          <p:grpSp>
            <p:nvGrpSpPr>
              <p:cNvPr id="1108" name="组合 1107">
                <a:extLst>
                  <a:ext uri="{FF2B5EF4-FFF2-40B4-BE49-F238E27FC236}">
                    <a16:creationId xmlns="" xmlns:a14="http://schemas.microsoft.com/office/drawing/2010/main" xmlns:p14="http://schemas.microsoft.com/office/powerpoint/2010/main" xmlns:a16="http://schemas.microsoft.com/office/drawing/2014/main" id="{A5A0F9C8-0652-41EF-B223-D59CB4B5304E}"/>
                  </a:ext>
                </a:extLst>
              </p:cNvPr>
              <p:cNvGrpSpPr/>
              <p:nvPr/>
            </p:nvGrpSpPr>
            <p:grpSpPr>
              <a:xfrm>
                <a:off x="890763" y="3168433"/>
                <a:ext cx="288000" cy="151273"/>
                <a:chOff x="890763" y="3187237"/>
                <a:chExt cx="288000" cy="151273"/>
              </a:xfrm>
            </p:grpSpPr>
            <p:sp>
              <p:nvSpPr>
                <p:cNvPr id="1115" name="矩形 1114">
                  <a:extLst>
                    <a:ext uri="{FF2B5EF4-FFF2-40B4-BE49-F238E27FC236}">
                      <a16:creationId xmlns="" xmlns:a14="http://schemas.microsoft.com/office/drawing/2010/main" xmlns:p14="http://schemas.microsoft.com/office/powerpoint/2010/main" xmlns:a16="http://schemas.microsoft.com/office/drawing/2014/main" id="{602858E2-E07B-4103-91F1-8339BB8CB407}"/>
                    </a:ext>
                  </a:extLst>
                </p:cNvPr>
                <p:cNvSpPr/>
                <p:nvPr/>
              </p:nvSpPr>
              <p:spPr>
                <a:xfrm>
                  <a:off x="890763" y="3187237"/>
                  <a:ext cx="288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16" name="矩形 1115">
                  <a:extLst>
                    <a:ext uri="{FF2B5EF4-FFF2-40B4-BE49-F238E27FC236}">
                      <a16:creationId xmlns="" xmlns:a14="http://schemas.microsoft.com/office/drawing/2010/main" xmlns:p14="http://schemas.microsoft.com/office/powerpoint/2010/main" xmlns:a16="http://schemas.microsoft.com/office/drawing/2014/main" id="{2BE97B6F-56B1-4F66-8A28-DB0ACCE1F238}"/>
                    </a:ext>
                  </a:extLst>
                </p:cNvPr>
                <p:cNvSpPr/>
                <p:nvPr/>
              </p:nvSpPr>
              <p:spPr>
                <a:xfrm>
                  <a:off x="890763" y="3284510"/>
                  <a:ext cx="216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109" name="组合 1108">
                <a:extLst>
                  <a:ext uri="{FF2B5EF4-FFF2-40B4-BE49-F238E27FC236}">
                    <a16:creationId xmlns="" xmlns:a14="http://schemas.microsoft.com/office/drawing/2010/main" xmlns:p14="http://schemas.microsoft.com/office/powerpoint/2010/main" xmlns:a16="http://schemas.microsoft.com/office/drawing/2014/main" id="{6FBB44BF-2DC9-4274-B3BE-14F8D101FF12}"/>
                  </a:ext>
                </a:extLst>
              </p:cNvPr>
              <p:cNvGrpSpPr/>
              <p:nvPr/>
            </p:nvGrpSpPr>
            <p:grpSpPr>
              <a:xfrm>
                <a:off x="1300496" y="3168433"/>
                <a:ext cx="288000" cy="151273"/>
                <a:chOff x="890763" y="3187237"/>
                <a:chExt cx="288000" cy="151273"/>
              </a:xfrm>
            </p:grpSpPr>
            <p:sp>
              <p:nvSpPr>
                <p:cNvPr id="1113" name="矩形 1112">
                  <a:extLst>
                    <a:ext uri="{FF2B5EF4-FFF2-40B4-BE49-F238E27FC236}">
                      <a16:creationId xmlns="" xmlns:a14="http://schemas.microsoft.com/office/drawing/2010/main" xmlns:p14="http://schemas.microsoft.com/office/powerpoint/2010/main" xmlns:a16="http://schemas.microsoft.com/office/drawing/2014/main" id="{D0A543CC-1E59-4E7A-9FD4-ED7F51364542}"/>
                    </a:ext>
                  </a:extLst>
                </p:cNvPr>
                <p:cNvSpPr/>
                <p:nvPr/>
              </p:nvSpPr>
              <p:spPr>
                <a:xfrm>
                  <a:off x="890763" y="3187237"/>
                  <a:ext cx="288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14" name="矩形 1113">
                  <a:extLst>
                    <a:ext uri="{FF2B5EF4-FFF2-40B4-BE49-F238E27FC236}">
                      <a16:creationId xmlns="" xmlns:a14="http://schemas.microsoft.com/office/drawing/2010/main" xmlns:p14="http://schemas.microsoft.com/office/powerpoint/2010/main" xmlns:a16="http://schemas.microsoft.com/office/drawing/2014/main" id="{53ECCFBC-67A4-438C-A658-28933614D5BE}"/>
                    </a:ext>
                  </a:extLst>
                </p:cNvPr>
                <p:cNvSpPr/>
                <p:nvPr/>
              </p:nvSpPr>
              <p:spPr>
                <a:xfrm>
                  <a:off x="890763" y="3284510"/>
                  <a:ext cx="216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110" name="组合 1109">
                <a:extLst>
                  <a:ext uri="{FF2B5EF4-FFF2-40B4-BE49-F238E27FC236}">
                    <a16:creationId xmlns="" xmlns:a14="http://schemas.microsoft.com/office/drawing/2010/main" xmlns:p14="http://schemas.microsoft.com/office/powerpoint/2010/main" xmlns:a16="http://schemas.microsoft.com/office/drawing/2014/main" id="{1950F0DF-636E-4C20-8A39-A590932B09C9}"/>
                  </a:ext>
                </a:extLst>
              </p:cNvPr>
              <p:cNvGrpSpPr/>
              <p:nvPr/>
            </p:nvGrpSpPr>
            <p:grpSpPr>
              <a:xfrm>
                <a:off x="1710229" y="3168433"/>
                <a:ext cx="288000" cy="151273"/>
                <a:chOff x="890763" y="3187237"/>
                <a:chExt cx="288000" cy="151273"/>
              </a:xfrm>
            </p:grpSpPr>
            <p:sp>
              <p:nvSpPr>
                <p:cNvPr id="1111" name="矩形 1110">
                  <a:extLst>
                    <a:ext uri="{FF2B5EF4-FFF2-40B4-BE49-F238E27FC236}">
                      <a16:creationId xmlns="" xmlns:a14="http://schemas.microsoft.com/office/drawing/2010/main" xmlns:p14="http://schemas.microsoft.com/office/powerpoint/2010/main" xmlns:a16="http://schemas.microsoft.com/office/drawing/2014/main" id="{A155807A-CF95-403F-ACF9-0CB0E279FCC3}"/>
                    </a:ext>
                  </a:extLst>
                </p:cNvPr>
                <p:cNvSpPr/>
                <p:nvPr/>
              </p:nvSpPr>
              <p:spPr>
                <a:xfrm>
                  <a:off x="890763" y="3187237"/>
                  <a:ext cx="288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12" name="矩形 1111">
                  <a:extLst>
                    <a:ext uri="{FF2B5EF4-FFF2-40B4-BE49-F238E27FC236}">
                      <a16:creationId xmlns="" xmlns:a14="http://schemas.microsoft.com/office/drawing/2010/main" xmlns:p14="http://schemas.microsoft.com/office/powerpoint/2010/main" xmlns:a16="http://schemas.microsoft.com/office/drawing/2014/main" id="{375E0330-DAA0-480C-BA10-A421C0F2D7CC}"/>
                    </a:ext>
                  </a:extLst>
                </p:cNvPr>
                <p:cNvSpPr/>
                <p:nvPr/>
              </p:nvSpPr>
              <p:spPr>
                <a:xfrm>
                  <a:off x="890763" y="3284510"/>
                  <a:ext cx="216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sp>
          <p:nvSpPr>
            <p:cNvPr id="1105" name="矩形: 圆角 1104">
              <a:extLst>
                <a:ext uri="{FF2B5EF4-FFF2-40B4-BE49-F238E27FC236}">
                  <a16:creationId xmlns="" xmlns:a14="http://schemas.microsoft.com/office/drawing/2010/main" xmlns:p14="http://schemas.microsoft.com/office/powerpoint/2010/main" xmlns:a16="http://schemas.microsoft.com/office/drawing/2014/main" id="{5ADAA714-B77B-4CA9-BA00-89F03E8DDAE8}"/>
                </a:ext>
              </a:extLst>
            </p:cNvPr>
            <p:cNvSpPr>
              <a:spLocks noChangeAspect="1"/>
            </p:cNvSpPr>
            <p:nvPr/>
          </p:nvSpPr>
          <p:spPr>
            <a:xfrm>
              <a:off x="4537757" y="3442511"/>
              <a:ext cx="697541" cy="400205"/>
            </a:xfrm>
            <a:prstGeom prst="roundRect">
              <a:avLst>
                <a:gd name="adj" fmla="val 4418"/>
              </a:avLst>
            </a:prstGeom>
            <a:noFill/>
            <a:ln w="19050">
              <a:solidFill>
                <a:srgbClr val="F734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1122" name="组合 1121">
              <a:extLst>
                <a:ext uri="{FF2B5EF4-FFF2-40B4-BE49-F238E27FC236}">
                  <a16:creationId xmlns="" xmlns:a14="http://schemas.microsoft.com/office/drawing/2010/main" xmlns:p14="http://schemas.microsoft.com/office/powerpoint/2010/main" xmlns:a16="http://schemas.microsoft.com/office/drawing/2014/main" id="{9E6E783D-953A-4023-996B-329ABEE00C08}"/>
                </a:ext>
              </a:extLst>
            </p:cNvPr>
            <p:cNvGrpSpPr/>
            <p:nvPr/>
          </p:nvGrpSpPr>
          <p:grpSpPr>
            <a:xfrm>
              <a:off x="5661334" y="3313021"/>
              <a:ext cx="2861662" cy="1318925"/>
              <a:chOff x="890763" y="2819277"/>
              <a:chExt cx="1107467" cy="500429"/>
            </a:xfrm>
          </p:grpSpPr>
          <p:grpSp>
            <p:nvGrpSpPr>
              <p:cNvPr id="1123" name="组合 1122">
                <a:extLst>
                  <a:ext uri="{FF2B5EF4-FFF2-40B4-BE49-F238E27FC236}">
                    <a16:creationId xmlns="" xmlns:a14="http://schemas.microsoft.com/office/drawing/2010/main" xmlns:p14="http://schemas.microsoft.com/office/powerpoint/2010/main" xmlns:a16="http://schemas.microsoft.com/office/drawing/2014/main" id="{7A654AB9-A15A-45E1-B556-4C0C59300B7D}"/>
                  </a:ext>
                </a:extLst>
              </p:cNvPr>
              <p:cNvGrpSpPr/>
              <p:nvPr/>
            </p:nvGrpSpPr>
            <p:grpSpPr>
              <a:xfrm>
                <a:off x="890763" y="2819277"/>
                <a:ext cx="1107467" cy="500429"/>
                <a:chOff x="890763" y="2838081"/>
                <a:chExt cx="1107467" cy="500429"/>
              </a:xfrm>
            </p:grpSpPr>
            <p:sp>
              <p:nvSpPr>
                <p:cNvPr id="1130" name="矩形 1129">
                  <a:extLst>
                    <a:ext uri="{FF2B5EF4-FFF2-40B4-BE49-F238E27FC236}">
                      <a16:creationId xmlns="" xmlns:a14="http://schemas.microsoft.com/office/drawing/2010/main" xmlns:p14="http://schemas.microsoft.com/office/powerpoint/2010/main" xmlns:a16="http://schemas.microsoft.com/office/drawing/2014/main" id="{4331E087-73F3-40AD-B97E-31C8A67EF143}"/>
                    </a:ext>
                  </a:extLst>
                </p:cNvPr>
                <p:cNvSpPr/>
                <p:nvPr/>
              </p:nvSpPr>
              <p:spPr>
                <a:xfrm>
                  <a:off x="890763" y="3187237"/>
                  <a:ext cx="288000" cy="5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31" name="矩形 1130">
                  <a:extLst>
                    <a:ext uri="{FF2B5EF4-FFF2-40B4-BE49-F238E27FC236}">
                      <a16:creationId xmlns="" xmlns:a14="http://schemas.microsoft.com/office/drawing/2010/main" xmlns:p14="http://schemas.microsoft.com/office/powerpoint/2010/main" xmlns:a16="http://schemas.microsoft.com/office/drawing/2014/main" id="{1ED8F3BF-52DC-4B14-A264-67C3CD84F2A8}"/>
                    </a:ext>
                  </a:extLst>
                </p:cNvPr>
                <p:cNvSpPr/>
                <p:nvPr/>
              </p:nvSpPr>
              <p:spPr>
                <a:xfrm>
                  <a:off x="890763" y="3284510"/>
                  <a:ext cx="216000" cy="5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32" name="矩形 1131">
                  <a:extLst>
                    <a:ext uri="{FF2B5EF4-FFF2-40B4-BE49-F238E27FC236}">
                      <a16:creationId xmlns="" xmlns:a14="http://schemas.microsoft.com/office/drawing/2010/main" xmlns:p14="http://schemas.microsoft.com/office/powerpoint/2010/main" xmlns:a16="http://schemas.microsoft.com/office/drawing/2014/main" id="{2D9A077E-09F8-4C75-82D1-571C10ED9061}"/>
                    </a:ext>
                  </a:extLst>
                </p:cNvPr>
                <p:cNvSpPr/>
                <p:nvPr/>
              </p:nvSpPr>
              <p:spPr>
                <a:xfrm>
                  <a:off x="1134834" y="2838081"/>
                  <a:ext cx="619325" cy="5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33" name="矩形 1132">
                  <a:extLst>
                    <a:ext uri="{FF2B5EF4-FFF2-40B4-BE49-F238E27FC236}">
                      <a16:creationId xmlns="" xmlns:a14="http://schemas.microsoft.com/office/drawing/2010/main" xmlns:p14="http://schemas.microsoft.com/office/powerpoint/2010/main" xmlns:a16="http://schemas.microsoft.com/office/drawing/2014/main" id="{6F6F8248-8A85-4F12-B208-2FC76B2A096C}"/>
                    </a:ext>
                  </a:extLst>
                </p:cNvPr>
                <p:cNvSpPr/>
                <p:nvPr/>
              </p:nvSpPr>
              <p:spPr>
                <a:xfrm>
                  <a:off x="890763" y="2935354"/>
                  <a:ext cx="1107467" cy="5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124" name="组合 1123">
                <a:extLst>
                  <a:ext uri="{FF2B5EF4-FFF2-40B4-BE49-F238E27FC236}">
                    <a16:creationId xmlns="" xmlns:a14="http://schemas.microsoft.com/office/drawing/2010/main" xmlns:p14="http://schemas.microsoft.com/office/powerpoint/2010/main" xmlns:a16="http://schemas.microsoft.com/office/drawing/2014/main" id="{E1EE6C0C-7722-4415-9A98-42B7AC8ADB91}"/>
                  </a:ext>
                </a:extLst>
              </p:cNvPr>
              <p:cNvGrpSpPr/>
              <p:nvPr/>
            </p:nvGrpSpPr>
            <p:grpSpPr>
              <a:xfrm>
                <a:off x="1300496" y="3168433"/>
                <a:ext cx="288000" cy="151273"/>
                <a:chOff x="890763" y="3187237"/>
                <a:chExt cx="288000" cy="151273"/>
              </a:xfrm>
            </p:grpSpPr>
            <p:sp>
              <p:nvSpPr>
                <p:cNvPr id="1128" name="矩形 1127">
                  <a:extLst>
                    <a:ext uri="{FF2B5EF4-FFF2-40B4-BE49-F238E27FC236}">
                      <a16:creationId xmlns="" xmlns:a14="http://schemas.microsoft.com/office/drawing/2010/main" xmlns:p14="http://schemas.microsoft.com/office/powerpoint/2010/main" xmlns:a16="http://schemas.microsoft.com/office/drawing/2014/main" id="{EE85E310-6383-4A33-9839-1080AB048D39}"/>
                    </a:ext>
                  </a:extLst>
                </p:cNvPr>
                <p:cNvSpPr/>
                <p:nvPr/>
              </p:nvSpPr>
              <p:spPr>
                <a:xfrm>
                  <a:off x="890763" y="3187237"/>
                  <a:ext cx="288000" cy="5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29" name="矩形 1128">
                  <a:extLst>
                    <a:ext uri="{FF2B5EF4-FFF2-40B4-BE49-F238E27FC236}">
                      <a16:creationId xmlns="" xmlns:a14="http://schemas.microsoft.com/office/drawing/2010/main" xmlns:p14="http://schemas.microsoft.com/office/powerpoint/2010/main" xmlns:a16="http://schemas.microsoft.com/office/drawing/2014/main" id="{92A8C4BC-E581-4771-8564-C41486B27EDC}"/>
                    </a:ext>
                  </a:extLst>
                </p:cNvPr>
                <p:cNvSpPr/>
                <p:nvPr/>
              </p:nvSpPr>
              <p:spPr>
                <a:xfrm>
                  <a:off x="890763" y="3284510"/>
                  <a:ext cx="216000" cy="5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125" name="组合 1124">
                <a:extLst>
                  <a:ext uri="{FF2B5EF4-FFF2-40B4-BE49-F238E27FC236}">
                    <a16:creationId xmlns="" xmlns:a14="http://schemas.microsoft.com/office/drawing/2010/main" xmlns:p14="http://schemas.microsoft.com/office/powerpoint/2010/main" xmlns:a16="http://schemas.microsoft.com/office/drawing/2014/main" id="{1E09A5A0-1198-49B9-91F7-683A4D269955}"/>
                  </a:ext>
                </a:extLst>
              </p:cNvPr>
              <p:cNvGrpSpPr/>
              <p:nvPr/>
            </p:nvGrpSpPr>
            <p:grpSpPr>
              <a:xfrm>
                <a:off x="1710229" y="3168433"/>
                <a:ext cx="288000" cy="151273"/>
                <a:chOff x="890763" y="3187237"/>
                <a:chExt cx="288000" cy="151273"/>
              </a:xfrm>
            </p:grpSpPr>
            <p:sp>
              <p:nvSpPr>
                <p:cNvPr id="1126" name="矩形 1125">
                  <a:extLst>
                    <a:ext uri="{FF2B5EF4-FFF2-40B4-BE49-F238E27FC236}">
                      <a16:creationId xmlns="" xmlns:a14="http://schemas.microsoft.com/office/drawing/2010/main" xmlns:p14="http://schemas.microsoft.com/office/powerpoint/2010/main" xmlns:a16="http://schemas.microsoft.com/office/drawing/2014/main" id="{EB6719D3-6DDD-45CA-9401-20D42A145160}"/>
                    </a:ext>
                  </a:extLst>
                </p:cNvPr>
                <p:cNvSpPr/>
                <p:nvPr/>
              </p:nvSpPr>
              <p:spPr>
                <a:xfrm>
                  <a:off x="890763" y="3187237"/>
                  <a:ext cx="288000" cy="5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27" name="矩形 1126">
                  <a:extLst>
                    <a:ext uri="{FF2B5EF4-FFF2-40B4-BE49-F238E27FC236}">
                      <a16:creationId xmlns="" xmlns:a14="http://schemas.microsoft.com/office/drawing/2010/main" xmlns:p14="http://schemas.microsoft.com/office/powerpoint/2010/main" xmlns:a16="http://schemas.microsoft.com/office/drawing/2014/main" id="{3346F224-F564-4731-8D85-DE34A7D4D1B8}"/>
                    </a:ext>
                  </a:extLst>
                </p:cNvPr>
                <p:cNvSpPr/>
                <p:nvPr/>
              </p:nvSpPr>
              <p:spPr>
                <a:xfrm>
                  <a:off x="890763" y="3284510"/>
                  <a:ext cx="216000" cy="5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grpSp>
          <p:nvGrpSpPr>
            <p:cNvPr id="31" name="组合 30">
              <a:extLst>
                <a:ext uri="{FF2B5EF4-FFF2-40B4-BE49-F238E27FC236}">
                  <a16:creationId xmlns="" xmlns:a14="http://schemas.microsoft.com/office/drawing/2010/main" xmlns:p14="http://schemas.microsoft.com/office/powerpoint/2010/main" xmlns:a16="http://schemas.microsoft.com/office/drawing/2014/main" id="{170293B6-FA82-4064-B08C-0806B8D56359}"/>
                </a:ext>
              </a:extLst>
            </p:cNvPr>
            <p:cNvGrpSpPr>
              <a:grpSpLocks/>
            </p:cNvGrpSpPr>
            <p:nvPr/>
          </p:nvGrpSpPr>
          <p:grpSpPr>
            <a:xfrm>
              <a:off x="4594421" y="3512445"/>
              <a:ext cx="584213" cy="81394"/>
              <a:chOff x="4267627" y="3525007"/>
              <a:chExt cx="584213" cy="96039"/>
            </a:xfrm>
          </p:grpSpPr>
          <p:sp>
            <p:nvSpPr>
              <p:cNvPr id="1160" name="矩形 1159">
                <a:extLst>
                  <a:ext uri="{FF2B5EF4-FFF2-40B4-BE49-F238E27FC236}">
                    <a16:creationId xmlns="" xmlns:a14="http://schemas.microsoft.com/office/drawing/2010/main" xmlns:p14="http://schemas.microsoft.com/office/powerpoint/2010/main" xmlns:a16="http://schemas.microsoft.com/office/drawing/2014/main" id="{72B68B0F-9CBE-473C-B0F3-F80233567427}"/>
                  </a:ext>
                </a:extLst>
              </p:cNvPr>
              <p:cNvSpPr/>
              <p:nvPr/>
            </p:nvSpPr>
            <p:spPr>
              <a:xfrm>
                <a:off x="4396380" y="3525007"/>
                <a:ext cx="326707" cy="342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61" name="矩形 1160">
                <a:extLst>
                  <a:ext uri="{FF2B5EF4-FFF2-40B4-BE49-F238E27FC236}">
                    <a16:creationId xmlns="" xmlns:a14="http://schemas.microsoft.com/office/drawing/2010/main" xmlns:p14="http://schemas.microsoft.com/office/powerpoint/2010/main" xmlns:a16="http://schemas.microsoft.com/office/drawing/2014/main" id="{EA664DAD-6074-4BDF-950A-DC4E838A18A5}"/>
                  </a:ext>
                </a:extLst>
              </p:cNvPr>
              <p:cNvSpPr/>
              <p:nvPr/>
            </p:nvSpPr>
            <p:spPr>
              <a:xfrm>
                <a:off x="4267627" y="3586763"/>
                <a:ext cx="584213" cy="342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192" name="矩形: 圆角 1191">
              <a:extLst>
                <a:ext uri="{FF2B5EF4-FFF2-40B4-BE49-F238E27FC236}">
                  <a16:creationId xmlns="" xmlns:a14="http://schemas.microsoft.com/office/drawing/2010/main" xmlns:p14="http://schemas.microsoft.com/office/powerpoint/2010/main" xmlns:a16="http://schemas.microsoft.com/office/drawing/2014/main" id="{BA981F9A-9DAF-4D3F-98EF-64790A2A9ACE}"/>
                </a:ext>
              </a:extLst>
            </p:cNvPr>
            <p:cNvSpPr>
              <a:spLocks noChangeAspect="1"/>
            </p:cNvSpPr>
            <p:nvPr/>
          </p:nvSpPr>
          <p:spPr>
            <a:xfrm>
              <a:off x="4537757" y="3917063"/>
              <a:ext cx="697541" cy="400205"/>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193" name="矩形: 圆角 1192">
              <a:extLst>
                <a:ext uri="{FF2B5EF4-FFF2-40B4-BE49-F238E27FC236}">
                  <a16:creationId xmlns="" xmlns:a14="http://schemas.microsoft.com/office/drawing/2010/main" xmlns:p14="http://schemas.microsoft.com/office/powerpoint/2010/main" xmlns:a16="http://schemas.microsoft.com/office/drawing/2014/main" id="{45DBE396-CD6F-4032-A8DF-9AD6392A9FD3}"/>
                </a:ext>
              </a:extLst>
            </p:cNvPr>
            <p:cNvSpPr>
              <a:spLocks noChangeAspect="1"/>
            </p:cNvSpPr>
            <p:nvPr/>
          </p:nvSpPr>
          <p:spPr>
            <a:xfrm>
              <a:off x="4537757" y="4391615"/>
              <a:ext cx="697541" cy="400205"/>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198" name="任意多边形: 形状 1197">
              <a:extLst>
                <a:ext uri="{FF2B5EF4-FFF2-40B4-BE49-F238E27FC236}">
                  <a16:creationId xmlns="" xmlns:a14="http://schemas.microsoft.com/office/drawing/2010/main" xmlns:p14="http://schemas.microsoft.com/office/powerpoint/2010/main" xmlns:a16="http://schemas.microsoft.com/office/drawing/2014/main" id="{84DDD30D-950B-4F9A-8A49-735AE8AC0AFD}"/>
                </a:ext>
              </a:extLst>
            </p:cNvPr>
            <p:cNvSpPr>
              <a:spLocks noChangeAspect="1"/>
            </p:cNvSpPr>
            <p:nvPr/>
          </p:nvSpPr>
          <p:spPr>
            <a:xfrm>
              <a:off x="5383774" y="2967959"/>
              <a:ext cx="3416779" cy="1013353"/>
            </a:xfrm>
            <a:custGeom>
              <a:avLst/>
              <a:gdLst>
                <a:gd name="connsiteX0" fmla="*/ 55458 w 3416779"/>
                <a:gd name="connsiteY0" fmla="*/ 0 h 1013353"/>
                <a:gd name="connsiteX1" fmla="*/ 3361321 w 3416779"/>
                <a:gd name="connsiteY1" fmla="*/ 0 h 1013353"/>
                <a:gd name="connsiteX2" fmla="*/ 3416779 w 3416779"/>
                <a:gd name="connsiteY2" fmla="*/ 55458 h 1013353"/>
                <a:gd name="connsiteX3" fmla="*/ 3416779 w 3416779"/>
                <a:gd name="connsiteY3" fmla="*/ 1013353 h 1013353"/>
                <a:gd name="connsiteX4" fmla="*/ 0 w 3416779"/>
                <a:gd name="connsiteY4" fmla="*/ 1013353 h 1013353"/>
                <a:gd name="connsiteX5" fmla="*/ 0 w 3416779"/>
                <a:gd name="connsiteY5" fmla="*/ 55458 h 1013353"/>
                <a:gd name="connsiteX6" fmla="*/ 55458 w 3416779"/>
                <a:gd name="connsiteY6" fmla="*/ 0 h 1013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16779" h="1013353">
                  <a:moveTo>
                    <a:pt x="55458" y="0"/>
                  </a:moveTo>
                  <a:lnTo>
                    <a:pt x="3361321" y="0"/>
                  </a:lnTo>
                  <a:cubicBezTo>
                    <a:pt x="3391950" y="0"/>
                    <a:pt x="3416779" y="24829"/>
                    <a:pt x="3416779" y="55458"/>
                  </a:cubicBezTo>
                  <a:lnTo>
                    <a:pt x="3416779" y="1013353"/>
                  </a:lnTo>
                  <a:lnTo>
                    <a:pt x="0" y="1013353"/>
                  </a:lnTo>
                  <a:lnTo>
                    <a:pt x="0" y="55458"/>
                  </a:lnTo>
                  <a:cubicBezTo>
                    <a:pt x="0" y="24829"/>
                    <a:pt x="24829" y="0"/>
                    <a:pt x="55458" y="0"/>
                  </a:cubicBezTo>
                  <a:close/>
                </a:path>
              </a:pathLst>
            </a:custGeom>
            <a:solidFill>
              <a:srgbClr val="F0EEF2"/>
            </a:solidFill>
            <a:ln w="25400">
              <a:gradFill>
                <a:gsLst>
                  <a:gs pos="0">
                    <a:srgbClr val="F0EEF2"/>
                  </a:gs>
                  <a:gs pos="100000">
                    <a:srgbClr val="F0EEF2">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196" name="组合 195">
              <a:extLst>
                <a:ext uri="{FF2B5EF4-FFF2-40B4-BE49-F238E27FC236}">
                  <a16:creationId xmlns="" xmlns:a14="http://schemas.microsoft.com/office/drawing/2010/main" xmlns:p14="http://schemas.microsoft.com/office/powerpoint/2010/main" xmlns:a16="http://schemas.microsoft.com/office/drawing/2014/main" id="{AC643BCA-3BB0-4B9D-81A0-6C5B84A1F99C}"/>
                </a:ext>
              </a:extLst>
            </p:cNvPr>
            <p:cNvGrpSpPr/>
            <p:nvPr/>
          </p:nvGrpSpPr>
          <p:grpSpPr>
            <a:xfrm>
              <a:off x="5661334" y="3276855"/>
              <a:ext cx="2839176" cy="395561"/>
              <a:chOff x="6607371" y="3447302"/>
              <a:chExt cx="584213" cy="81394"/>
            </a:xfrm>
          </p:grpSpPr>
          <p:sp>
            <p:nvSpPr>
              <p:cNvPr id="1201" name="矩形 1200">
                <a:extLst>
                  <a:ext uri="{FF2B5EF4-FFF2-40B4-BE49-F238E27FC236}">
                    <a16:creationId xmlns="" xmlns:a14="http://schemas.microsoft.com/office/drawing/2010/main" xmlns:p14="http://schemas.microsoft.com/office/powerpoint/2010/main" xmlns:a16="http://schemas.microsoft.com/office/drawing/2014/main" id="{D91D9877-7543-4F08-B43F-0DFFE662E9E6}"/>
                  </a:ext>
                </a:extLst>
              </p:cNvPr>
              <p:cNvSpPr/>
              <p:nvPr/>
            </p:nvSpPr>
            <p:spPr>
              <a:xfrm>
                <a:off x="6736124" y="3447302"/>
                <a:ext cx="326707" cy="290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02" name="矩形 1201">
                <a:extLst>
                  <a:ext uri="{FF2B5EF4-FFF2-40B4-BE49-F238E27FC236}">
                    <a16:creationId xmlns="" xmlns:a14="http://schemas.microsoft.com/office/drawing/2010/main" xmlns:p14="http://schemas.microsoft.com/office/powerpoint/2010/main" xmlns:a16="http://schemas.microsoft.com/office/drawing/2014/main" id="{32B0D4B6-D829-4A3C-8060-DAAC08AA4483}"/>
                  </a:ext>
                </a:extLst>
              </p:cNvPr>
              <p:cNvSpPr/>
              <p:nvPr/>
            </p:nvSpPr>
            <p:spPr>
              <a:xfrm>
                <a:off x="6607371" y="3499641"/>
                <a:ext cx="584213" cy="290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208" name="矩形: 圆角 1207">
              <a:extLst>
                <a:ext uri="{FF2B5EF4-FFF2-40B4-BE49-F238E27FC236}">
                  <a16:creationId xmlns="" xmlns:a14="http://schemas.microsoft.com/office/drawing/2010/main" xmlns:p14="http://schemas.microsoft.com/office/powerpoint/2010/main" xmlns:a16="http://schemas.microsoft.com/office/drawing/2014/main" id="{9C7A5DC9-080D-48A1-9895-7D9FDBEF81A3}"/>
                </a:ext>
              </a:extLst>
            </p:cNvPr>
            <p:cNvSpPr>
              <a:spLocks noChangeAspect="1"/>
            </p:cNvSpPr>
            <p:nvPr/>
          </p:nvSpPr>
          <p:spPr>
            <a:xfrm>
              <a:off x="4537757" y="4864702"/>
              <a:ext cx="697541" cy="164498"/>
            </a:xfrm>
            <a:prstGeom prst="roundRect">
              <a:avLst>
                <a:gd name="adj" fmla="val 14540"/>
              </a:avLst>
            </a:prstGeom>
            <a:gradFill>
              <a:gsLst>
                <a:gs pos="8000">
                  <a:srgbClr val="F0EEF2"/>
                </a:gs>
                <a:gs pos="100000">
                  <a:srgbClr val="F0EEF2">
                    <a:alpha val="0"/>
                  </a:srgbClr>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195" name="矩形: 圆角 1194">
              <a:extLst>
                <a:ext uri="{FF2B5EF4-FFF2-40B4-BE49-F238E27FC236}">
                  <a16:creationId xmlns="" xmlns:a14="http://schemas.microsoft.com/office/drawing/2010/main" xmlns:p14="http://schemas.microsoft.com/office/powerpoint/2010/main" xmlns:a16="http://schemas.microsoft.com/office/drawing/2014/main" id="{58D625B9-C935-4337-BA60-59145751AA0F}"/>
                </a:ext>
              </a:extLst>
            </p:cNvPr>
            <p:cNvSpPr>
              <a:spLocks noChangeAspect="1"/>
            </p:cNvSpPr>
            <p:nvPr/>
          </p:nvSpPr>
          <p:spPr>
            <a:xfrm>
              <a:off x="5383774" y="2967958"/>
              <a:ext cx="3416779" cy="1960332"/>
            </a:xfrm>
            <a:prstGeom prst="roundRect">
              <a:avLst>
                <a:gd name="adj" fmla="val 2829"/>
              </a:avLst>
            </a:prstGeom>
            <a:noFill/>
            <a:ln w="25400">
              <a:gradFill>
                <a:gsLst>
                  <a:gs pos="62000">
                    <a:srgbClr val="F0EEF2"/>
                  </a:gs>
                  <a:gs pos="100000">
                    <a:srgbClr val="F0EEF2">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sp>
        <p:nvSpPr>
          <p:cNvPr id="142" name="标题 1">
            <a:extLst>
              <a:ext uri="{FF2B5EF4-FFF2-40B4-BE49-F238E27FC236}">
                <a16:creationId xmlns="" xmlns:a14="http://schemas.microsoft.com/office/drawing/2010/main" xmlns:p14="http://schemas.microsoft.com/office/powerpoint/2010/main" xmlns:a16="http://schemas.microsoft.com/office/drawing/2014/main" id="{B167232B-C94B-4B55-9BB9-3932D3048E90}"/>
              </a:ext>
            </a:extLst>
          </p:cNvPr>
          <p:cNvSpPr txBox="1">
            <a:spLocks/>
          </p:cNvSpPr>
          <p:nvPr/>
        </p:nvSpPr>
        <p:spPr>
          <a:xfrm>
            <a:off x="660400" y="-1"/>
            <a:ext cx="10858500" cy="1028700"/>
          </a:xfrm>
          <a:prstGeom prst="rect">
            <a:avLst/>
          </a:prstGeom>
        </p:spPr>
        <p:txBody>
          <a:bodyPr vert="horz" lIns="91440" tIns="45720" rIns="91440" bIns="45720" rtlCol="0" anchor="b">
            <a:normAutofit/>
          </a:bodyPr>
          <a:lstStyle>
            <a:lvl1pPr algn="l" defTabSz="914354" rtl="0" eaLnBrk="1" latinLnBrk="0" hangingPunct="1">
              <a:lnSpc>
                <a:spcPct val="90000"/>
              </a:lnSpc>
              <a:spcBef>
                <a:spcPct val="0"/>
              </a:spcBef>
              <a:buNone/>
              <a:defRPr sz="4400" kern="1200">
                <a:solidFill>
                  <a:schemeClr val="tx1"/>
                </a:solidFill>
                <a:latin typeface="+mj-lt"/>
                <a:ea typeface="+mj-ea"/>
                <a:cs typeface="+mj-cs"/>
              </a:defRPr>
            </a:lvl1pPr>
          </a:lstStyle>
          <a:p>
            <a:pPr defTabSz="914309"/>
            <a:r>
              <a:rPr lang="zh-CN" altLang="en-US" sz="2800" b="1" dirty="0"/>
              <a:t>快速设计页面  </a:t>
            </a:r>
            <a:r>
              <a:rPr lang="en-US" altLang="zh-CN" sz="2800" b="1" dirty="0"/>
              <a:t>Quick </a:t>
            </a:r>
            <a:r>
              <a:rPr lang="en-US" altLang="zh-CN" sz="2800" b="1"/>
              <a:t>Slides </a:t>
            </a:r>
            <a:r>
              <a:rPr lang="en-US" altLang="zh-CN" sz="2800" b="1" smtClean="0"/>
              <a:t>D</a:t>
            </a:r>
            <a:r>
              <a:rPr lang="en-US" altLang="zh-CN" sz="100" b="1" smtClean="0"/>
              <a:t> </a:t>
            </a:r>
            <a:r>
              <a:rPr lang="en-US" altLang="zh-CN" sz="2800" b="1" smtClean="0"/>
              <a:t>esign</a:t>
            </a:r>
            <a:endParaRPr lang="zh-CN" altLang="en-US" sz="2800" b="1" dirty="0"/>
          </a:p>
        </p:txBody>
      </p:sp>
      <p:grpSp>
        <p:nvGrpSpPr>
          <p:cNvPr id="7" name="组合 6">
            <a:extLst>
              <a:ext uri="{FF2B5EF4-FFF2-40B4-BE49-F238E27FC236}">
                <a16:creationId xmlns="" xmlns:a14="http://schemas.microsoft.com/office/drawing/2010/main" xmlns:p14="http://schemas.microsoft.com/office/powerpoint/2010/main" xmlns:a16="http://schemas.microsoft.com/office/drawing/2014/main" id="{1F9F365A-2C24-41FD-B002-CB59D5D24B1C}"/>
              </a:ext>
            </a:extLst>
          </p:cNvPr>
          <p:cNvGrpSpPr/>
          <p:nvPr/>
        </p:nvGrpSpPr>
        <p:grpSpPr>
          <a:xfrm>
            <a:off x="2402783" y="3675081"/>
            <a:ext cx="990824" cy="138044"/>
            <a:chOff x="4746821" y="3664845"/>
            <a:chExt cx="584213" cy="81394"/>
          </a:xfrm>
        </p:grpSpPr>
        <p:sp>
          <p:nvSpPr>
            <p:cNvPr id="4" name="矩形 3">
              <a:extLst>
                <a:ext uri="{FF2B5EF4-FFF2-40B4-BE49-F238E27FC236}">
                  <a16:creationId xmlns="" xmlns:a14="http://schemas.microsoft.com/office/drawing/2010/main" xmlns:p14="http://schemas.microsoft.com/office/powerpoint/2010/main" xmlns:a16="http://schemas.microsoft.com/office/drawing/2014/main" id="{AB1FAD69-4D08-4E64-9C63-16E13C313BBE}"/>
                </a:ext>
              </a:extLst>
            </p:cNvPr>
            <p:cNvSpPr/>
            <p:nvPr/>
          </p:nvSpPr>
          <p:spPr>
            <a:xfrm>
              <a:off x="4875574" y="3664845"/>
              <a:ext cx="326707" cy="290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矩形 4">
              <a:extLst>
                <a:ext uri="{FF2B5EF4-FFF2-40B4-BE49-F238E27FC236}">
                  <a16:creationId xmlns="" xmlns:a14="http://schemas.microsoft.com/office/drawing/2010/main" xmlns:p14="http://schemas.microsoft.com/office/powerpoint/2010/main" xmlns:a16="http://schemas.microsoft.com/office/drawing/2014/main" id="{AF65DC8F-823A-46D5-9360-28BA88F6A828}"/>
                </a:ext>
              </a:extLst>
            </p:cNvPr>
            <p:cNvSpPr/>
            <p:nvPr/>
          </p:nvSpPr>
          <p:spPr>
            <a:xfrm>
              <a:off x="4746821" y="3717184"/>
              <a:ext cx="584213" cy="290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 name="矩形 1">
            <a:extLst>
              <a:ext uri="{FF2B5EF4-FFF2-40B4-BE49-F238E27FC236}">
                <a16:creationId xmlns="" xmlns:a14="http://schemas.microsoft.com/office/drawing/2010/main" xmlns:p14="http://schemas.microsoft.com/office/powerpoint/2010/main" xmlns:a16="http://schemas.microsoft.com/office/drawing/2014/main" id="{6D4473A2-7E5A-494A-B9DD-696441DA144B}"/>
              </a:ext>
            </a:extLst>
          </p:cNvPr>
          <p:cNvSpPr/>
          <p:nvPr/>
        </p:nvSpPr>
        <p:spPr>
          <a:xfrm>
            <a:off x="8978025" y="128575"/>
            <a:ext cx="2540875" cy="771556"/>
          </a:xfrm>
          <a:prstGeom prst="rect">
            <a:avLst/>
          </a:prstGeom>
          <a:solidFill>
            <a:srgbClr val="F73434"/>
          </a:solidFill>
          <a:ln w="12700">
            <a:noFill/>
            <a:prstDash val="sysDash"/>
          </a:ln>
        </p:spPr>
        <p:txBody>
          <a:bodyPr wrap="square" lIns="91440" tIns="91440" rIns="91440" bIns="91440" rtlCol="0" anchor="ctr">
            <a:noAutofit/>
          </a:bodyPr>
          <a:lstStyle/>
          <a:p>
            <a:pPr>
              <a:lnSpc>
                <a:spcPct val="120000"/>
              </a:lnSpc>
            </a:pPr>
            <a:r>
              <a:rPr lang="en-US" altLang="zh-CN" sz="800" b="1" dirty="0">
                <a:solidFill>
                  <a:schemeClr val="bg1"/>
                </a:solidFill>
              </a:rPr>
              <a:t>Note:</a:t>
            </a:r>
          </a:p>
          <a:p>
            <a:pPr>
              <a:lnSpc>
                <a:spcPct val="120000"/>
              </a:lnSpc>
            </a:pPr>
            <a:r>
              <a:rPr lang="zh-CN" altLang="en-US" sz="800" dirty="0">
                <a:solidFill>
                  <a:schemeClr val="bg1"/>
                </a:solidFill>
              </a:rPr>
              <a:t>本页为说明页，使用时请删除本页内容。</a:t>
            </a:r>
          </a:p>
          <a:p>
            <a:pPr>
              <a:lnSpc>
                <a:spcPct val="120000"/>
              </a:lnSpc>
            </a:pPr>
            <a:r>
              <a:rPr lang="en-US" altLang="zh-CN" sz="800" dirty="0">
                <a:solidFill>
                  <a:schemeClr val="bg1"/>
                </a:solidFill>
              </a:rPr>
              <a:t>This slide is an instruction. Please delete this slide before </a:t>
            </a:r>
            <a:r>
              <a:rPr lang="en-US" altLang="zh-CN" sz="800">
                <a:solidFill>
                  <a:schemeClr val="bg1"/>
                </a:solidFill>
              </a:rPr>
              <a:t>using </a:t>
            </a:r>
            <a:r>
              <a:rPr lang="en-US" altLang="zh-CN" sz="800" smtClean="0">
                <a:solidFill>
                  <a:schemeClr val="bg1"/>
                </a:solidFill>
              </a:rPr>
              <a:t>i</a:t>
            </a:r>
            <a:r>
              <a:rPr lang="en-US" altLang="zh-CN" sz="100" smtClean="0">
                <a:solidFill>
                  <a:schemeClr val="bg1"/>
                </a:solidFill>
              </a:rPr>
              <a:t> </a:t>
            </a:r>
            <a:r>
              <a:rPr lang="en-US" altLang="zh-CN" sz="800" smtClean="0">
                <a:solidFill>
                  <a:schemeClr val="bg1"/>
                </a:solidFill>
              </a:rPr>
              <a:t>t </a:t>
            </a:r>
            <a:r>
              <a:rPr lang="en-US" altLang="zh-CN" sz="800" dirty="0">
                <a:solidFill>
                  <a:schemeClr val="bg1"/>
                </a:solidFill>
              </a:rPr>
              <a:t>for presentation.</a:t>
            </a:r>
          </a:p>
        </p:txBody>
      </p:sp>
    </p:spTree>
    <p:custDataLst>
      <p:tags r:id="rId1"/>
    </p:custDataLst>
    <p:extLst>
      <p:ext uri="{BB962C8B-B14F-4D97-AF65-F5344CB8AC3E}">
        <p14:creationId xmlns:p14="http://schemas.microsoft.com/office/powerpoint/2010/main" val="39152180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95" name="Rectangle 10">
            <a:extLst>
              <a:ext uri="{FF2B5EF4-FFF2-40B4-BE49-F238E27FC236}">
                <a16:creationId xmlns="" xmlns:a14="http://schemas.microsoft.com/office/drawing/2010/main" xmlns:p14="http://schemas.microsoft.com/office/powerpoint/2010/main" xmlns:a16="http://schemas.microsoft.com/office/drawing/2014/main" id="{EB08811A-69A0-4B03-AD69-4D4093A4A1A1}"/>
              </a:ext>
            </a:extLst>
          </p:cNvPr>
          <p:cNvSpPr>
            <a:spLocks noChangeArrowheads="1"/>
          </p:cNvSpPr>
          <p:nvPr/>
        </p:nvSpPr>
        <p:spPr bwMode="auto">
          <a:xfrm>
            <a:off x="809622" y="2219171"/>
            <a:ext cx="3659316" cy="17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nvGrpSpPr>
          <p:cNvPr id="5" name="组合 4">
            <a:extLst>
              <a:ext uri="{FF2B5EF4-FFF2-40B4-BE49-F238E27FC236}">
                <a16:creationId xmlns="" xmlns:a14="http://schemas.microsoft.com/office/drawing/2010/main" xmlns:p14="http://schemas.microsoft.com/office/powerpoint/2010/main" xmlns:a16="http://schemas.microsoft.com/office/drawing/2014/main" id="{48A2BA8E-E72F-4AD7-AC03-A69B802AD243}"/>
              </a:ext>
            </a:extLst>
          </p:cNvPr>
          <p:cNvGrpSpPr/>
          <p:nvPr/>
        </p:nvGrpSpPr>
        <p:grpSpPr>
          <a:xfrm>
            <a:off x="660400" y="5387494"/>
            <a:ext cx="3493913" cy="553998"/>
            <a:chOff x="673100" y="5387494"/>
            <a:chExt cx="3493913" cy="553998"/>
          </a:xfrm>
        </p:grpSpPr>
        <p:sp>
          <p:nvSpPr>
            <p:cNvPr id="351" name="文本框 350"/>
            <p:cNvSpPr txBox="1"/>
            <p:nvPr/>
          </p:nvSpPr>
          <p:spPr>
            <a:xfrm>
              <a:off x="994562" y="5387494"/>
              <a:ext cx="3172451" cy="553998"/>
            </a:xfrm>
            <a:prstGeom prst="rect">
              <a:avLst/>
            </a:prstGeom>
            <a:noFill/>
          </p:spPr>
          <p:txBody>
            <a:bodyPr wrap="square" rtlCol="0" anchor="ctr">
              <a:spAutoFit/>
            </a:bodyPr>
            <a:lstStyle/>
            <a:p>
              <a:r>
                <a:rPr lang="zh-CN" altLang="en-US" sz="1000" dirty="0">
                  <a:solidFill>
                    <a:srgbClr val="2F2F2F"/>
                  </a:solidFill>
                </a:rPr>
                <a:t>选中图示中的图标</a:t>
              </a:r>
              <a:endParaRPr lang="en-US" altLang="zh-CN" sz="1000" dirty="0">
                <a:solidFill>
                  <a:srgbClr val="2F2F2F"/>
                </a:solidFill>
              </a:endParaRPr>
            </a:p>
            <a:p>
              <a:r>
                <a:rPr lang="en-US" altLang="zh-CN" sz="1000" dirty="0">
                  <a:solidFill>
                    <a:srgbClr val="2F2F2F"/>
                  </a:solidFill>
                </a:rPr>
                <a:t>Select the icon that needs to be changed </a:t>
              </a:r>
              <a:r>
                <a:rPr lang="en-US" altLang="zh-CN" sz="1000">
                  <a:solidFill>
                    <a:srgbClr val="2F2F2F"/>
                  </a:solidFill>
                </a:rPr>
                <a:t>in </a:t>
              </a:r>
              <a:r>
                <a:rPr lang="en-US" altLang="zh-CN" sz="100" smtClean="0">
                  <a:solidFill>
                    <a:srgbClr val="2F2F2F"/>
                  </a:solidFill>
                </a:rPr>
                <a:t> </a:t>
              </a:r>
              <a:r>
                <a:rPr lang="en-US" altLang="zh-CN" sz="1000" smtClean="0">
                  <a:solidFill>
                    <a:srgbClr val="2F2F2F"/>
                  </a:solidFill>
                </a:rPr>
                <a:t>the </a:t>
              </a:r>
              <a:r>
                <a:rPr lang="en-US" altLang="zh-CN" sz="1000" dirty="0">
                  <a:solidFill>
                    <a:srgbClr val="2F2F2F"/>
                  </a:solidFill>
                </a:rPr>
                <a:t>diagram</a:t>
              </a:r>
              <a:endParaRPr lang="zh-CN" altLang="en-US" sz="1000" dirty="0">
                <a:solidFill>
                  <a:srgbClr val="2F2F2F"/>
                </a:solidFill>
              </a:endParaRPr>
            </a:p>
          </p:txBody>
        </p:sp>
        <p:sp>
          <p:nvSpPr>
            <p:cNvPr id="350" name="椭圆 349"/>
            <p:cNvSpPr/>
            <p:nvPr/>
          </p:nvSpPr>
          <p:spPr>
            <a:xfrm>
              <a:off x="673100" y="5526315"/>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1</a:t>
              </a:r>
              <a:endParaRPr lang="zh-CN" altLang="en-US" sz="1200" dirty="0"/>
            </a:p>
          </p:txBody>
        </p:sp>
      </p:grpSp>
      <p:sp>
        <p:nvSpPr>
          <p:cNvPr id="890" name="Right Arrow 16">
            <a:extLst>
              <a:ext uri="{FF2B5EF4-FFF2-40B4-BE49-F238E27FC236}">
                <a16:creationId xmlns="" xmlns:a14="http://schemas.microsoft.com/office/drawing/2010/main" xmlns:p14="http://schemas.microsoft.com/office/powerpoint/2010/main" xmlns:a16="http://schemas.microsoft.com/office/drawing/2014/main" id="{C18997BC-8A46-4480-BDE2-8A42CE9D6E96}"/>
              </a:ext>
            </a:extLst>
          </p:cNvPr>
          <p:cNvSpPr/>
          <p:nvPr/>
        </p:nvSpPr>
        <p:spPr>
          <a:xfrm>
            <a:off x="4284309" y="3338119"/>
            <a:ext cx="174147" cy="156344"/>
          </a:xfrm>
          <a:custGeom>
            <a:avLst/>
            <a:gdLst>
              <a:gd name="T0" fmla="*/ 4048 w 6714"/>
              <a:gd name="T1" fmla="*/ 194 h 6036"/>
              <a:gd name="T2" fmla="*/ 3696 w 6714"/>
              <a:gd name="T3" fmla="*/ 340 h 6036"/>
              <a:gd name="T4" fmla="*/ 3696 w 6714"/>
              <a:gd name="T5" fmla="*/ 1283 h 6036"/>
              <a:gd name="T6" fmla="*/ 199 w 6714"/>
              <a:gd name="T7" fmla="*/ 1283 h 6036"/>
              <a:gd name="T8" fmla="*/ 0 w 6714"/>
              <a:gd name="T9" fmla="*/ 1482 h 6036"/>
              <a:gd name="T10" fmla="*/ 0 w 6714"/>
              <a:gd name="T11" fmla="*/ 4553 h 6036"/>
              <a:gd name="T12" fmla="*/ 199 w 6714"/>
              <a:gd name="T13" fmla="*/ 4752 h 6036"/>
              <a:gd name="T14" fmla="*/ 3696 w 6714"/>
              <a:gd name="T15" fmla="*/ 4752 h 6036"/>
              <a:gd name="T16" fmla="*/ 3696 w 6714"/>
              <a:gd name="T17" fmla="*/ 5696 h 6036"/>
              <a:gd name="T18" fmla="*/ 4048 w 6714"/>
              <a:gd name="T19" fmla="*/ 5842 h 6036"/>
              <a:gd name="T20" fmla="*/ 6520 w 6714"/>
              <a:gd name="T21" fmla="*/ 3369 h 6036"/>
              <a:gd name="T22" fmla="*/ 6520 w 6714"/>
              <a:gd name="T23" fmla="*/ 2666 h 6036"/>
              <a:gd name="T24" fmla="*/ 4048 w 6714"/>
              <a:gd name="T25" fmla="*/ 194 h 6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14" h="6036">
                <a:moveTo>
                  <a:pt x="4048" y="194"/>
                </a:moveTo>
                <a:cubicBezTo>
                  <a:pt x="3853" y="0"/>
                  <a:pt x="3696" y="65"/>
                  <a:pt x="3696" y="340"/>
                </a:cubicBezTo>
                <a:lnTo>
                  <a:pt x="3696" y="1283"/>
                </a:lnTo>
                <a:lnTo>
                  <a:pt x="199" y="1283"/>
                </a:lnTo>
                <a:cubicBezTo>
                  <a:pt x="89" y="1283"/>
                  <a:pt x="0" y="1372"/>
                  <a:pt x="0" y="1482"/>
                </a:cubicBezTo>
                <a:lnTo>
                  <a:pt x="0" y="4553"/>
                </a:lnTo>
                <a:cubicBezTo>
                  <a:pt x="0" y="4663"/>
                  <a:pt x="89" y="4752"/>
                  <a:pt x="199" y="4752"/>
                </a:cubicBezTo>
                <a:lnTo>
                  <a:pt x="3696" y="4752"/>
                </a:lnTo>
                <a:lnTo>
                  <a:pt x="3696" y="5696"/>
                </a:lnTo>
                <a:cubicBezTo>
                  <a:pt x="3696" y="5971"/>
                  <a:pt x="3853" y="6036"/>
                  <a:pt x="4048" y="5842"/>
                </a:cubicBezTo>
                <a:lnTo>
                  <a:pt x="6520" y="3369"/>
                </a:lnTo>
                <a:cubicBezTo>
                  <a:pt x="6714" y="3175"/>
                  <a:pt x="6714" y="2860"/>
                  <a:pt x="6520" y="2666"/>
                </a:cubicBezTo>
                <a:lnTo>
                  <a:pt x="4048" y="194"/>
                </a:lnTo>
                <a:close/>
              </a:path>
            </a:pathLst>
          </a:custGeom>
          <a:solidFill>
            <a:srgbClr val="867B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613" name="文本框 612">
            <a:extLst>
              <a:ext uri="{FF2B5EF4-FFF2-40B4-BE49-F238E27FC236}">
                <a16:creationId xmlns="" xmlns:a14="http://schemas.microsoft.com/office/drawing/2010/main" xmlns:p14="http://schemas.microsoft.com/office/powerpoint/2010/main" xmlns:a16="http://schemas.microsoft.com/office/drawing/2014/main" id="{8AD2200D-CA44-4767-84EF-C1856654B4FA}"/>
              </a:ext>
            </a:extLst>
          </p:cNvPr>
          <p:cNvSpPr txBox="1"/>
          <p:nvPr/>
        </p:nvSpPr>
        <p:spPr>
          <a:xfrm>
            <a:off x="4916703" y="5387481"/>
            <a:ext cx="2558947" cy="553998"/>
          </a:xfrm>
          <a:prstGeom prst="rect">
            <a:avLst/>
          </a:prstGeom>
          <a:noFill/>
        </p:spPr>
        <p:txBody>
          <a:bodyPr wrap="square" rtlCol="0" anchor="ctr">
            <a:spAutoFit/>
          </a:bodyPr>
          <a:lstStyle/>
          <a:p>
            <a:r>
              <a:rPr lang="zh-CN" altLang="en-US" sz="1000" dirty="0">
                <a:solidFill>
                  <a:srgbClr val="2F2F2F"/>
                </a:solidFill>
              </a:rPr>
              <a:t>点击 </a:t>
            </a:r>
            <a:r>
              <a:rPr lang="en-US" altLang="zh-CN" sz="1000" dirty="0" err="1">
                <a:solidFill>
                  <a:srgbClr val="2F2F2F"/>
                </a:solidFill>
              </a:rPr>
              <a:t>iSlide</a:t>
            </a:r>
            <a:r>
              <a:rPr lang="en-US" altLang="zh-CN" sz="1000" dirty="0">
                <a:solidFill>
                  <a:srgbClr val="2F2F2F"/>
                </a:solidFill>
              </a:rPr>
              <a:t>【</a:t>
            </a:r>
            <a:r>
              <a:rPr lang="zh-CN" altLang="en-US" sz="1000" dirty="0">
                <a:solidFill>
                  <a:srgbClr val="2F2F2F"/>
                </a:solidFill>
              </a:rPr>
              <a:t>图标库</a:t>
            </a:r>
            <a:r>
              <a:rPr lang="en-US" altLang="zh-CN" sz="1000" dirty="0">
                <a:solidFill>
                  <a:srgbClr val="2F2F2F"/>
                </a:solidFill>
              </a:rPr>
              <a:t>】</a:t>
            </a:r>
            <a:r>
              <a:rPr lang="zh-CN" altLang="en-US" sz="1000" dirty="0">
                <a:solidFill>
                  <a:srgbClr val="2F2F2F"/>
                </a:solidFill>
              </a:rPr>
              <a:t>中的图标替换</a:t>
            </a:r>
            <a:endParaRPr lang="en-US" altLang="zh-CN" sz="1000" dirty="0">
              <a:solidFill>
                <a:srgbClr val="2F2F2F"/>
              </a:solidFill>
            </a:endParaRPr>
          </a:p>
          <a:p>
            <a:r>
              <a:rPr lang="en-US" altLang="zh-CN" sz="1000" dirty="0">
                <a:solidFill>
                  <a:srgbClr val="2F2F2F"/>
                </a:solidFill>
              </a:rPr>
              <a:t>Click the target icon in iSlide “Icon </a:t>
            </a:r>
            <a:r>
              <a:rPr lang="en-US" altLang="zh-CN" sz="1000">
                <a:solidFill>
                  <a:srgbClr val="2F2F2F"/>
                </a:solidFill>
              </a:rPr>
              <a:t>Library</a:t>
            </a:r>
            <a:r>
              <a:rPr lang="en-US" altLang="zh-CN" sz="1000" smtClean="0">
                <a:solidFill>
                  <a:srgbClr val="2F2F2F"/>
                </a:solidFill>
              </a:rPr>
              <a:t>”</a:t>
            </a:r>
            <a:r>
              <a:rPr lang="en-US" altLang="zh-CN" sz="100" smtClean="0">
                <a:solidFill>
                  <a:srgbClr val="2F2F2F"/>
                </a:solidFill>
              </a:rPr>
              <a:t> </a:t>
            </a:r>
            <a:r>
              <a:rPr lang="en-US" altLang="zh-CN" sz="1000" smtClean="0">
                <a:solidFill>
                  <a:srgbClr val="2F2F2F"/>
                </a:solidFill>
              </a:rPr>
              <a:t> </a:t>
            </a:r>
            <a:r>
              <a:rPr lang="en-US" altLang="zh-CN" sz="1000" dirty="0">
                <a:solidFill>
                  <a:srgbClr val="2F2F2F"/>
                </a:solidFill>
              </a:rPr>
              <a:t>to replace it</a:t>
            </a:r>
            <a:endParaRPr lang="zh-CN" altLang="en-US" sz="1000" dirty="0">
              <a:solidFill>
                <a:srgbClr val="2F2F2F"/>
              </a:solidFill>
            </a:endParaRPr>
          </a:p>
        </p:txBody>
      </p:sp>
      <p:sp>
        <p:nvSpPr>
          <p:cNvPr id="614" name="椭圆 613">
            <a:extLst>
              <a:ext uri="{FF2B5EF4-FFF2-40B4-BE49-F238E27FC236}">
                <a16:creationId xmlns="" xmlns:a14="http://schemas.microsoft.com/office/drawing/2010/main" xmlns:p14="http://schemas.microsoft.com/office/powerpoint/2010/main" xmlns:a16="http://schemas.microsoft.com/office/drawing/2014/main" id="{0EF98DBB-FD28-4F75-8C30-91D37F4F411F}"/>
              </a:ext>
            </a:extLst>
          </p:cNvPr>
          <p:cNvSpPr/>
          <p:nvPr/>
        </p:nvSpPr>
        <p:spPr>
          <a:xfrm>
            <a:off x="4595244" y="5526315"/>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2</a:t>
            </a:r>
            <a:endParaRPr lang="zh-CN" altLang="en-US" sz="1200" dirty="0"/>
          </a:p>
        </p:txBody>
      </p:sp>
      <p:sp>
        <p:nvSpPr>
          <p:cNvPr id="891" name="Right Arrow 751">
            <a:extLst>
              <a:ext uri="{FF2B5EF4-FFF2-40B4-BE49-F238E27FC236}">
                <a16:creationId xmlns="" xmlns:a14="http://schemas.microsoft.com/office/drawing/2010/main" xmlns:p14="http://schemas.microsoft.com/office/powerpoint/2010/main" xmlns:a16="http://schemas.microsoft.com/office/drawing/2014/main" id="{262E38B2-0226-44BA-9105-CB532FA15FCA}"/>
              </a:ext>
            </a:extLst>
          </p:cNvPr>
          <p:cNvSpPr/>
          <p:nvPr/>
        </p:nvSpPr>
        <p:spPr>
          <a:xfrm>
            <a:off x="7720848" y="3338119"/>
            <a:ext cx="174147" cy="156344"/>
          </a:xfrm>
          <a:custGeom>
            <a:avLst/>
            <a:gdLst>
              <a:gd name="T0" fmla="*/ 4048 w 6714"/>
              <a:gd name="T1" fmla="*/ 194 h 6036"/>
              <a:gd name="T2" fmla="*/ 3696 w 6714"/>
              <a:gd name="T3" fmla="*/ 340 h 6036"/>
              <a:gd name="T4" fmla="*/ 3696 w 6714"/>
              <a:gd name="T5" fmla="*/ 1283 h 6036"/>
              <a:gd name="T6" fmla="*/ 199 w 6714"/>
              <a:gd name="T7" fmla="*/ 1283 h 6036"/>
              <a:gd name="T8" fmla="*/ 0 w 6714"/>
              <a:gd name="T9" fmla="*/ 1482 h 6036"/>
              <a:gd name="T10" fmla="*/ 0 w 6714"/>
              <a:gd name="T11" fmla="*/ 4553 h 6036"/>
              <a:gd name="T12" fmla="*/ 199 w 6714"/>
              <a:gd name="T13" fmla="*/ 4752 h 6036"/>
              <a:gd name="T14" fmla="*/ 3696 w 6714"/>
              <a:gd name="T15" fmla="*/ 4752 h 6036"/>
              <a:gd name="T16" fmla="*/ 3696 w 6714"/>
              <a:gd name="T17" fmla="*/ 5696 h 6036"/>
              <a:gd name="T18" fmla="*/ 4048 w 6714"/>
              <a:gd name="T19" fmla="*/ 5842 h 6036"/>
              <a:gd name="T20" fmla="*/ 6520 w 6714"/>
              <a:gd name="T21" fmla="*/ 3369 h 6036"/>
              <a:gd name="T22" fmla="*/ 6520 w 6714"/>
              <a:gd name="T23" fmla="*/ 2666 h 6036"/>
              <a:gd name="T24" fmla="*/ 4048 w 6714"/>
              <a:gd name="T25" fmla="*/ 194 h 6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14" h="6036">
                <a:moveTo>
                  <a:pt x="4048" y="194"/>
                </a:moveTo>
                <a:cubicBezTo>
                  <a:pt x="3853" y="0"/>
                  <a:pt x="3696" y="65"/>
                  <a:pt x="3696" y="340"/>
                </a:cubicBezTo>
                <a:lnTo>
                  <a:pt x="3696" y="1283"/>
                </a:lnTo>
                <a:lnTo>
                  <a:pt x="199" y="1283"/>
                </a:lnTo>
                <a:cubicBezTo>
                  <a:pt x="89" y="1283"/>
                  <a:pt x="0" y="1372"/>
                  <a:pt x="0" y="1482"/>
                </a:cubicBezTo>
                <a:lnTo>
                  <a:pt x="0" y="4553"/>
                </a:lnTo>
                <a:cubicBezTo>
                  <a:pt x="0" y="4663"/>
                  <a:pt x="89" y="4752"/>
                  <a:pt x="199" y="4752"/>
                </a:cubicBezTo>
                <a:lnTo>
                  <a:pt x="3696" y="4752"/>
                </a:lnTo>
                <a:lnTo>
                  <a:pt x="3696" y="5696"/>
                </a:lnTo>
                <a:cubicBezTo>
                  <a:pt x="3696" y="5971"/>
                  <a:pt x="3853" y="6036"/>
                  <a:pt x="4048" y="5842"/>
                </a:cubicBezTo>
                <a:lnTo>
                  <a:pt x="6520" y="3369"/>
                </a:lnTo>
                <a:cubicBezTo>
                  <a:pt x="6714" y="3175"/>
                  <a:pt x="6714" y="2860"/>
                  <a:pt x="6520" y="2666"/>
                </a:cubicBezTo>
                <a:lnTo>
                  <a:pt x="4048" y="194"/>
                </a:lnTo>
                <a:close/>
              </a:path>
            </a:pathLst>
          </a:custGeom>
          <a:solidFill>
            <a:srgbClr val="867B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nvGrpSpPr>
          <p:cNvPr id="4" name="组合 3">
            <a:extLst>
              <a:ext uri="{FF2B5EF4-FFF2-40B4-BE49-F238E27FC236}">
                <a16:creationId xmlns="" xmlns:a14="http://schemas.microsoft.com/office/drawing/2010/main" xmlns:p14="http://schemas.microsoft.com/office/powerpoint/2010/main" xmlns:a16="http://schemas.microsoft.com/office/drawing/2014/main" id="{A28377A9-9395-4FE8-A752-D85653CA6493}"/>
              </a:ext>
            </a:extLst>
          </p:cNvPr>
          <p:cNvGrpSpPr/>
          <p:nvPr/>
        </p:nvGrpSpPr>
        <p:grpSpPr>
          <a:xfrm>
            <a:off x="8024992" y="5464436"/>
            <a:ext cx="3493908" cy="400110"/>
            <a:chOff x="8024992" y="5464436"/>
            <a:chExt cx="3493908" cy="400110"/>
          </a:xfrm>
        </p:grpSpPr>
        <p:sp>
          <p:nvSpPr>
            <p:cNvPr id="753" name="文本框 752">
              <a:extLst>
                <a:ext uri="{FF2B5EF4-FFF2-40B4-BE49-F238E27FC236}">
                  <a16:creationId xmlns="" xmlns:a14="http://schemas.microsoft.com/office/drawing/2010/main" xmlns:p14="http://schemas.microsoft.com/office/powerpoint/2010/main" xmlns:a16="http://schemas.microsoft.com/office/drawing/2014/main" id="{64E2827D-DD54-493E-8009-F97E8BD7C996}"/>
                </a:ext>
              </a:extLst>
            </p:cNvPr>
            <p:cNvSpPr txBox="1"/>
            <p:nvPr/>
          </p:nvSpPr>
          <p:spPr>
            <a:xfrm>
              <a:off x="8344861" y="5464436"/>
              <a:ext cx="3174039" cy="400110"/>
            </a:xfrm>
            <a:prstGeom prst="rect">
              <a:avLst/>
            </a:prstGeom>
            <a:noFill/>
          </p:spPr>
          <p:txBody>
            <a:bodyPr wrap="square" rtlCol="0" anchor="ctr">
              <a:spAutoFit/>
            </a:bodyPr>
            <a:lstStyle/>
            <a:p>
              <a:r>
                <a:rPr lang="zh-CN" altLang="en-US" sz="1000" dirty="0">
                  <a:solidFill>
                    <a:srgbClr val="2F2F2F"/>
                  </a:solidFill>
                </a:rPr>
                <a:t>替换成功</a:t>
              </a:r>
              <a:endParaRPr lang="en-US" altLang="zh-CN" sz="1000" dirty="0">
                <a:solidFill>
                  <a:srgbClr val="2F2F2F"/>
                </a:solidFill>
              </a:endParaRPr>
            </a:p>
            <a:p>
              <a:r>
                <a:rPr lang="en-US" altLang="zh-CN" sz="1000" smtClean="0">
                  <a:solidFill>
                    <a:srgbClr val="2F2F2F"/>
                  </a:solidFill>
                </a:rPr>
                <a:t>D</a:t>
              </a:r>
              <a:r>
                <a:rPr lang="en-US" altLang="zh-CN" sz="100" smtClean="0">
                  <a:solidFill>
                    <a:srgbClr val="2F2F2F"/>
                  </a:solidFill>
                </a:rPr>
                <a:t> </a:t>
              </a:r>
              <a:r>
                <a:rPr lang="en-US" altLang="zh-CN" sz="1000" smtClean="0">
                  <a:solidFill>
                    <a:srgbClr val="2F2F2F"/>
                  </a:solidFill>
                </a:rPr>
                <a:t>one</a:t>
              </a:r>
              <a:endParaRPr lang="en-US" altLang="zh-CN" sz="1000" dirty="0">
                <a:solidFill>
                  <a:srgbClr val="2F2F2F"/>
                </a:solidFill>
              </a:endParaRPr>
            </a:p>
          </p:txBody>
        </p:sp>
        <p:sp>
          <p:nvSpPr>
            <p:cNvPr id="754" name="椭圆 753">
              <a:extLst>
                <a:ext uri="{FF2B5EF4-FFF2-40B4-BE49-F238E27FC236}">
                  <a16:creationId xmlns="" xmlns:a14="http://schemas.microsoft.com/office/drawing/2010/main" xmlns:p14="http://schemas.microsoft.com/office/powerpoint/2010/main" xmlns:a16="http://schemas.microsoft.com/office/drawing/2014/main" id="{2CAE1083-0567-4F35-9DA3-912D7BA86E08}"/>
                </a:ext>
              </a:extLst>
            </p:cNvPr>
            <p:cNvSpPr/>
            <p:nvPr/>
          </p:nvSpPr>
          <p:spPr>
            <a:xfrm>
              <a:off x="8024992" y="5526315"/>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3</a:t>
              </a:r>
              <a:endParaRPr lang="zh-CN" altLang="en-US" sz="1200" dirty="0"/>
            </a:p>
          </p:txBody>
        </p:sp>
      </p:grpSp>
      <p:sp>
        <p:nvSpPr>
          <p:cNvPr id="3" name="标题 1">
            <a:extLst>
              <a:ext uri="{FF2B5EF4-FFF2-40B4-BE49-F238E27FC236}">
                <a16:creationId xmlns="" xmlns:a14="http://schemas.microsoft.com/office/drawing/2010/main" xmlns:p14="http://schemas.microsoft.com/office/powerpoint/2010/main" xmlns:a16="http://schemas.microsoft.com/office/drawing/2014/main" id="{4F84E74D-AA01-4BAE-92D2-C59945F97B6D}"/>
              </a:ext>
            </a:extLst>
          </p:cNvPr>
          <p:cNvSpPr txBox="1">
            <a:spLocks/>
          </p:cNvSpPr>
          <p:nvPr/>
        </p:nvSpPr>
        <p:spPr>
          <a:xfrm>
            <a:off x="660400" y="0"/>
            <a:ext cx="10858500" cy="1028700"/>
          </a:xfrm>
          <a:prstGeom prst="rect">
            <a:avLst/>
          </a:prstGeom>
        </p:spPr>
        <p:txBody>
          <a:bodyPr vert="horz" lIns="91440" tIns="45720" rIns="91440" bIns="45720" rtlCol="0" anchor="b">
            <a:normAutofit/>
          </a:bodyPr>
          <a:lstStyle>
            <a:lvl1pPr algn="l" defTabSz="914354" rtl="0" eaLnBrk="1" latinLnBrk="0" hangingPunct="1">
              <a:lnSpc>
                <a:spcPct val="90000"/>
              </a:lnSpc>
              <a:spcBef>
                <a:spcPct val="0"/>
              </a:spcBef>
              <a:buNone/>
              <a:defRPr sz="4400" kern="1200">
                <a:solidFill>
                  <a:schemeClr val="tx1"/>
                </a:solidFill>
                <a:latin typeface="+mj-lt"/>
                <a:ea typeface="+mj-ea"/>
                <a:cs typeface="+mj-cs"/>
              </a:defRPr>
            </a:lvl1pPr>
          </a:lstStyle>
          <a:p>
            <a:pPr defTabSz="914309"/>
            <a:r>
              <a:rPr lang="zh-CN" altLang="en-US" sz="2800" b="1" dirty="0"/>
              <a:t>更改页面中的图标  </a:t>
            </a:r>
            <a:r>
              <a:rPr lang="en-US" altLang="zh-CN" sz="2800" b="1"/>
              <a:t>Replace </a:t>
            </a:r>
            <a:r>
              <a:rPr lang="en-US" altLang="zh-CN" sz="100" b="1" smtClean="0"/>
              <a:t> </a:t>
            </a:r>
            <a:r>
              <a:rPr lang="en-US" altLang="zh-CN" sz="2800" b="1" smtClean="0"/>
              <a:t>Icons</a:t>
            </a:r>
            <a:endParaRPr lang="zh-CN" altLang="en-US" sz="2800" b="1" dirty="0"/>
          </a:p>
        </p:txBody>
      </p:sp>
      <p:grpSp>
        <p:nvGrpSpPr>
          <p:cNvPr id="22" name="组合 21">
            <a:extLst>
              <a:ext uri="{FF2B5EF4-FFF2-40B4-BE49-F238E27FC236}">
                <a16:creationId xmlns="" xmlns:a14="http://schemas.microsoft.com/office/drawing/2010/main" xmlns:p14="http://schemas.microsoft.com/office/powerpoint/2010/main" xmlns:a16="http://schemas.microsoft.com/office/drawing/2014/main" id="{3A3BC1D5-EA0F-41BB-8F53-59743BD1B38C}"/>
              </a:ext>
            </a:extLst>
          </p:cNvPr>
          <p:cNvGrpSpPr/>
          <p:nvPr/>
        </p:nvGrpSpPr>
        <p:grpSpPr>
          <a:xfrm>
            <a:off x="660400" y="1959178"/>
            <a:ext cx="3493913" cy="2403813"/>
            <a:chOff x="673100" y="1959176"/>
            <a:chExt cx="3493913" cy="2403813"/>
          </a:xfrm>
        </p:grpSpPr>
        <p:grpSp>
          <p:nvGrpSpPr>
            <p:cNvPr id="12" name="组合 11">
              <a:extLst>
                <a:ext uri="{FF2B5EF4-FFF2-40B4-BE49-F238E27FC236}">
                  <a16:creationId xmlns="" xmlns:a14="http://schemas.microsoft.com/office/drawing/2010/main" xmlns:p14="http://schemas.microsoft.com/office/powerpoint/2010/main" xmlns:a16="http://schemas.microsoft.com/office/drawing/2014/main" id="{3D97207B-26E6-494B-A2BE-1E1B9E3E4E18}"/>
                </a:ext>
              </a:extLst>
            </p:cNvPr>
            <p:cNvGrpSpPr/>
            <p:nvPr/>
          </p:nvGrpSpPr>
          <p:grpSpPr>
            <a:xfrm>
              <a:off x="673100" y="1959176"/>
              <a:ext cx="3493913" cy="2403813"/>
              <a:chOff x="673100" y="1959176"/>
              <a:chExt cx="3493913" cy="2403813"/>
            </a:xfrm>
          </p:grpSpPr>
          <p:sp>
            <p:nvSpPr>
              <p:cNvPr id="395" name="Freeform 6">
                <a:extLst>
                  <a:ext uri="{FF2B5EF4-FFF2-40B4-BE49-F238E27FC236}">
                    <a16:creationId xmlns="" xmlns:a14="http://schemas.microsoft.com/office/drawing/2010/main" xmlns:p14="http://schemas.microsoft.com/office/powerpoint/2010/main" xmlns:a16="http://schemas.microsoft.com/office/drawing/2014/main" id="{531F3E12-E1A1-4FB6-BE6F-619A1EB56468}"/>
                  </a:ext>
                </a:extLst>
              </p:cNvPr>
              <p:cNvSpPr>
                <a:spLocks/>
              </p:cNvSpPr>
              <p:nvPr/>
            </p:nvSpPr>
            <p:spPr bwMode="auto">
              <a:xfrm>
                <a:off x="673100" y="1959176"/>
                <a:ext cx="3493913" cy="2403813"/>
              </a:xfrm>
              <a:prstGeom prst="rect">
                <a:avLst/>
              </a:prstGeom>
              <a:gradFill>
                <a:gsLst>
                  <a:gs pos="83000">
                    <a:schemeClr val="bg1"/>
                  </a:gs>
                  <a:gs pos="100000">
                    <a:schemeClr val="bg1">
                      <a:alpha val="0"/>
                    </a:schemeClr>
                  </a:gs>
                </a:gsLst>
                <a:lin ang="5400000" scaled="1"/>
              </a:gradFill>
              <a:ln w="9525">
                <a:noFill/>
                <a:round/>
                <a:headEnd/>
                <a:tailEnd/>
              </a:ln>
              <a:effectLst>
                <a:outerShdw blurRad="63500" sx="102000" sy="102000" algn="ctr" rotWithShape="0">
                  <a:srgbClr val="E7E5EA">
                    <a:alpha val="50000"/>
                  </a:srgbClr>
                </a:outerShdw>
              </a:effectLst>
            </p:spPr>
            <p:txBody>
              <a:bodyPr vert="horz" wrap="square" lIns="91440" tIns="45720" rIns="91440" bIns="45720" numCol="1" anchor="t" anchorCtr="0" compatLnSpc="1">
                <a:prstTxWarp prst="textNoShape">
                  <a:avLst/>
                </a:prstTxWarp>
              </a:bodyPr>
              <a:lstStyle/>
              <a:p>
                <a:endParaRPr lang="zh-CN" altLang="en-US"/>
              </a:p>
            </p:txBody>
          </p:sp>
          <p:sp>
            <p:nvSpPr>
              <p:cNvPr id="396" name="矩形: 圆角 395">
                <a:extLst>
                  <a:ext uri="{FF2B5EF4-FFF2-40B4-BE49-F238E27FC236}">
                    <a16:creationId xmlns="" xmlns:a14="http://schemas.microsoft.com/office/drawing/2010/main" xmlns:p14="http://schemas.microsoft.com/office/powerpoint/2010/main" xmlns:a16="http://schemas.microsoft.com/office/drawing/2014/main" id="{41C62B95-EC03-4F9F-8BDA-29725A649F10}"/>
                  </a:ext>
                </a:extLst>
              </p:cNvPr>
              <p:cNvSpPr>
                <a:spLocks noChangeAspect="1"/>
              </p:cNvSpPr>
              <p:nvPr/>
            </p:nvSpPr>
            <p:spPr>
              <a:xfrm>
                <a:off x="810452" y="2742993"/>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397" name="Rectangle 8">
                <a:extLst>
                  <a:ext uri="{FF2B5EF4-FFF2-40B4-BE49-F238E27FC236}">
                    <a16:creationId xmlns="" xmlns:a14="http://schemas.microsoft.com/office/drawing/2010/main" xmlns:p14="http://schemas.microsoft.com/office/powerpoint/2010/main" xmlns:a16="http://schemas.microsoft.com/office/drawing/2014/main" id="{6BC6B2AE-F334-45A7-8DC1-83E254A97646}"/>
                  </a:ext>
                </a:extLst>
              </p:cNvPr>
              <p:cNvSpPr>
                <a:spLocks noChangeArrowheads="1"/>
              </p:cNvSpPr>
              <p:nvPr/>
            </p:nvSpPr>
            <p:spPr bwMode="auto">
              <a:xfrm>
                <a:off x="810454" y="2228518"/>
                <a:ext cx="3240163" cy="311711"/>
              </a:xfrm>
              <a:prstGeom prst="rect">
                <a:avLst/>
              </a:prstGeom>
              <a:solidFill>
                <a:srgbClr val="F0EE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98" name="Rectangle 9">
                <a:extLst>
                  <a:ext uri="{FF2B5EF4-FFF2-40B4-BE49-F238E27FC236}">
                    <a16:creationId xmlns="" xmlns:a14="http://schemas.microsoft.com/office/drawing/2010/main" xmlns:p14="http://schemas.microsoft.com/office/powerpoint/2010/main" xmlns:a16="http://schemas.microsoft.com/office/drawing/2014/main" id="{68127BC8-69DB-42D5-933C-6C3BB8817842}"/>
                  </a:ext>
                </a:extLst>
              </p:cNvPr>
              <p:cNvSpPr>
                <a:spLocks noChangeArrowheads="1"/>
              </p:cNvSpPr>
              <p:nvPr/>
            </p:nvSpPr>
            <p:spPr bwMode="auto">
              <a:xfrm>
                <a:off x="810454" y="2228518"/>
                <a:ext cx="3240163" cy="181579"/>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99" name="Oval 14">
                <a:extLst>
                  <a:ext uri="{FF2B5EF4-FFF2-40B4-BE49-F238E27FC236}">
                    <a16:creationId xmlns="" xmlns:a14="http://schemas.microsoft.com/office/drawing/2010/main" xmlns:p14="http://schemas.microsoft.com/office/powerpoint/2010/main" xmlns:a16="http://schemas.microsoft.com/office/drawing/2014/main" id="{560F0ECF-D54D-48C1-99F9-1628B8E529F7}"/>
                  </a:ext>
                </a:extLst>
              </p:cNvPr>
              <p:cNvSpPr>
                <a:spLocks noChangeArrowheads="1"/>
              </p:cNvSpPr>
              <p:nvPr/>
            </p:nvSpPr>
            <p:spPr bwMode="auto">
              <a:xfrm>
                <a:off x="1171610" y="2098386"/>
                <a:ext cx="59552"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0" name="Oval 15">
                <a:extLst>
                  <a:ext uri="{FF2B5EF4-FFF2-40B4-BE49-F238E27FC236}">
                    <a16:creationId xmlns="" xmlns:a14="http://schemas.microsoft.com/office/drawing/2010/main" xmlns:p14="http://schemas.microsoft.com/office/powerpoint/2010/main" xmlns:a16="http://schemas.microsoft.com/office/drawing/2014/main" id="{6561D1AC-5205-4166-B410-F62D7AA3418D}"/>
                  </a:ext>
                </a:extLst>
              </p:cNvPr>
              <p:cNvSpPr>
                <a:spLocks noChangeArrowheads="1"/>
              </p:cNvSpPr>
              <p:nvPr/>
            </p:nvSpPr>
            <p:spPr bwMode="auto">
              <a:xfrm>
                <a:off x="1276307"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1" name="Oval 16">
                <a:extLst>
                  <a:ext uri="{FF2B5EF4-FFF2-40B4-BE49-F238E27FC236}">
                    <a16:creationId xmlns="" xmlns:a14="http://schemas.microsoft.com/office/drawing/2010/main" xmlns:p14="http://schemas.microsoft.com/office/powerpoint/2010/main" xmlns:a16="http://schemas.microsoft.com/office/drawing/2014/main" id="{B63B0240-B214-4523-8D02-15FD02022D42}"/>
                  </a:ext>
                </a:extLst>
              </p:cNvPr>
              <p:cNvSpPr>
                <a:spLocks noChangeArrowheads="1"/>
              </p:cNvSpPr>
              <p:nvPr/>
            </p:nvSpPr>
            <p:spPr bwMode="auto">
              <a:xfrm>
                <a:off x="1381003"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2" name="Freeform 18">
                <a:extLst>
                  <a:ext uri="{FF2B5EF4-FFF2-40B4-BE49-F238E27FC236}">
                    <a16:creationId xmlns="" xmlns:a14="http://schemas.microsoft.com/office/drawing/2010/main" xmlns:p14="http://schemas.microsoft.com/office/powerpoint/2010/main" xmlns:a16="http://schemas.microsoft.com/office/drawing/2014/main" id="{E270C877-0DE9-4B40-AF0A-2BD4879C8157}"/>
                  </a:ext>
                </a:extLst>
              </p:cNvPr>
              <p:cNvSpPr>
                <a:spLocks/>
              </p:cNvSpPr>
              <p:nvPr/>
            </p:nvSpPr>
            <p:spPr bwMode="auto">
              <a:xfrm>
                <a:off x="1615371" y="2262817"/>
                <a:ext cx="505234" cy="164430"/>
              </a:xfrm>
              <a:custGeom>
                <a:avLst/>
                <a:gdLst>
                  <a:gd name="T0" fmla="*/ 520 w 547"/>
                  <a:gd name="T1" fmla="*/ 170 h 170"/>
                  <a:gd name="T2" fmla="*/ 27 w 547"/>
                  <a:gd name="T3" fmla="*/ 170 h 170"/>
                  <a:gd name="T4" fmla="*/ 0 w 547"/>
                  <a:gd name="T5" fmla="*/ 143 h 170"/>
                  <a:gd name="T6" fmla="*/ 0 w 547"/>
                  <a:gd name="T7" fmla="*/ 27 h 170"/>
                  <a:gd name="T8" fmla="*/ 27 w 547"/>
                  <a:gd name="T9" fmla="*/ 0 h 170"/>
                  <a:gd name="T10" fmla="*/ 520 w 547"/>
                  <a:gd name="T11" fmla="*/ 0 h 170"/>
                  <a:gd name="T12" fmla="*/ 547 w 547"/>
                  <a:gd name="T13" fmla="*/ 27 h 170"/>
                  <a:gd name="T14" fmla="*/ 547 w 547"/>
                  <a:gd name="T15" fmla="*/ 143 h 170"/>
                  <a:gd name="T16" fmla="*/ 520 w 547"/>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7" h="170">
                    <a:moveTo>
                      <a:pt x="520" y="170"/>
                    </a:moveTo>
                    <a:cubicBezTo>
                      <a:pt x="27" y="170"/>
                      <a:pt x="27" y="170"/>
                      <a:pt x="27" y="170"/>
                    </a:cubicBezTo>
                    <a:cubicBezTo>
                      <a:pt x="12" y="170"/>
                      <a:pt x="0" y="158"/>
                      <a:pt x="0" y="143"/>
                    </a:cubicBezTo>
                    <a:cubicBezTo>
                      <a:pt x="0" y="27"/>
                      <a:pt x="0" y="27"/>
                      <a:pt x="0" y="27"/>
                    </a:cubicBezTo>
                    <a:cubicBezTo>
                      <a:pt x="0" y="12"/>
                      <a:pt x="12" y="0"/>
                      <a:pt x="27" y="0"/>
                    </a:cubicBezTo>
                    <a:cubicBezTo>
                      <a:pt x="520" y="0"/>
                      <a:pt x="520" y="0"/>
                      <a:pt x="520" y="0"/>
                    </a:cubicBezTo>
                    <a:cubicBezTo>
                      <a:pt x="535" y="0"/>
                      <a:pt x="547" y="12"/>
                      <a:pt x="547" y="27"/>
                    </a:cubicBezTo>
                    <a:cubicBezTo>
                      <a:pt x="547" y="143"/>
                      <a:pt x="547" y="143"/>
                      <a:pt x="547" y="143"/>
                    </a:cubicBezTo>
                    <a:cubicBezTo>
                      <a:pt x="547" y="158"/>
                      <a:pt x="535" y="170"/>
                      <a:pt x="520" y="170"/>
                    </a:cubicBezTo>
                    <a:close/>
                  </a:path>
                </a:pathLst>
              </a:cu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3" name="Rectangle 19">
                <a:extLst>
                  <a:ext uri="{FF2B5EF4-FFF2-40B4-BE49-F238E27FC236}">
                    <a16:creationId xmlns="" xmlns:a14="http://schemas.microsoft.com/office/drawing/2010/main" xmlns:p14="http://schemas.microsoft.com/office/powerpoint/2010/main" xmlns:a16="http://schemas.microsoft.com/office/drawing/2014/main" id="{58C87805-37F6-47C6-99DE-933822F94A81}"/>
                  </a:ext>
                </a:extLst>
              </p:cNvPr>
              <p:cNvSpPr>
                <a:spLocks noChangeArrowheads="1"/>
              </p:cNvSpPr>
              <p:nvPr/>
            </p:nvSpPr>
            <p:spPr bwMode="auto">
              <a:xfrm>
                <a:off x="1737357" y="2320316"/>
                <a:ext cx="243973" cy="49430"/>
              </a:xfrm>
              <a:prstGeom prst="rect">
                <a:avLst/>
              </a:prstGeom>
              <a:solidFill>
                <a:srgbClr val="CFCB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4" name="Freeform 20">
                <a:extLst>
                  <a:ext uri="{FF2B5EF4-FFF2-40B4-BE49-F238E27FC236}">
                    <a16:creationId xmlns="" xmlns:a14="http://schemas.microsoft.com/office/drawing/2010/main" xmlns:p14="http://schemas.microsoft.com/office/powerpoint/2010/main" xmlns:a16="http://schemas.microsoft.com/office/drawing/2014/main" id="{1C2469F6-351F-4DF3-BA4D-2D313709F444}"/>
                  </a:ext>
                </a:extLst>
              </p:cNvPr>
              <p:cNvSpPr>
                <a:spLocks/>
              </p:cNvSpPr>
              <p:nvPr/>
            </p:nvSpPr>
            <p:spPr bwMode="auto">
              <a:xfrm>
                <a:off x="1139912" y="2306193"/>
                <a:ext cx="232445" cy="49430"/>
              </a:xfrm>
              <a:custGeom>
                <a:avLst/>
                <a:gdLst>
                  <a:gd name="T0" fmla="*/ 227 w 251"/>
                  <a:gd name="T1" fmla="*/ 0 h 51"/>
                  <a:gd name="T2" fmla="*/ 24 w 251"/>
                  <a:gd name="T3" fmla="*/ 0 h 51"/>
                  <a:gd name="T4" fmla="*/ 0 w 251"/>
                  <a:gd name="T5" fmla="*/ 24 h 51"/>
                  <a:gd name="T6" fmla="*/ 0 w 251"/>
                  <a:gd name="T7" fmla="*/ 27 h 51"/>
                  <a:gd name="T8" fmla="*/ 24 w 251"/>
                  <a:gd name="T9" fmla="*/ 51 h 51"/>
                  <a:gd name="T10" fmla="*/ 227 w 251"/>
                  <a:gd name="T11" fmla="*/ 51 h 51"/>
                  <a:gd name="T12" fmla="*/ 251 w 251"/>
                  <a:gd name="T13" fmla="*/ 27 h 51"/>
                  <a:gd name="T14" fmla="*/ 251 w 251"/>
                  <a:gd name="T15" fmla="*/ 24 h 51"/>
                  <a:gd name="T16" fmla="*/ 227 w 25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1" y="41"/>
                      <a:pt x="251" y="27"/>
                    </a:cubicBezTo>
                    <a:cubicBezTo>
                      <a:pt x="251" y="24"/>
                      <a:pt x="251" y="24"/>
                      <a:pt x="251" y="24"/>
                    </a:cubicBezTo>
                    <a:cubicBezTo>
                      <a:pt x="251"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5" name="Freeform 21">
                <a:extLst>
                  <a:ext uri="{FF2B5EF4-FFF2-40B4-BE49-F238E27FC236}">
                    <a16:creationId xmlns="" xmlns:a14="http://schemas.microsoft.com/office/drawing/2010/main" xmlns:p14="http://schemas.microsoft.com/office/powerpoint/2010/main" xmlns:a16="http://schemas.microsoft.com/office/drawing/2014/main" id="{0546D3E7-D879-4A49-9ECB-4376DCE28F9F}"/>
                  </a:ext>
                </a:extLst>
              </p:cNvPr>
              <p:cNvSpPr>
                <a:spLocks/>
              </p:cNvSpPr>
              <p:nvPr/>
            </p:nvSpPr>
            <p:spPr bwMode="auto">
              <a:xfrm>
                <a:off x="2317512"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0" y="0"/>
                      <a:pt x="0" y="11"/>
                      <a:pt x="0" y="24"/>
                    </a:cubicBezTo>
                    <a:cubicBezTo>
                      <a:pt x="0" y="27"/>
                      <a:pt x="0" y="27"/>
                      <a:pt x="0" y="27"/>
                    </a:cubicBezTo>
                    <a:cubicBezTo>
                      <a:pt x="0" y="41"/>
                      <a:pt x="10" y="51"/>
                      <a:pt x="24" y="51"/>
                    </a:cubicBezTo>
                    <a:cubicBezTo>
                      <a:pt x="226" y="51"/>
                      <a:pt x="226" y="51"/>
                      <a:pt x="226" y="51"/>
                    </a:cubicBezTo>
                    <a:cubicBezTo>
                      <a:pt x="239" y="51"/>
                      <a:pt x="250" y="41"/>
                      <a:pt x="250" y="27"/>
                    </a:cubicBezTo>
                    <a:cubicBezTo>
                      <a:pt x="250" y="24"/>
                      <a:pt x="250" y="24"/>
                      <a:pt x="250" y="24"/>
                    </a:cubicBezTo>
                    <a:cubicBezTo>
                      <a:pt x="250" y="11"/>
                      <a:pt x="239"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6" name="Freeform 22">
                <a:extLst>
                  <a:ext uri="{FF2B5EF4-FFF2-40B4-BE49-F238E27FC236}">
                    <a16:creationId xmlns="" xmlns:a14="http://schemas.microsoft.com/office/drawing/2010/main" xmlns:p14="http://schemas.microsoft.com/office/powerpoint/2010/main" xmlns:a16="http://schemas.microsoft.com/office/drawing/2014/main" id="{5233617A-97F2-4429-AF9B-F0A6CB363E83}"/>
                  </a:ext>
                </a:extLst>
              </p:cNvPr>
              <p:cNvSpPr>
                <a:spLocks/>
              </p:cNvSpPr>
              <p:nvPr/>
            </p:nvSpPr>
            <p:spPr bwMode="auto">
              <a:xfrm>
                <a:off x="2757430"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1" y="0"/>
                      <a:pt x="0" y="11"/>
                      <a:pt x="0" y="24"/>
                    </a:cubicBezTo>
                    <a:cubicBezTo>
                      <a:pt x="0" y="27"/>
                      <a:pt x="0" y="27"/>
                      <a:pt x="0" y="27"/>
                    </a:cubicBezTo>
                    <a:cubicBezTo>
                      <a:pt x="0" y="41"/>
                      <a:pt x="11" y="51"/>
                      <a:pt x="24" y="51"/>
                    </a:cubicBezTo>
                    <a:cubicBezTo>
                      <a:pt x="226" y="51"/>
                      <a:pt x="226" y="51"/>
                      <a:pt x="226" y="51"/>
                    </a:cubicBezTo>
                    <a:cubicBezTo>
                      <a:pt x="240" y="51"/>
                      <a:pt x="250" y="41"/>
                      <a:pt x="250" y="27"/>
                    </a:cubicBezTo>
                    <a:cubicBezTo>
                      <a:pt x="250" y="24"/>
                      <a:pt x="250" y="24"/>
                      <a:pt x="250" y="24"/>
                    </a:cubicBezTo>
                    <a:cubicBezTo>
                      <a:pt x="250" y="11"/>
                      <a:pt x="240"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7" name="Freeform 23">
                <a:extLst>
                  <a:ext uri="{FF2B5EF4-FFF2-40B4-BE49-F238E27FC236}">
                    <a16:creationId xmlns="" xmlns:a14="http://schemas.microsoft.com/office/drawing/2010/main" xmlns:p14="http://schemas.microsoft.com/office/powerpoint/2010/main" xmlns:a16="http://schemas.microsoft.com/office/drawing/2014/main" id="{B378177B-6943-4F4B-8E95-6B7ACB9CAAF5}"/>
                  </a:ext>
                </a:extLst>
              </p:cNvPr>
              <p:cNvSpPr>
                <a:spLocks/>
              </p:cNvSpPr>
              <p:nvPr/>
            </p:nvSpPr>
            <p:spPr bwMode="auto">
              <a:xfrm>
                <a:off x="3197349" y="2306193"/>
                <a:ext cx="231486" cy="49430"/>
              </a:xfrm>
              <a:custGeom>
                <a:avLst/>
                <a:gdLst>
                  <a:gd name="T0" fmla="*/ 227 w 250"/>
                  <a:gd name="T1" fmla="*/ 0 h 51"/>
                  <a:gd name="T2" fmla="*/ 24 w 250"/>
                  <a:gd name="T3" fmla="*/ 0 h 51"/>
                  <a:gd name="T4" fmla="*/ 0 w 250"/>
                  <a:gd name="T5" fmla="*/ 24 h 51"/>
                  <a:gd name="T6" fmla="*/ 0 w 250"/>
                  <a:gd name="T7" fmla="*/ 27 h 51"/>
                  <a:gd name="T8" fmla="*/ 24 w 250"/>
                  <a:gd name="T9" fmla="*/ 51 h 51"/>
                  <a:gd name="T10" fmla="*/ 227 w 250"/>
                  <a:gd name="T11" fmla="*/ 51 h 51"/>
                  <a:gd name="T12" fmla="*/ 250 w 250"/>
                  <a:gd name="T13" fmla="*/ 27 h 51"/>
                  <a:gd name="T14" fmla="*/ 250 w 250"/>
                  <a:gd name="T15" fmla="*/ 24 h 51"/>
                  <a:gd name="T16" fmla="*/ 227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0" y="41"/>
                      <a:pt x="250" y="27"/>
                    </a:cubicBezTo>
                    <a:cubicBezTo>
                      <a:pt x="250" y="24"/>
                      <a:pt x="250" y="24"/>
                      <a:pt x="250" y="24"/>
                    </a:cubicBezTo>
                    <a:cubicBezTo>
                      <a:pt x="250"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3" name="矩形: 圆角 412">
                <a:extLst>
                  <a:ext uri="{FF2B5EF4-FFF2-40B4-BE49-F238E27FC236}">
                    <a16:creationId xmlns="" xmlns:a14="http://schemas.microsoft.com/office/drawing/2010/main" xmlns:p14="http://schemas.microsoft.com/office/powerpoint/2010/main" xmlns:a16="http://schemas.microsoft.com/office/drawing/2014/main" id="{A5273A11-4ECF-4BC3-B800-7AB534DFA803}"/>
                  </a:ext>
                </a:extLst>
              </p:cNvPr>
              <p:cNvSpPr>
                <a:spLocks noChangeAspect="1"/>
              </p:cNvSpPr>
              <p:nvPr/>
            </p:nvSpPr>
            <p:spPr>
              <a:xfrm>
                <a:off x="810452" y="3480441"/>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14" name="矩形: 圆角 413">
                <a:extLst>
                  <a:ext uri="{FF2B5EF4-FFF2-40B4-BE49-F238E27FC236}">
                    <a16:creationId xmlns="" xmlns:a14="http://schemas.microsoft.com/office/drawing/2010/main" xmlns:p14="http://schemas.microsoft.com/office/powerpoint/2010/main" xmlns:a16="http://schemas.microsoft.com/office/drawing/2014/main" id="{E3CF60ED-F7D9-4D1A-9948-5618058A2AC0}"/>
                  </a:ext>
                </a:extLst>
              </p:cNvPr>
              <p:cNvSpPr>
                <a:spLocks noChangeAspect="1"/>
              </p:cNvSpPr>
              <p:nvPr/>
            </p:nvSpPr>
            <p:spPr>
              <a:xfrm>
                <a:off x="810452" y="3849165"/>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17" name="矩形: 圆角 416">
                <a:extLst>
                  <a:ext uri="{FF2B5EF4-FFF2-40B4-BE49-F238E27FC236}">
                    <a16:creationId xmlns="" xmlns:a14="http://schemas.microsoft.com/office/drawing/2010/main" xmlns:p14="http://schemas.microsoft.com/office/powerpoint/2010/main" xmlns:a16="http://schemas.microsoft.com/office/drawing/2014/main" id="{361B979D-727A-401A-B59B-F2C14D9B30D7}"/>
                  </a:ext>
                </a:extLst>
              </p:cNvPr>
              <p:cNvSpPr>
                <a:spLocks noChangeAspect="1"/>
              </p:cNvSpPr>
              <p:nvPr/>
            </p:nvSpPr>
            <p:spPr>
              <a:xfrm>
                <a:off x="810452" y="4216750"/>
                <a:ext cx="526366" cy="127814"/>
              </a:xfrm>
              <a:prstGeom prst="roundRect">
                <a:avLst>
                  <a:gd name="adj" fmla="val 14540"/>
                </a:avLst>
              </a:prstGeom>
              <a:gradFill>
                <a:gsLst>
                  <a:gs pos="8000">
                    <a:srgbClr val="F0EEF2"/>
                  </a:gs>
                  <a:gs pos="100000">
                    <a:srgbClr val="F0EEF2">
                      <a:alpha val="0"/>
                    </a:srgbClr>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18" name="矩形: 圆角 417">
                <a:extLst>
                  <a:ext uri="{FF2B5EF4-FFF2-40B4-BE49-F238E27FC236}">
                    <a16:creationId xmlns="" xmlns:a14="http://schemas.microsoft.com/office/drawing/2010/main" xmlns:p14="http://schemas.microsoft.com/office/powerpoint/2010/main" xmlns:a16="http://schemas.microsoft.com/office/drawing/2014/main" id="{93DD38D4-7820-4D39-A810-19710F4E6372}"/>
                  </a:ext>
                </a:extLst>
              </p:cNvPr>
              <p:cNvSpPr>
                <a:spLocks noChangeAspect="1"/>
              </p:cNvSpPr>
              <p:nvPr/>
            </p:nvSpPr>
            <p:spPr>
              <a:xfrm>
                <a:off x="1448859" y="2742992"/>
                <a:ext cx="2578310" cy="1523165"/>
              </a:xfrm>
              <a:prstGeom prst="roundRect">
                <a:avLst>
                  <a:gd name="adj" fmla="val 2829"/>
                </a:avLst>
              </a:prstGeom>
              <a:noFill/>
              <a:ln w="25400">
                <a:gradFill>
                  <a:gsLst>
                    <a:gs pos="62000">
                      <a:srgbClr val="F0EEF2"/>
                    </a:gs>
                    <a:gs pos="100000">
                      <a:srgbClr val="F0EEF2">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35" name="矩形: 圆角 134">
                <a:extLst>
                  <a:ext uri="{FF2B5EF4-FFF2-40B4-BE49-F238E27FC236}">
                    <a16:creationId xmlns="" xmlns:a14="http://schemas.microsoft.com/office/drawing/2010/main" xmlns:p14="http://schemas.microsoft.com/office/powerpoint/2010/main" xmlns:a16="http://schemas.microsoft.com/office/drawing/2014/main" id="{D79E55C5-A2DE-4D31-AA8A-1A5CDFEC06DD}"/>
                  </a:ext>
                </a:extLst>
              </p:cNvPr>
              <p:cNvSpPr>
                <a:spLocks noChangeAspect="1"/>
              </p:cNvSpPr>
              <p:nvPr/>
            </p:nvSpPr>
            <p:spPr>
              <a:xfrm>
                <a:off x="810452" y="3111717"/>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14" name="组合 13">
              <a:extLst>
                <a:ext uri="{FF2B5EF4-FFF2-40B4-BE49-F238E27FC236}">
                  <a16:creationId xmlns="" xmlns:a14="http://schemas.microsoft.com/office/drawing/2010/main" xmlns:p14="http://schemas.microsoft.com/office/powerpoint/2010/main" xmlns:a16="http://schemas.microsoft.com/office/drawing/2014/main" id="{23994454-07E0-4714-A984-4D1D3F716955}"/>
                </a:ext>
              </a:extLst>
            </p:cNvPr>
            <p:cNvGrpSpPr/>
            <p:nvPr/>
          </p:nvGrpSpPr>
          <p:grpSpPr>
            <a:xfrm>
              <a:off x="1625650" y="2998805"/>
              <a:ext cx="2224728" cy="1011538"/>
              <a:chOff x="1625650" y="2998805"/>
              <a:chExt cx="2224728" cy="1011538"/>
            </a:xfrm>
          </p:grpSpPr>
          <p:sp>
            <p:nvSpPr>
              <p:cNvPr id="420" name="矩形 419">
                <a:extLst>
                  <a:ext uri="{FF2B5EF4-FFF2-40B4-BE49-F238E27FC236}">
                    <a16:creationId xmlns="" xmlns:a14="http://schemas.microsoft.com/office/drawing/2010/main" xmlns:p14="http://schemas.microsoft.com/office/powerpoint/2010/main" xmlns:a16="http://schemas.microsoft.com/office/drawing/2014/main" id="{B63E4F93-58FC-4CD9-A34C-1104C0B05951}"/>
                  </a:ext>
                </a:extLst>
              </p:cNvPr>
              <p:cNvSpPr/>
              <p:nvPr/>
            </p:nvSpPr>
            <p:spPr>
              <a:xfrm>
                <a:off x="1658306" y="3180638"/>
                <a:ext cx="2142449" cy="1097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3" name="六边形 442">
                <a:extLst>
                  <a:ext uri="{FF2B5EF4-FFF2-40B4-BE49-F238E27FC236}">
                    <a16:creationId xmlns="" xmlns:a14="http://schemas.microsoft.com/office/drawing/2010/main" xmlns:p14="http://schemas.microsoft.com/office/powerpoint/2010/main" xmlns:a16="http://schemas.microsoft.com/office/drawing/2014/main" id="{45D5F12E-5FA7-4314-9F36-17008F56C1BA}"/>
                  </a:ext>
                </a:extLst>
              </p:cNvPr>
              <p:cNvSpPr/>
              <p:nvPr/>
            </p:nvSpPr>
            <p:spPr>
              <a:xfrm>
                <a:off x="1625650" y="2998805"/>
                <a:ext cx="544954" cy="469786"/>
              </a:xfrm>
              <a:prstGeom prst="hexagon">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endParaRPr>
              </a:p>
            </p:txBody>
          </p:sp>
          <p:sp>
            <p:nvSpPr>
              <p:cNvPr id="444" name="六边形 443">
                <a:extLst>
                  <a:ext uri="{FF2B5EF4-FFF2-40B4-BE49-F238E27FC236}">
                    <a16:creationId xmlns="" xmlns:a14="http://schemas.microsoft.com/office/drawing/2010/main" xmlns:p14="http://schemas.microsoft.com/office/powerpoint/2010/main" xmlns:a16="http://schemas.microsoft.com/office/drawing/2014/main" id="{98872168-52C8-4CB0-849C-CFFD8AFAAECE}"/>
                  </a:ext>
                </a:extLst>
              </p:cNvPr>
              <p:cNvSpPr/>
              <p:nvPr/>
            </p:nvSpPr>
            <p:spPr>
              <a:xfrm>
                <a:off x="2121786" y="3264910"/>
                <a:ext cx="544954" cy="469786"/>
              </a:xfrm>
              <a:prstGeom prst="hexagon">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a:solidFill>
                    <a:srgbClr val="44546A">
                      <a:lumMod val="60000"/>
                      <a:lumOff val="40000"/>
                    </a:srgbClr>
                  </a:solidFill>
                </a:endParaRPr>
              </a:p>
            </p:txBody>
          </p:sp>
          <p:sp>
            <p:nvSpPr>
              <p:cNvPr id="445" name="六边形 444">
                <a:extLst>
                  <a:ext uri="{FF2B5EF4-FFF2-40B4-BE49-F238E27FC236}">
                    <a16:creationId xmlns="" xmlns:a14="http://schemas.microsoft.com/office/drawing/2010/main" xmlns:p14="http://schemas.microsoft.com/office/powerpoint/2010/main" xmlns:a16="http://schemas.microsoft.com/office/drawing/2014/main" id="{D1533CD2-D858-4859-B0BA-68DD7361A521}"/>
                  </a:ext>
                </a:extLst>
              </p:cNvPr>
              <p:cNvSpPr/>
              <p:nvPr/>
            </p:nvSpPr>
            <p:spPr>
              <a:xfrm>
                <a:off x="1635531" y="3540559"/>
                <a:ext cx="544952" cy="469784"/>
              </a:xfrm>
              <a:prstGeom prst="hexagon">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endParaRPr>
              </a:p>
            </p:txBody>
          </p:sp>
          <p:sp>
            <p:nvSpPr>
              <p:cNvPr id="446" name="矩形 445">
                <a:extLst>
                  <a:ext uri="{FF2B5EF4-FFF2-40B4-BE49-F238E27FC236}">
                    <a16:creationId xmlns="" xmlns:a14="http://schemas.microsoft.com/office/drawing/2010/main" xmlns:p14="http://schemas.microsoft.com/office/powerpoint/2010/main" xmlns:a16="http://schemas.microsoft.com/office/drawing/2014/main" id="{36870D1E-3609-43A4-90AA-F0C0A7F193B6}"/>
                  </a:ext>
                </a:extLst>
              </p:cNvPr>
              <p:cNvSpPr/>
              <p:nvPr/>
            </p:nvSpPr>
            <p:spPr>
              <a:xfrm>
                <a:off x="2840921" y="3226205"/>
                <a:ext cx="1009457" cy="120582"/>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7" name="矩形 446">
                <a:extLst>
                  <a:ext uri="{FF2B5EF4-FFF2-40B4-BE49-F238E27FC236}">
                    <a16:creationId xmlns="" xmlns:a14="http://schemas.microsoft.com/office/drawing/2010/main" xmlns:p14="http://schemas.microsoft.com/office/powerpoint/2010/main" xmlns:a16="http://schemas.microsoft.com/office/drawing/2014/main" id="{8120700A-212B-4D96-BE36-7DC480D315D8}"/>
                  </a:ext>
                </a:extLst>
              </p:cNvPr>
              <p:cNvSpPr/>
              <p:nvPr/>
            </p:nvSpPr>
            <p:spPr>
              <a:xfrm>
                <a:off x="2840916" y="3443416"/>
                <a:ext cx="884270" cy="120582"/>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448" name="矩形 447">
                <a:extLst>
                  <a:ext uri="{FF2B5EF4-FFF2-40B4-BE49-F238E27FC236}">
                    <a16:creationId xmlns="" xmlns:a14="http://schemas.microsoft.com/office/drawing/2010/main" xmlns:p14="http://schemas.microsoft.com/office/powerpoint/2010/main" xmlns:a16="http://schemas.microsoft.com/office/drawing/2014/main" id="{62645477-49A9-44F5-8502-6F99449F9544}"/>
                  </a:ext>
                </a:extLst>
              </p:cNvPr>
              <p:cNvSpPr/>
              <p:nvPr/>
            </p:nvSpPr>
            <p:spPr>
              <a:xfrm>
                <a:off x="2840916" y="3662360"/>
                <a:ext cx="757094" cy="120582"/>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7" name="任意多边形: 形状 466">
                <a:extLst>
                  <a:ext uri="{FF2B5EF4-FFF2-40B4-BE49-F238E27FC236}">
                    <a16:creationId xmlns="" xmlns:a14="http://schemas.microsoft.com/office/drawing/2010/main" xmlns:p14="http://schemas.microsoft.com/office/powerpoint/2010/main" xmlns:a16="http://schemas.microsoft.com/office/drawing/2014/main" id="{029C489B-D9F3-48DB-BAA7-20AF8AFA842D}"/>
                  </a:ext>
                </a:extLst>
              </p:cNvPr>
              <p:cNvSpPr>
                <a:spLocks noChangeArrowheads="1"/>
              </p:cNvSpPr>
              <p:nvPr/>
            </p:nvSpPr>
            <p:spPr bwMode="auto">
              <a:xfrm>
                <a:off x="1755343" y="3079063"/>
                <a:ext cx="289293" cy="289295"/>
              </a:xfrm>
              <a:custGeom>
                <a:avLst/>
                <a:gdLst>
                  <a:gd name="connsiteX0" fmla="*/ 31617 w 289293"/>
                  <a:gd name="connsiteY0" fmla="*/ 267953 h 289295"/>
                  <a:gd name="connsiteX1" fmla="*/ 257677 w 289293"/>
                  <a:gd name="connsiteY1" fmla="*/ 267953 h 289295"/>
                  <a:gd name="connsiteX2" fmla="*/ 267952 w 289293"/>
                  <a:gd name="connsiteY2" fmla="*/ 278624 h 289295"/>
                  <a:gd name="connsiteX3" fmla="*/ 257677 w 289293"/>
                  <a:gd name="connsiteY3" fmla="*/ 289295 h 289295"/>
                  <a:gd name="connsiteX4" fmla="*/ 31617 w 289293"/>
                  <a:gd name="connsiteY4" fmla="*/ 289295 h 289295"/>
                  <a:gd name="connsiteX5" fmla="*/ 21342 w 289293"/>
                  <a:gd name="connsiteY5" fmla="*/ 278624 h 289295"/>
                  <a:gd name="connsiteX6" fmla="*/ 31617 w 289293"/>
                  <a:gd name="connsiteY6" fmla="*/ 267953 h 289295"/>
                  <a:gd name="connsiteX7" fmla="*/ 123983 w 289293"/>
                  <a:gd name="connsiteY7" fmla="*/ 138821 h 289295"/>
                  <a:gd name="connsiteX8" fmla="*/ 144648 w 289293"/>
                  <a:gd name="connsiteY8" fmla="*/ 142993 h 289295"/>
                  <a:gd name="connsiteX9" fmla="*/ 165310 w 289293"/>
                  <a:gd name="connsiteY9" fmla="*/ 138822 h 289295"/>
                  <a:gd name="connsiteX10" fmla="*/ 165310 w 289293"/>
                  <a:gd name="connsiteY10" fmla="*/ 161161 h 289295"/>
                  <a:gd name="connsiteX11" fmla="*/ 175642 w 289293"/>
                  <a:gd name="connsiteY11" fmla="*/ 171493 h 289295"/>
                  <a:gd name="connsiteX12" fmla="*/ 278961 w 289293"/>
                  <a:gd name="connsiteY12" fmla="*/ 186991 h 289295"/>
                  <a:gd name="connsiteX13" fmla="*/ 289293 w 289293"/>
                  <a:gd name="connsiteY13" fmla="*/ 197323 h 289295"/>
                  <a:gd name="connsiteX14" fmla="*/ 289293 w 289293"/>
                  <a:gd name="connsiteY14" fmla="*/ 238651 h 289295"/>
                  <a:gd name="connsiteX15" fmla="*/ 278961 w 289293"/>
                  <a:gd name="connsiteY15" fmla="*/ 248983 h 289295"/>
                  <a:gd name="connsiteX16" fmla="*/ 10332 w 289293"/>
                  <a:gd name="connsiteY16" fmla="*/ 248983 h 289295"/>
                  <a:gd name="connsiteX17" fmla="*/ 0 w 289293"/>
                  <a:gd name="connsiteY17" fmla="*/ 238651 h 289295"/>
                  <a:gd name="connsiteX18" fmla="*/ 0 w 289293"/>
                  <a:gd name="connsiteY18" fmla="*/ 197323 h 289295"/>
                  <a:gd name="connsiteX19" fmla="*/ 10332 w 289293"/>
                  <a:gd name="connsiteY19" fmla="*/ 186991 h 289295"/>
                  <a:gd name="connsiteX20" fmla="*/ 113651 w 289293"/>
                  <a:gd name="connsiteY20" fmla="*/ 171493 h 289295"/>
                  <a:gd name="connsiteX21" fmla="*/ 123983 w 289293"/>
                  <a:gd name="connsiteY21" fmla="*/ 161161 h 289295"/>
                  <a:gd name="connsiteX22" fmla="*/ 123983 w 289293"/>
                  <a:gd name="connsiteY22" fmla="*/ 141546 h 289295"/>
                  <a:gd name="connsiteX23" fmla="*/ 144648 w 289293"/>
                  <a:gd name="connsiteY23" fmla="*/ 0 h 289295"/>
                  <a:gd name="connsiteX24" fmla="*/ 206301 w 289293"/>
                  <a:gd name="connsiteY24" fmla="*/ 61653 h 289295"/>
                  <a:gd name="connsiteX25" fmla="*/ 144648 w 289293"/>
                  <a:gd name="connsiteY25" fmla="*/ 123306 h 289295"/>
                  <a:gd name="connsiteX26" fmla="*/ 82995 w 289293"/>
                  <a:gd name="connsiteY26" fmla="*/ 61653 h 289295"/>
                  <a:gd name="connsiteX27" fmla="*/ 144648 w 289293"/>
                  <a:gd name="connsiteY27" fmla="*/ 0 h 289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89293" h="289295">
                    <a:moveTo>
                      <a:pt x="31617" y="267953"/>
                    </a:moveTo>
                    <a:cubicBezTo>
                      <a:pt x="257677" y="267953"/>
                      <a:pt x="257677" y="267953"/>
                      <a:pt x="257677" y="267953"/>
                    </a:cubicBezTo>
                    <a:cubicBezTo>
                      <a:pt x="262814" y="267953"/>
                      <a:pt x="267952" y="273289"/>
                      <a:pt x="267952" y="278624"/>
                    </a:cubicBezTo>
                    <a:cubicBezTo>
                      <a:pt x="267952" y="283960"/>
                      <a:pt x="262814" y="289295"/>
                      <a:pt x="257677" y="289295"/>
                    </a:cubicBezTo>
                    <a:cubicBezTo>
                      <a:pt x="31617" y="289295"/>
                      <a:pt x="31617" y="289295"/>
                      <a:pt x="31617" y="289295"/>
                    </a:cubicBezTo>
                    <a:cubicBezTo>
                      <a:pt x="26480" y="289295"/>
                      <a:pt x="21342" y="283960"/>
                      <a:pt x="21342" y="278624"/>
                    </a:cubicBezTo>
                    <a:cubicBezTo>
                      <a:pt x="21342" y="273289"/>
                      <a:pt x="26480" y="267953"/>
                      <a:pt x="31617" y="267953"/>
                    </a:cubicBezTo>
                    <a:close/>
                    <a:moveTo>
                      <a:pt x="123983" y="138821"/>
                    </a:moveTo>
                    <a:lnTo>
                      <a:pt x="144648" y="142993"/>
                    </a:lnTo>
                    <a:lnTo>
                      <a:pt x="165310" y="138822"/>
                    </a:lnTo>
                    <a:lnTo>
                      <a:pt x="165310" y="161161"/>
                    </a:lnTo>
                    <a:cubicBezTo>
                      <a:pt x="165310" y="166327"/>
                      <a:pt x="170476" y="171493"/>
                      <a:pt x="175642" y="171493"/>
                    </a:cubicBezTo>
                    <a:cubicBezTo>
                      <a:pt x="175642" y="171493"/>
                      <a:pt x="175642" y="171493"/>
                      <a:pt x="278961" y="186991"/>
                    </a:cubicBezTo>
                    <a:cubicBezTo>
                      <a:pt x="284127" y="186991"/>
                      <a:pt x="289293" y="192157"/>
                      <a:pt x="289293" y="197323"/>
                    </a:cubicBezTo>
                    <a:cubicBezTo>
                      <a:pt x="289293" y="197323"/>
                      <a:pt x="289293" y="197323"/>
                      <a:pt x="289293" y="238651"/>
                    </a:cubicBezTo>
                    <a:cubicBezTo>
                      <a:pt x="289293" y="243817"/>
                      <a:pt x="284127" y="248983"/>
                      <a:pt x="278961" y="248983"/>
                    </a:cubicBezTo>
                    <a:cubicBezTo>
                      <a:pt x="278961" y="248983"/>
                      <a:pt x="278961" y="248983"/>
                      <a:pt x="10332" y="248983"/>
                    </a:cubicBezTo>
                    <a:cubicBezTo>
                      <a:pt x="5166" y="248983"/>
                      <a:pt x="0" y="243817"/>
                      <a:pt x="0" y="238651"/>
                    </a:cubicBezTo>
                    <a:cubicBezTo>
                      <a:pt x="0" y="238651"/>
                      <a:pt x="0" y="238651"/>
                      <a:pt x="0" y="197323"/>
                    </a:cubicBezTo>
                    <a:cubicBezTo>
                      <a:pt x="0" y="192157"/>
                      <a:pt x="5166" y="186991"/>
                      <a:pt x="10332" y="186991"/>
                    </a:cubicBezTo>
                    <a:cubicBezTo>
                      <a:pt x="10332" y="186991"/>
                      <a:pt x="10332" y="186991"/>
                      <a:pt x="113651" y="171493"/>
                    </a:cubicBezTo>
                    <a:cubicBezTo>
                      <a:pt x="118817" y="171493"/>
                      <a:pt x="123983" y="166327"/>
                      <a:pt x="123983" y="161161"/>
                    </a:cubicBezTo>
                    <a:cubicBezTo>
                      <a:pt x="123983" y="161161"/>
                      <a:pt x="123983" y="161161"/>
                      <a:pt x="123983" y="141546"/>
                    </a:cubicBezTo>
                    <a:close/>
                    <a:moveTo>
                      <a:pt x="144648" y="0"/>
                    </a:moveTo>
                    <a:cubicBezTo>
                      <a:pt x="178698" y="0"/>
                      <a:pt x="206301" y="27603"/>
                      <a:pt x="206301" y="61653"/>
                    </a:cubicBezTo>
                    <a:cubicBezTo>
                      <a:pt x="206301" y="95703"/>
                      <a:pt x="178698" y="123306"/>
                      <a:pt x="144648" y="123306"/>
                    </a:cubicBezTo>
                    <a:cubicBezTo>
                      <a:pt x="110598" y="123306"/>
                      <a:pt x="82995" y="95703"/>
                      <a:pt x="82995" y="61653"/>
                    </a:cubicBezTo>
                    <a:cubicBezTo>
                      <a:pt x="82995" y="27603"/>
                      <a:pt x="110598" y="0"/>
                      <a:pt x="144648" y="0"/>
                    </a:cubicBezTo>
                    <a:close/>
                  </a:path>
                </a:pathLst>
              </a:custGeom>
              <a:solidFill>
                <a:srgbClr val="4E4658"/>
              </a:solidFill>
              <a:ln>
                <a:noFill/>
              </a:ln>
            </p:spPr>
            <p:txBody>
              <a:bodyPr vert="horz" wrap="square" lIns="91440" tIns="45720" rIns="91440" bIns="45720" numCol="1" anchor="t" anchorCtr="0" compatLnSpc="1">
                <a:prstTxWarp prst="textNoShape">
                  <a:avLst/>
                </a:prstTxWarp>
                <a:noAutofit/>
              </a:bodyPr>
              <a:lstStyle/>
              <a:p>
                <a:endParaRPr lang="zh-CN" altLang="en-US"/>
              </a:p>
            </p:txBody>
          </p:sp>
          <p:grpSp>
            <p:nvGrpSpPr>
              <p:cNvPr id="645" name="组合 644">
                <a:extLst>
                  <a:ext uri="{FF2B5EF4-FFF2-40B4-BE49-F238E27FC236}">
                    <a16:creationId xmlns="" xmlns:a14="http://schemas.microsoft.com/office/drawing/2010/main" xmlns:p14="http://schemas.microsoft.com/office/powerpoint/2010/main" xmlns:a16="http://schemas.microsoft.com/office/drawing/2014/main" id="{A980D983-409E-4F6D-A8D7-AF3AA18366AA}"/>
                  </a:ext>
                </a:extLst>
              </p:cNvPr>
              <p:cNvGrpSpPr/>
              <p:nvPr/>
            </p:nvGrpSpPr>
            <p:grpSpPr>
              <a:xfrm>
                <a:off x="1710532" y="3031370"/>
                <a:ext cx="380194" cy="380158"/>
                <a:chOff x="4979129" y="5045363"/>
                <a:chExt cx="209362" cy="209343"/>
              </a:xfrm>
            </p:grpSpPr>
            <p:sp>
              <p:nvSpPr>
                <p:cNvPr id="646" name="矩形 645">
                  <a:extLst>
                    <a:ext uri="{FF2B5EF4-FFF2-40B4-BE49-F238E27FC236}">
                      <a16:creationId xmlns="" xmlns:a14="http://schemas.microsoft.com/office/drawing/2010/main" xmlns:p14="http://schemas.microsoft.com/office/powerpoint/2010/main" xmlns:a16="http://schemas.microsoft.com/office/drawing/2014/main" id="{E2EF094A-9F22-4CBF-A563-9F39A89EDE24}"/>
                    </a:ext>
                  </a:extLst>
                </p:cNvPr>
                <p:cNvSpPr/>
                <p:nvPr/>
              </p:nvSpPr>
              <p:spPr>
                <a:xfrm>
                  <a:off x="5001989" y="5068223"/>
                  <a:ext cx="164175" cy="164176"/>
                </a:xfrm>
                <a:prstGeom prst="rect">
                  <a:avLst/>
                </a:prstGeom>
                <a:no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47" name="椭圆 646">
                  <a:extLst>
                    <a:ext uri="{FF2B5EF4-FFF2-40B4-BE49-F238E27FC236}">
                      <a16:creationId xmlns="" xmlns:a14="http://schemas.microsoft.com/office/drawing/2010/main" xmlns:p14="http://schemas.microsoft.com/office/powerpoint/2010/main" xmlns:a16="http://schemas.microsoft.com/office/drawing/2014/main" id="{0A0E975C-2768-49C1-BC9B-15B2714B9184}"/>
                    </a:ext>
                  </a:extLst>
                </p:cNvPr>
                <p:cNvSpPr/>
                <p:nvPr/>
              </p:nvSpPr>
              <p:spPr>
                <a:xfrm flipH="1">
                  <a:off x="4979129" y="5045363"/>
                  <a:ext cx="45720" cy="45720"/>
                </a:xfrm>
                <a:prstGeom prst="ellipse">
                  <a:avLst/>
                </a:prstGeom>
                <a:solidFill>
                  <a:schemeClr val="bg1"/>
                </a:solid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8" name="椭圆 647">
                  <a:extLst>
                    <a:ext uri="{FF2B5EF4-FFF2-40B4-BE49-F238E27FC236}">
                      <a16:creationId xmlns="" xmlns:a14="http://schemas.microsoft.com/office/drawing/2010/main" xmlns:p14="http://schemas.microsoft.com/office/powerpoint/2010/main" xmlns:a16="http://schemas.microsoft.com/office/drawing/2014/main" id="{1AA69BA9-DB07-47A3-A2DB-3512B4181734}"/>
                    </a:ext>
                  </a:extLst>
                </p:cNvPr>
                <p:cNvSpPr/>
                <p:nvPr/>
              </p:nvSpPr>
              <p:spPr>
                <a:xfrm flipH="1">
                  <a:off x="5060950" y="5045363"/>
                  <a:ext cx="45720" cy="45720"/>
                </a:xfrm>
                <a:prstGeom prst="ellipse">
                  <a:avLst/>
                </a:prstGeom>
                <a:solidFill>
                  <a:schemeClr val="bg1"/>
                </a:solid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9" name="椭圆 648">
                  <a:extLst>
                    <a:ext uri="{FF2B5EF4-FFF2-40B4-BE49-F238E27FC236}">
                      <a16:creationId xmlns="" xmlns:a14="http://schemas.microsoft.com/office/drawing/2010/main" xmlns:p14="http://schemas.microsoft.com/office/powerpoint/2010/main" xmlns:a16="http://schemas.microsoft.com/office/drawing/2014/main" id="{A0DD3FB0-9AC4-4C67-AAB9-C1E208C41157}"/>
                    </a:ext>
                  </a:extLst>
                </p:cNvPr>
                <p:cNvSpPr/>
                <p:nvPr/>
              </p:nvSpPr>
              <p:spPr>
                <a:xfrm flipH="1">
                  <a:off x="5142771" y="5045363"/>
                  <a:ext cx="45720" cy="45720"/>
                </a:xfrm>
                <a:prstGeom prst="ellipse">
                  <a:avLst/>
                </a:prstGeom>
                <a:solidFill>
                  <a:schemeClr val="bg1"/>
                </a:solid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0" name="椭圆 649">
                  <a:extLst>
                    <a:ext uri="{FF2B5EF4-FFF2-40B4-BE49-F238E27FC236}">
                      <a16:creationId xmlns="" xmlns:a14="http://schemas.microsoft.com/office/drawing/2010/main" xmlns:p14="http://schemas.microsoft.com/office/powerpoint/2010/main" xmlns:a16="http://schemas.microsoft.com/office/drawing/2014/main" id="{92C7735D-63F6-4AA2-83DB-6B21C5788203}"/>
                    </a:ext>
                  </a:extLst>
                </p:cNvPr>
                <p:cNvSpPr/>
                <p:nvPr/>
              </p:nvSpPr>
              <p:spPr>
                <a:xfrm flipH="1">
                  <a:off x="4979129" y="5208986"/>
                  <a:ext cx="45720" cy="45720"/>
                </a:xfrm>
                <a:prstGeom prst="ellipse">
                  <a:avLst/>
                </a:prstGeom>
                <a:solidFill>
                  <a:schemeClr val="bg1"/>
                </a:solid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1" name="椭圆 650">
                  <a:extLst>
                    <a:ext uri="{FF2B5EF4-FFF2-40B4-BE49-F238E27FC236}">
                      <a16:creationId xmlns="" xmlns:a14="http://schemas.microsoft.com/office/drawing/2010/main" xmlns:p14="http://schemas.microsoft.com/office/powerpoint/2010/main" xmlns:a16="http://schemas.microsoft.com/office/drawing/2014/main" id="{DF364357-CE3D-4673-B0A2-05FDF922165F}"/>
                    </a:ext>
                  </a:extLst>
                </p:cNvPr>
                <p:cNvSpPr/>
                <p:nvPr/>
              </p:nvSpPr>
              <p:spPr>
                <a:xfrm flipH="1">
                  <a:off x="5060950" y="5208986"/>
                  <a:ext cx="45720" cy="45720"/>
                </a:xfrm>
                <a:prstGeom prst="ellipse">
                  <a:avLst/>
                </a:prstGeom>
                <a:solidFill>
                  <a:schemeClr val="bg1"/>
                </a:solid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2" name="椭圆 651">
                  <a:extLst>
                    <a:ext uri="{FF2B5EF4-FFF2-40B4-BE49-F238E27FC236}">
                      <a16:creationId xmlns="" xmlns:a14="http://schemas.microsoft.com/office/drawing/2010/main" xmlns:p14="http://schemas.microsoft.com/office/powerpoint/2010/main" xmlns:a16="http://schemas.microsoft.com/office/drawing/2014/main" id="{2693782D-19FB-4370-B8E7-05C833C254BD}"/>
                    </a:ext>
                  </a:extLst>
                </p:cNvPr>
                <p:cNvSpPr/>
                <p:nvPr/>
              </p:nvSpPr>
              <p:spPr>
                <a:xfrm flipH="1">
                  <a:off x="5142771" y="5208986"/>
                  <a:ext cx="45720" cy="45720"/>
                </a:xfrm>
                <a:prstGeom prst="ellipse">
                  <a:avLst/>
                </a:prstGeom>
                <a:solidFill>
                  <a:schemeClr val="bg1"/>
                </a:solid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3" name="椭圆 652">
                  <a:extLst>
                    <a:ext uri="{FF2B5EF4-FFF2-40B4-BE49-F238E27FC236}">
                      <a16:creationId xmlns="" xmlns:a14="http://schemas.microsoft.com/office/drawing/2010/main" xmlns:p14="http://schemas.microsoft.com/office/powerpoint/2010/main" xmlns:a16="http://schemas.microsoft.com/office/drawing/2014/main" id="{1452D86B-89ED-4307-84D8-78666F3CBC06}"/>
                    </a:ext>
                  </a:extLst>
                </p:cNvPr>
                <p:cNvSpPr/>
                <p:nvPr/>
              </p:nvSpPr>
              <p:spPr>
                <a:xfrm flipH="1">
                  <a:off x="4979129" y="5123645"/>
                  <a:ext cx="45720" cy="45720"/>
                </a:xfrm>
                <a:prstGeom prst="ellipse">
                  <a:avLst/>
                </a:prstGeom>
                <a:solidFill>
                  <a:schemeClr val="bg1"/>
                </a:solid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4" name="椭圆 653">
                  <a:extLst>
                    <a:ext uri="{FF2B5EF4-FFF2-40B4-BE49-F238E27FC236}">
                      <a16:creationId xmlns="" xmlns:a14="http://schemas.microsoft.com/office/drawing/2010/main" xmlns:p14="http://schemas.microsoft.com/office/powerpoint/2010/main" xmlns:a16="http://schemas.microsoft.com/office/drawing/2014/main" id="{48D7D6B8-AE14-4CEE-9140-AEE799D035C4}"/>
                    </a:ext>
                  </a:extLst>
                </p:cNvPr>
                <p:cNvSpPr/>
                <p:nvPr/>
              </p:nvSpPr>
              <p:spPr>
                <a:xfrm flipH="1">
                  <a:off x="5142771" y="5123645"/>
                  <a:ext cx="45720" cy="45720"/>
                </a:xfrm>
                <a:prstGeom prst="ellipse">
                  <a:avLst/>
                </a:prstGeom>
                <a:solidFill>
                  <a:schemeClr val="bg1"/>
                </a:solid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grpSp>
        <p:nvGrpSpPr>
          <p:cNvPr id="19" name="组合 18">
            <a:extLst>
              <a:ext uri="{FF2B5EF4-FFF2-40B4-BE49-F238E27FC236}">
                <a16:creationId xmlns="" xmlns:a14="http://schemas.microsoft.com/office/drawing/2010/main" xmlns:p14="http://schemas.microsoft.com/office/powerpoint/2010/main" xmlns:a16="http://schemas.microsoft.com/office/drawing/2014/main" id="{A953E1EA-5442-446E-A462-53B91D8B981C}"/>
              </a:ext>
            </a:extLst>
          </p:cNvPr>
          <p:cNvGrpSpPr/>
          <p:nvPr/>
        </p:nvGrpSpPr>
        <p:grpSpPr>
          <a:xfrm>
            <a:off x="8024992" y="1959178"/>
            <a:ext cx="3493913" cy="2403813"/>
            <a:chOff x="8024986" y="1959176"/>
            <a:chExt cx="3493913" cy="2403813"/>
          </a:xfrm>
        </p:grpSpPr>
        <p:grpSp>
          <p:nvGrpSpPr>
            <p:cNvPr id="13" name="组合 12">
              <a:extLst>
                <a:ext uri="{FF2B5EF4-FFF2-40B4-BE49-F238E27FC236}">
                  <a16:creationId xmlns="" xmlns:a14="http://schemas.microsoft.com/office/drawing/2010/main" xmlns:p14="http://schemas.microsoft.com/office/powerpoint/2010/main" xmlns:a16="http://schemas.microsoft.com/office/drawing/2014/main" id="{B57002A2-7F15-448F-AC09-094CA63BCDD2}"/>
                </a:ext>
              </a:extLst>
            </p:cNvPr>
            <p:cNvGrpSpPr/>
            <p:nvPr/>
          </p:nvGrpSpPr>
          <p:grpSpPr>
            <a:xfrm>
              <a:off x="8024986" y="1959176"/>
              <a:ext cx="3493913" cy="2403813"/>
              <a:chOff x="8024986" y="1959176"/>
              <a:chExt cx="3493913" cy="2403813"/>
            </a:xfrm>
          </p:grpSpPr>
          <p:sp>
            <p:nvSpPr>
              <p:cNvPr id="527" name="Freeform 6">
                <a:extLst>
                  <a:ext uri="{FF2B5EF4-FFF2-40B4-BE49-F238E27FC236}">
                    <a16:creationId xmlns="" xmlns:a14="http://schemas.microsoft.com/office/drawing/2010/main" xmlns:p14="http://schemas.microsoft.com/office/powerpoint/2010/main" xmlns:a16="http://schemas.microsoft.com/office/drawing/2014/main" id="{D0DB7F0C-3F1A-432C-B5BF-314B0EC0181B}"/>
                  </a:ext>
                </a:extLst>
              </p:cNvPr>
              <p:cNvSpPr>
                <a:spLocks/>
              </p:cNvSpPr>
              <p:nvPr/>
            </p:nvSpPr>
            <p:spPr bwMode="auto">
              <a:xfrm>
                <a:off x="8024986" y="1959176"/>
                <a:ext cx="3493913" cy="2403813"/>
              </a:xfrm>
              <a:prstGeom prst="rect">
                <a:avLst/>
              </a:prstGeom>
              <a:gradFill>
                <a:gsLst>
                  <a:gs pos="83000">
                    <a:schemeClr val="bg1"/>
                  </a:gs>
                  <a:gs pos="100000">
                    <a:schemeClr val="bg1">
                      <a:alpha val="0"/>
                    </a:schemeClr>
                  </a:gs>
                </a:gsLst>
                <a:lin ang="5400000" scaled="1"/>
              </a:gradFill>
              <a:ln w="9525">
                <a:noFill/>
                <a:round/>
                <a:headEnd/>
                <a:tailEnd/>
              </a:ln>
              <a:effectLst>
                <a:outerShdw blurRad="63500" sx="102000" sy="102000" algn="ctr" rotWithShape="0">
                  <a:srgbClr val="E7E5EA">
                    <a:alpha val="50000"/>
                  </a:srgbClr>
                </a:outerShdw>
              </a:effec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528" name="矩形: 圆角 527">
                <a:extLst>
                  <a:ext uri="{FF2B5EF4-FFF2-40B4-BE49-F238E27FC236}">
                    <a16:creationId xmlns="" xmlns:a14="http://schemas.microsoft.com/office/drawing/2010/main" xmlns:p14="http://schemas.microsoft.com/office/powerpoint/2010/main" xmlns:a16="http://schemas.microsoft.com/office/drawing/2014/main" id="{366E25C9-4663-44AF-83DB-5C2883180C00}"/>
                  </a:ext>
                </a:extLst>
              </p:cNvPr>
              <p:cNvSpPr>
                <a:spLocks noChangeAspect="1"/>
              </p:cNvSpPr>
              <p:nvPr/>
            </p:nvSpPr>
            <p:spPr>
              <a:xfrm>
                <a:off x="8162338" y="2742993"/>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29" name="Rectangle 8">
                <a:extLst>
                  <a:ext uri="{FF2B5EF4-FFF2-40B4-BE49-F238E27FC236}">
                    <a16:creationId xmlns="" xmlns:a14="http://schemas.microsoft.com/office/drawing/2010/main" xmlns:p14="http://schemas.microsoft.com/office/powerpoint/2010/main" xmlns:a16="http://schemas.microsoft.com/office/drawing/2014/main" id="{A79FABC5-26F1-4EC6-9EC7-C32D22030AEA}"/>
                  </a:ext>
                </a:extLst>
              </p:cNvPr>
              <p:cNvSpPr>
                <a:spLocks noChangeArrowheads="1"/>
              </p:cNvSpPr>
              <p:nvPr/>
            </p:nvSpPr>
            <p:spPr bwMode="auto">
              <a:xfrm>
                <a:off x="8162340" y="2228518"/>
                <a:ext cx="3240163" cy="311711"/>
              </a:xfrm>
              <a:prstGeom prst="rect">
                <a:avLst/>
              </a:prstGeom>
              <a:solidFill>
                <a:srgbClr val="F0EE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530" name="Rectangle 9">
                <a:extLst>
                  <a:ext uri="{FF2B5EF4-FFF2-40B4-BE49-F238E27FC236}">
                    <a16:creationId xmlns="" xmlns:a14="http://schemas.microsoft.com/office/drawing/2010/main" xmlns:p14="http://schemas.microsoft.com/office/powerpoint/2010/main" xmlns:a16="http://schemas.microsoft.com/office/drawing/2014/main" id="{3D7B81C0-B20F-4397-BDE9-EF21FFB82AB9}"/>
                  </a:ext>
                </a:extLst>
              </p:cNvPr>
              <p:cNvSpPr>
                <a:spLocks noChangeArrowheads="1"/>
              </p:cNvSpPr>
              <p:nvPr/>
            </p:nvSpPr>
            <p:spPr bwMode="auto">
              <a:xfrm>
                <a:off x="8162340" y="2228518"/>
                <a:ext cx="3240163" cy="181579"/>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31" name="Oval 14">
                <a:extLst>
                  <a:ext uri="{FF2B5EF4-FFF2-40B4-BE49-F238E27FC236}">
                    <a16:creationId xmlns="" xmlns:a14="http://schemas.microsoft.com/office/drawing/2010/main" xmlns:p14="http://schemas.microsoft.com/office/powerpoint/2010/main" xmlns:a16="http://schemas.microsoft.com/office/drawing/2014/main" id="{F2F08DE4-71E4-4577-ADDE-1956E19457DF}"/>
                  </a:ext>
                </a:extLst>
              </p:cNvPr>
              <p:cNvSpPr>
                <a:spLocks noChangeArrowheads="1"/>
              </p:cNvSpPr>
              <p:nvPr/>
            </p:nvSpPr>
            <p:spPr bwMode="auto">
              <a:xfrm>
                <a:off x="8523496" y="2098386"/>
                <a:ext cx="59552"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532" name="Oval 15">
                <a:extLst>
                  <a:ext uri="{FF2B5EF4-FFF2-40B4-BE49-F238E27FC236}">
                    <a16:creationId xmlns="" xmlns:a14="http://schemas.microsoft.com/office/drawing/2010/main" xmlns:p14="http://schemas.microsoft.com/office/powerpoint/2010/main" xmlns:a16="http://schemas.microsoft.com/office/drawing/2014/main" id="{4AF1E064-9F5D-47E7-8FC3-DEE7D1EA1963}"/>
                  </a:ext>
                </a:extLst>
              </p:cNvPr>
              <p:cNvSpPr>
                <a:spLocks noChangeArrowheads="1"/>
              </p:cNvSpPr>
              <p:nvPr/>
            </p:nvSpPr>
            <p:spPr bwMode="auto">
              <a:xfrm>
                <a:off x="8628193"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533" name="Oval 16">
                <a:extLst>
                  <a:ext uri="{FF2B5EF4-FFF2-40B4-BE49-F238E27FC236}">
                    <a16:creationId xmlns="" xmlns:a14="http://schemas.microsoft.com/office/drawing/2010/main" xmlns:p14="http://schemas.microsoft.com/office/powerpoint/2010/main" xmlns:a16="http://schemas.microsoft.com/office/drawing/2014/main" id="{E391C315-1646-461A-B27D-B6395580D893}"/>
                  </a:ext>
                </a:extLst>
              </p:cNvPr>
              <p:cNvSpPr>
                <a:spLocks noChangeArrowheads="1"/>
              </p:cNvSpPr>
              <p:nvPr/>
            </p:nvSpPr>
            <p:spPr bwMode="auto">
              <a:xfrm>
                <a:off x="8732889"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534" name="Freeform 18">
                <a:extLst>
                  <a:ext uri="{FF2B5EF4-FFF2-40B4-BE49-F238E27FC236}">
                    <a16:creationId xmlns="" xmlns:a14="http://schemas.microsoft.com/office/drawing/2010/main" xmlns:p14="http://schemas.microsoft.com/office/powerpoint/2010/main" xmlns:a16="http://schemas.microsoft.com/office/drawing/2014/main" id="{1BFDB322-46E4-47DC-A1ED-B47F015723A6}"/>
                  </a:ext>
                </a:extLst>
              </p:cNvPr>
              <p:cNvSpPr>
                <a:spLocks/>
              </p:cNvSpPr>
              <p:nvPr/>
            </p:nvSpPr>
            <p:spPr bwMode="auto">
              <a:xfrm>
                <a:off x="8967257" y="2262817"/>
                <a:ext cx="505234" cy="164430"/>
              </a:xfrm>
              <a:custGeom>
                <a:avLst/>
                <a:gdLst>
                  <a:gd name="T0" fmla="*/ 520 w 547"/>
                  <a:gd name="T1" fmla="*/ 170 h 170"/>
                  <a:gd name="T2" fmla="*/ 27 w 547"/>
                  <a:gd name="T3" fmla="*/ 170 h 170"/>
                  <a:gd name="T4" fmla="*/ 0 w 547"/>
                  <a:gd name="T5" fmla="*/ 143 h 170"/>
                  <a:gd name="T6" fmla="*/ 0 w 547"/>
                  <a:gd name="T7" fmla="*/ 27 h 170"/>
                  <a:gd name="T8" fmla="*/ 27 w 547"/>
                  <a:gd name="T9" fmla="*/ 0 h 170"/>
                  <a:gd name="T10" fmla="*/ 520 w 547"/>
                  <a:gd name="T11" fmla="*/ 0 h 170"/>
                  <a:gd name="T12" fmla="*/ 547 w 547"/>
                  <a:gd name="T13" fmla="*/ 27 h 170"/>
                  <a:gd name="T14" fmla="*/ 547 w 547"/>
                  <a:gd name="T15" fmla="*/ 143 h 170"/>
                  <a:gd name="T16" fmla="*/ 520 w 547"/>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7" h="170">
                    <a:moveTo>
                      <a:pt x="520" y="170"/>
                    </a:moveTo>
                    <a:cubicBezTo>
                      <a:pt x="27" y="170"/>
                      <a:pt x="27" y="170"/>
                      <a:pt x="27" y="170"/>
                    </a:cubicBezTo>
                    <a:cubicBezTo>
                      <a:pt x="12" y="170"/>
                      <a:pt x="0" y="158"/>
                      <a:pt x="0" y="143"/>
                    </a:cubicBezTo>
                    <a:cubicBezTo>
                      <a:pt x="0" y="27"/>
                      <a:pt x="0" y="27"/>
                      <a:pt x="0" y="27"/>
                    </a:cubicBezTo>
                    <a:cubicBezTo>
                      <a:pt x="0" y="12"/>
                      <a:pt x="12" y="0"/>
                      <a:pt x="27" y="0"/>
                    </a:cubicBezTo>
                    <a:cubicBezTo>
                      <a:pt x="520" y="0"/>
                      <a:pt x="520" y="0"/>
                      <a:pt x="520" y="0"/>
                    </a:cubicBezTo>
                    <a:cubicBezTo>
                      <a:pt x="535" y="0"/>
                      <a:pt x="547" y="12"/>
                      <a:pt x="547" y="27"/>
                    </a:cubicBezTo>
                    <a:cubicBezTo>
                      <a:pt x="547" y="143"/>
                      <a:pt x="547" y="143"/>
                      <a:pt x="547" y="143"/>
                    </a:cubicBezTo>
                    <a:cubicBezTo>
                      <a:pt x="547" y="158"/>
                      <a:pt x="535" y="170"/>
                      <a:pt x="520" y="170"/>
                    </a:cubicBezTo>
                    <a:close/>
                  </a:path>
                </a:pathLst>
              </a:cu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535" name="Rectangle 19">
                <a:extLst>
                  <a:ext uri="{FF2B5EF4-FFF2-40B4-BE49-F238E27FC236}">
                    <a16:creationId xmlns="" xmlns:a14="http://schemas.microsoft.com/office/drawing/2010/main" xmlns:p14="http://schemas.microsoft.com/office/powerpoint/2010/main" xmlns:a16="http://schemas.microsoft.com/office/drawing/2014/main" id="{44E9B971-12B9-4264-8D7D-460E1FD76CF3}"/>
                  </a:ext>
                </a:extLst>
              </p:cNvPr>
              <p:cNvSpPr>
                <a:spLocks noChangeArrowheads="1"/>
              </p:cNvSpPr>
              <p:nvPr/>
            </p:nvSpPr>
            <p:spPr bwMode="auto">
              <a:xfrm>
                <a:off x="9089243" y="2320316"/>
                <a:ext cx="243973" cy="49430"/>
              </a:xfrm>
              <a:prstGeom prst="rect">
                <a:avLst/>
              </a:prstGeom>
              <a:solidFill>
                <a:srgbClr val="CFCB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536" name="Freeform 20">
                <a:extLst>
                  <a:ext uri="{FF2B5EF4-FFF2-40B4-BE49-F238E27FC236}">
                    <a16:creationId xmlns="" xmlns:a14="http://schemas.microsoft.com/office/drawing/2010/main" xmlns:p14="http://schemas.microsoft.com/office/powerpoint/2010/main" xmlns:a16="http://schemas.microsoft.com/office/drawing/2014/main" id="{EA314B02-C47E-4D32-B9FC-9118DF1A6AA4}"/>
                  </a:ext>
                </a:extLst>
              </p:cNvPr>
              <p:cNvSpPr>
                <a:spLocks/>
              </p:cNvSpPr>
              <p:nvPr/>
            </p:nvSpPr>
            <p:spPr bwMode="auto">
              <a:xfrm>
                <a:off x="8491798" y="2306193"/>
                <a:ext cx="232445" cy="49430"/>
              </a:xfrm>
              <a:custGeom>
                <a:avLst/>
                <a:gdLst>
                  <a:gd name="T0" fmla="*/ 227 w 251"/>
                  <a:gd name="T1" fmla="*/ 0 h 51"/>
                  <a:gd name="T2" fmla="*/ 24 w 251"/>
                  <a:gd name="T3" fmla="*/ 0 h 51"/>
                  <a:gd name="T4" fmla="*/ 0 w 251"/>
                  <a:gd name="T5" fmla="*/ 24 h 51"/>
                  <a:gd name="T6" fmla="*/ 0 w 251"/>
                  <a:gd name="T7" fmla="*/ 27 h 51"/>
                  <a:gd name="T8" fmla="*/ 24 w 251"/>
                  <a:gd name="T9" fmla="*/ 51 h 51"/>
                  <a:gd name="T10" fmla="*/ 227 w 251"/>
                  <a:gd name="T11" fmla="*/ 51 h 51"/>
                  <a:gd name="T12" fmla="*/ 251 w 251"/>
                  <a:gd name="T13" fmla="*/ 27 h 51"/>
                  <a:gd name="T14" fmla="*/ 251 w 251"/>
                  <a:gd name="T15" fmla="*/ 24 h 51"/>
                  <a:gd name="T16" fmla="*/ 227 w 25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1" y="41"/>
                      <a:pt x="251" y="27"/>
                    </a:cubicBezTo>
                    <a:cubicBezTo>
                      <a:pt x="251" y="24"/>
                      <a:pt x="251" y="24"/>
                      <a:pt x="251" y="24"/>
                    </a:cubicBezTo>
                    <a:cubicBezTo>
                      <a:pt x="251"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37" name="Freeform 21">
                <a:extLst>
                  <a:ext uri="{FF2B5EF4-FFF2-40B4-BE49-F238E27FC236}">
                    <a16:creationId xmlns="" xmlns:a14="http://schemas.microsoft.com/office/drawing/2010/main" xmlns:p14="http://schemas.microsoft.com/office/powerpoint/2010/main" xmlns:a16="http://schemas.microsoft.com/office/drawing/2014/main" id="{913CAEE0-753D-431F-83B9-B272C447A700}"/>
                  </a:ext>
                </a:extLst>
              </p:cNvPr>
              <p:cNvSpPr>
                <a:spLocks/>
              </p:cNvSpPr>
              <p:nvPr/>
            </p:nvSpPr>
            <p:spPr bwMode="auto">
              <a:xfrm>
                <a:off x="9669398"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0" y="0"/>
                      <a:pt x="0" y="11"/>
                      <a:pt x="0" y="24"/>
                    </a:cubicBezTo>
                    <a:cubicBezTo>
                      <a:pt x="0" y="27"/>
                      <a:pt x="0" y="27"/>
                      <a:pt x="0" y="27"/>
                    </a:cubicBezTo>
                    <a:cubicBezTo>
                      <a:pt x="0" y="41"/>
                      <a:pt x="10" y="51"/>
                      <a:pt x="24" y="51"/>
                    </a:cubicBezTo>
                    <a:cubicBezTo>
                      <a:pt x="226" y="51"/>
                      <a:pt x="226" y="51"/>
                      <a:pt x="226" y="51"/>
                    </a:cubicBezTo>
                    <a:cubicBezTo>
                      <a:pt x="239" y="51"/>
                      <a:pt x="250" y="41"/>
                      <a:pt x="250" y="27"/>
                    </a:cubicBezTo>
                    <a:cubicBezTo>
                      <a:pt x="250" y="24"/>
                      <a:pt x="250" y="24"/>
                      <a:pt x="250" y="24"/>
                    </a:cubicBezTo>
                    <a:cubicBezTo>
                      <a:pt x="250" y="11"/>
                      <a:pt x="239"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38" name="Freeform 22">
                <a:extLst>
                  <a:ext uri="{FF2B5EF4-FFF2-40B4-BE49-F238E27FC236}">
                    <a16:creationId xmlns="" xmlns:a14="http://schemas.microsoft.com/office/drawing/2010/main" xmlns:p14="http://schemas.microsoft.com/office/powerpoint/2010/main" xmlns:a16="http://schemas.microsoft.com/office/drawing/2014/main" id="{5CE63E49-B6CC-43DD-904D-EC6F5224AC0A}"/>
                  </a:ext>
                </a:extLst>
              </p:cNvPr>
              <p:cNvSpPr>
                <a:spLocks/>
              </p:cNvSpPr>
              <p:nvPr/>
            </p:nvSpPr>
            <p:spPr bwMode="auto">
              <a:xfrm>
                <a:off x="10109316"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1" y="0"/>
                      <a:pt x="0" y="11"/>
                      <a:pt x="0" y="24"/>
                    </a:cubicBezTo>
                    <a:cubicBezTo>
                      <a:pt x="0" y="27"/>
                      <a:pt x="0" y="27"/>
                      <a:pt x="0" y="27"/>
                    </a:cubicBezTo>
                    <a:cubicBezTo>
                      <a:pt x="0" y="41"/>
                      <a:pt x="11" y="51"/>
                      <a:pt x="24" y="51"/>
                    </a:cubicBezTo>
                    <a:cubicBezTo>
                      <a:pt x="226" y="51"/>
                      <a:pt x="226" y="51"/>
                      <a:pt x="226" y="51"/>
                    </a:cubicBezTo>
                    <a:cubicBezTo>
                      <a:pt x="240" y="51"/>
                      <a:pt x="250" y="41"/>
                      <a:pt x="250" y="27"/>
                    </a:cubicBezTo>
                    <a:cubicBezTo>
                      <a:pt x="250" y="24"/>
                      <a:pt x="250" y="24"/>
                      <a:pt x="250" y="24"/>
                    </a:cubicBezTo>
                    <a:cubicBezTo>
                      <a:pt x="250" y="11"/>
                      <a:pt x="240"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39" name="Freeform 23">
                <a:extLst>
                  <a:ext uri="{FF2B5EF4-FFF2-40B4-BE49-F238E27FC236}">
                    <a16:creationId xmlns="" xmlns:a14="http://schemas.microsoft.com/office/drawing/2010/main" xmlns:p14="http://schemas.microsoft.com/office/powerpoint/2010/main" xmlns:a16="http://schemas.microsoft.com/office/drawing/2014/main" id="{ABA5EC36-D29E-4F6C-9502-C25F2137BD81}"/>
                  </a:ext>
                </a:extLst>
              </p:cNvPr>
              <p:cNvSpPr>
                <a:spLocks/>
              </p:cNvSpPr>
              <p:nvPr/>
            </p:nvSpPr>
            <p:spPr bwMode="auto">
              <a:xfrm>
                <a:off x="10549235" y="2306193"/>
                <a:ext cx="231486" cy="49430"/>
              </a:xfrm>
              <a:custGeom>
                <a:avLst/>
                <a:gdLst>
                  <a:gd name="T0" fmla="*/ 227 w 250"/>
                  <a:gd name="T1" fmla="*/ 0 h 51"/>
                  <a:gd name="T2" fmla="*/ 24 w 250"/>
                  <a:gd name="T3" fmla="*/ 0 h 51"/>
                  <a:gd name="T4" fmla="*/ 0 w 250"/>
                  <a:gd name="T5" fmla="*/ 24 h 51"/>
                  <a:gd name="T6" fmla="*/ 0 w 250"/>
                  <a:gd name="T7" fmla="*/ 27 h 51"/>
                  <a:gd name="T8" fmla="*/ 24 w 250"/>
                  <a:gd name="T9" fmla="*/ 51 h 51"/>
                  <a:gd name="T10" fmla="*/ 227 w 250"/>
                  <a:gd name="T11" fmla="*/ 51 h 51"/>
                  <a:gd name="T12" fmla="*/ 250 w 250"/>
                  <a:gd name="T13" fmla="*/ 27 h 51"/>
                  <a:gd name="T14" fmla="*/ 250 w 250"/>
                  <a:gd name="T15" fmla="*/ 24 h 51"/>
                  <a:gd name="T16" fmla="*/ 227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0" y="41"/>
                      <a:pt x="250" y="27"/>
                    </a:cubicBezTo>
                    <a:cubicBezTo>
                      <a:pt x="250" y="24"/>
                      <a:pt x="250" y="24"/>
                      <a:pt x="250" y="24"/>
                    </a:cubicBezTo>
                    <a:cubicBezTo>
                      <a:pt x="250"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41" name="矩形: 圆角 540">
                <a:extLst>
                  <a:ext uri="{FF2B5EF4-FFF2-40B4-BE49-F238E27FC236}">
                    <a16:creationId xmlns="" xmlns:a14="http://schemas.microsoft.com/office/drawing/2010/main" xmlns:p14="http://schemas.microsoft.com/office/powerpoint/2010/main" xmlns:a16="http://schemas.microsoft.com/office/drawing/2014/main" id="{3F86DCD2-D9CF-46E6-BFD1-BAB8916DC2EA}"/>
                  </a:ext>
                </a:extLst>
              </p:cNvPr>
              <p:cNvSpPr>
                <a:spLocks noChangeAspect="1"/>
              </p:cNvSpPr>
              <p:nvPr/>
            </p:nvSpPr>
            <p:spPr>
              <a:xfrm>
                <a:off x="8162338" y="3480441"/>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42" name="矩形: 圆角 541">
                <a:extLst>
                  <a:ext uri="{FF2B5EF4-FFF2-40B4-BE49-F238E27FC236}">
                    <a16:creationId xmlns="" xmlns:a14="http://schemas.microsoft.com/office/drawing/2010/main" xmlns:p14="http://schemas.microsoft.com/office/powerpoint/2010/main" xmlns:a16="http://schemas.microsoft.com/office/drawing/2014/main" id="{D6A00E65-2537-4774-A8D8-F642FACABC2F}"/>
                  </a:ext>
                </a:extLst>
              </p:cNvPr>
              <p:cNvSpPr>
                <a:spLocks noChangeAspect="1"/>
              </p:cNvSpPr>
              <p:nvPr/>
            </p:nvSpPr>
            <p:spPr>
              <a:xfrm>
                <a:off x="8162338" y="3849165"/>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44" name="矩形: 圆角 543">
                <a:extLst>
                  <a:ext uri="{FF2B5EF4-FFF2-40B4-BE49-F238E27FC236}">
                    <a16:creationId xmlns="" xmlns:a14="http://schemas.microsoft.com/office/drawing/2010/main" xmlns:p14="http://schemas.microsoft.com/office/powerpoint/2010/main" xmlns:a16="http://schemas.microsoft.com/office/drawing/2014/main" id="{D882A42A-7B06-40CE-B447-A09172C76D13}"/>
                  </a:ext>
                </a:extLst>
              </p:cNvPr>
              <p:cNvSpPr>
                <a:spLocks noChangeAspect="1"/>
              </p:cNvSpPr>
              <p:nvPr/>
            </p:nvSpPr>
            <p:spPr>
              <a:xfrm>
                <a:off x="8162338" y="4216750"/>
                <a:ext cx="526366" cy="127814"/>
              </a:xfrm>
              <a:prstGeom prst="roundRect">
                <a:avLst>
                  <a:gd name="adj" fmla="val 14540"/>
                </a:avLst>
              </a:prstGeom>
              <a:gradFill>
                <a:gsLst>
                  <a:gs pos="8000">
                    <a:srgbClr val="F0EEF2"/>
                  </a:gs>
                  <a:gs pos="100000">
                    <a:srgbClr val="F0EEF2">
                      <a:alpha val="0"/>
                    </a:srgbClr>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45" name="矩形: 圆角 544">
                <a:extLst>
                  <a:ext uri="{FF2B5EF4-FFF2-40B4-BE49-F238E27FC236}">
                    <a16:creationId xmlns="" xmlns:a14="http://schemas.microsoft.com/office/drawing/2010/main" xmlns:p14="http://schemas.microsoft.com/office/powerpoint/2010/main" xmlns:a16="http://schemas.microsoft.com/office/drawing/2014/main" id="{A569696E-1132-41A6-BC06-5898FDCC97B4}"/>
                  </a:ext>
                </a:extLst>
              </p:cNvPr>
              <p:cNvSpPr>
                <a:spLocks noChangeAspect="1"/>
              </p:cNvSpPr>
              <p:nvPr/>
            </p:nvSpPr>
            <p:spPr>
              <a:xfrm>
                <a:off x="8800745" y="2742992"/>
                <a:ext cx="2578310" cy="1523165"/>
              </a:xfrm>
              <a:prstGeom prst="roundRect">
                <a:avLst>
                  <a:gd name="adj" fmla="val 2829"/>
                </a:avLst>
              </a:prstGeom>
              <a:noFill/>
              <a:ln w="25400">
                <a:gradFill>
                  <a:gsLst>
                    <a:gs pos="62000">
                      <a:srgbClr val="F0EEF2"/>
                    </a:gs>
                    <a:gs pos="100000">
                      <a:srgbClr val="F0EEF2">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36" name="矩形: 圆角 135">
                <a:extLst>
                  <a:ext uri="{FF2B5EF4-FFF2-40B4-BE49-F238E27FC236}">
                    <a16:creationId xmlns="" xmlns:a14="http://schemas.microsoft.com/office/drawing/2010/main" xmlns:p14="http://schemas.microsoft.com/office/powerpoint/2010/main" xmlns:a16="http://schemas.microsoft.com/office/drawing/2014/main" id="{73718C15-8B09-4939-AE5C-40AE1079D83C}"/>
                  </a:ext>
                </a:extLst>
              </p:cNvPr>
              <p:cNvSpPr>
                <a:spLocks noChangeAspect="1"/>
              </p:cNvSpPr>
              <p:nvPr/>
            </p:nvSpPr>
            <p:spPr>
              <a:xfrm>
                <a:off x="8162338" y="3111717"/>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16" name="组合 15">
              <a:extLst>
                <a:ext uri="{FF2B5EF4-FFF2-40B4-BE49-F238E27FC236}">
                  <a16:creationId xmlns="" xmlns:a14="http://schemas.microsoft.com/office/drawing/2010/main" xmlns:p14="http://schemas.microsoft.com/office/powerpoint/2010/main" xmlns:a16="http://schemas.microsoft.com/office/drawing/2014/main" id="{9B9AB381-004E-4056-9790-0522D6B2A26B}"/>
                </a:ext>
              </a:extLst>
            </p:cNvPr>
            <p:cNvGrpSpPr/>
            <p:nvPr/>
          </p:nvGrpSpPr>
          <p:grpSpPr>
            <a:xfrm>
              <a:off x="8977536" y="2998805"/>
              <a:ext cx="2224728" cy="1011538"/>
              <a:chOff x="8977536" y="2998805"/>
              <a:chExt cx="2224728" cy="1011538"/>
            </a:xfrm>
          </p:grpSpPr>
          <p:sp>
            <p:nvSpPr>
              <p:cNvPr id="543" name="矩形 542">
                <a:extLst>
                  <a:ext uri="{FF2B5EF4-FFF2-40B4-BE49-F238E27FC236}">
                    <a16:creationId xmlns="" xmlns:a14="http://schemas.microsoft.com/office/drawing/2010/main" xmlns:p14="http://schemas.microsoft.com/office/powerpoint/2010/main" xmlns:a16="http://schemas.microsoft.com/office/drawing/2014/main" id="{10BBD707-7622-4846-AC35-F64FAF320131}"/>
                  </a:ext>
                </a:extLst>
              </p:cNvPr>
              <p:cNvSpPr/>
              <p:nvPr/>
            </p:nvSpPr>
            <p:spPr>
              <a:xfrm>
                <a:off x="9010192" y="3180638"/>
                <a:ext cx="2142449" cy="1097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546" name="组合 545">
                <a:extLst>
                  <a:ext uri="{FF2B5EF4-FFF2-40B4-BE49-F238E27FC236}">
                    <a16:creationId xmlns="" xmlns:a14="http://schemas.microsoft.com/office/drawing/2010/main" xmlns:p14="http://schemas.microsoft.com/office/powerpoint/2010/main" xmlns:a16="http://schemas.microsoft.com/office/drawing/2014/main" id="{4FF503A4-23B1-47BE-AC5D-58EAF4A524B1}"/>
                  </a:ext>
                </a:extLst>
              </p:cNvPr>
              <p:cNvGrpSpPr/>
              <p:nvPr/>
            </p:nvGrpSpPr>
            <p:grpSpPr>
              <a:xfrm>
                <a:off x="8977536" y="2998805"/>
                <a:ext cx="2224728" cy="1011538"/>
                <a:chOff x="958894" y="2827593"/>
                <a:chExt cx="996293" cy="452994"/>
              </a:xfrm>
            </p:grpSpPr>
            <p:sp>
              <p:nvSpPr>
                <p:cNvPr id="555" name="六边形 554">
                  <a:extLst>
                    <a:ext uri="{FF2B5EF4-FFF2-40B4-BE49-F238E27FC236}">
                      <a16:creationId xmlns="" xmlns:a14="http://schemas.microsoft.com/office/drawing/2010/main" xmlns:p14="http://schemas.microsoft.com/office/powerpoint/2010/main" xmlns:a16="http://schemas.microsoft.com/office/drawing/2014/main" id="{C81E0498-C03F-4C88-B8E8-BA820C3AC361}"/>
                    </a:ext>
                  </a:extLst>
                </p:cNvPr>
                <p:cNvSpPr/>
                <p:nvPr/>
              </p:nvSpPr>
              <p:spPr>
                <a:xfrm>
                  <a:off x="958894" y="2827593"/>
                  <a:ext cx="244045" cy="210383"/>
                </a:xfrm>
                <a:prstGeom prst="hexagon">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endParaRPr>
                </a:p>
              </p:txBody>
            </p:sp>
            <p:sp>
              <p:nvSpPr>
                <p:cNvPr id="556" name="六边形 555">
                  <a:extLst>
                    <a:ext uri="{FF2B5EF4-FFF2-40B4-BE49-F238E27FC236}">
                      <a16:creationId xmlns="" xmlns:a14="http://schemas.microsoft.com/office/drawing/2010/main" xmlns:p14="http://schemas.microsoft.com/office/powerpoint/2010/main" xmlns:a16="http://schemas.microsoft.com/office/drawing/2014/main" id="{85CA280C-D2AD-4B92-B853-8C8222275E69}"/>
                    </a:ext>
                  </a:extLst>
                </p:cNvPr>
                <p:cNvSpPr/>
                <p:nvPr/>
              </p:nvSpPr>
              <p:spPr>
                <a:xfrm>
                  <a:off x="1181077" y="2946762"/>
                  <a:ext cx="244045" cy="210383"/>
                </a:xfrm>
                <a:prstGeom prst="hexagon">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a:solidFill>
                      <a:srgbClr val="44546A">
                        <a:lumMod val="60000"/>
                        <a:lumOff val="40000"/>
                      </a:srgbClr>
                    </a:solidFill>
                  </a:endParaRPr>
                </a:p>
              </p:txBody>
            </p:sp>
            <p:sp>
              <p:nvSpPr>
                <p:cNvPr id="557" name="六边形 556">
                  <a:extLst>
                    <a:ext uri="{FF2B5EF4-FFF2-40B4-BE49-F238E27FC236}">
                      <a16:creationId xmlns="" xmlns:a14="http://schemas.microsoft.com/office/drawing/2010/main" xmlns:p14="http://schemas.microsoft.com/office/powerpoint/2010/main" xmlns:a16="http://schemas.microsoft.com/office/drawing/2014/main" id="{0C969DE1-AE61-4723-86A3-FAF3F49BA56E}"/>
                    </a:ext>
                  </a:extLst>
                </p:cNvPr>
                <p:cNvSpPr/>
                <p:nvPr/>
              </p:nvSpPr>
              <p:spPr>
                <a:xfrm>
                  <a:off x="963319" y="3070205"/>
                  <a:ext cx="244044" cy="210382"/>
                </a:xfrm>
                <a:prstGeom prst="hexagon">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endParaRPr>
                </a:p>
              </p:txBody>
            </p:sp>
            <p:sp>
              <p:nvSpPr>
                <p:cNvPr id="558" name="矩形 557">
                  <a:extLst>
                    <a:ext uri="{FF2B5EF4-FFF2-40B4-BE49-F238E27FC236}">
                      <a16:creationId xmlns="" xmlns:a14="http://schemas.microsoft.com/office/drawing/2010/main" xmlns:p14="http://schemas.microsoft.com/office/powerpoint/2010/main" xmlns:a16="http://schemas.microsoft.com/office/drawing/2014/main" id="{0B77D82E-E026-424E-B009-DAA6B58B8284}"/>
                    </a:ext>
                  </a:extLst>
                </p:cNvPr>
                <p:cNvSpPr/>
                <p:nvPr/>
              </p:nvSpPr>
              <p:spPr>
                <a:xfrm>
                  <a:off x="1503125" y="2929429"/>
                  <a:ext cx="452062"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59" name="矩形 558">
                  <a:extLst>
                    <a:ext uri="{FF2B5EF4-FFF2-40B4-BE49-F238E27FC236}">
                      <a16:creationId xmlns="" xmlns:a14="http://schemas.microsoft.com/office/drawing/2010/main" xmlns:p14="http://schemas.microsoft.com/office/powerpoint/2010/main" xmlns:a16="http://schemas.microsoft.com/office/drawing/2014/main" id="{4DB09F39-F909-4E31-B594-4541A6628E80}"/>
                    </a:ext>
                  </a:extLst>
                </p:cNvPr>
                <p:cNvSpPr/>
                <p:nvPr/>
              </p:nvSpPr>
              <p:spPr>
                <a:xfrm>
                  <a:off x="1503123" y="3026702"/>
                  <a:ext cx="396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sp>
              <p:nvSpPr>
                <p:cNvPr id="560" name="矩形 559">
                  <a:extLst>
                    <a:ext uri="{FF2B5EF4-FFF2-40B4-BE49-F238E27FC236}">
                      <a16:creationId xmlns="" xmlns:a14="http://schemas.microsoft.com/office/drawing/2010/main" xmlns:p14="http://schemas.microsoft.com/office/powerpoint/2010/main" xmlns:a16="http://schemas.microsoft.com/office/drawing/2014/main" id="{9F60DA02-9D3A-4347-B32F-5B3D00206CA0}"/>
                    </a:ext>
                  </a:extLst>
                </p:cNvPr>
                <p:cNvSpPr/>
                <p:nvPr/>
              </p:nvSpPr>
              <p:spPr>
                <a:xfrm>
                  <a:off x="1503123" y="3124751"/>
                  <a:ext cx="339047"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sp>
            <p:nvSpPr>
              <p:cNvPr id="548" name="Freeform 499">
                <a:extLst>
                  <a:ext uri="{FF2B5EF4-FFF2-40B4-BE49-F238E27FC236}">
                    <a16:creationId xmlns="" xmlns:a14="http://schemas.microsoft.com/office/drawing/2010/main" xmlns:p14="http://schemas.microsoft.com/office/powerpoint/2010/main" xmlns:a16="http://schemas.microsoft.com/office/drawing/2014/main" id="{03A46AFF-3D3B-40E9-A60F-688EDD456656}"/>
                  </a:ext>
                </a:extLst>
              </p:cNvPr>
              <p:cNvSpPr>
                <a:spLocks noChangeArrowheads="1"/>
              </p:cNvSpPr>
              <p:nvPr/>
            </p:nvSpPr>
            <p:spPr bwMode="auto">
              <a:xfrm>
                <a:off x="9107228" y="3101934"/>
                <a:ext cx="289295" cy="262601"/>
              </a:xfrm>
              <a:custGeom>
                <a:avLst/>
                <a:gdLst>
                  <a:gd name="T0" fmla="*/ 12091 w 12800"/>
                  <a:gd name="T1" fmla="*/ 0 h 11619"/>
                  <a:gd name="T2" fmla="*/ 709 w 12800"/>
                  <a:gd name="T3" fmla="*/ 0 h 11619"/>
                  <a:gd name="T4" fmla="*/ 0 w 12800"/>
                  <a:gd name="T5" fmla="*/ 708 h 11619"/>
                  <a:gd name="T6" fmla="*/ 0 w 12800"/>
                  <a:gd name="T7" fmla="*/ 8504 h 11619"/>
                  <a:gd name="T8" fmla="*/ 709 w 12800"/>
                  <a:gd name="T9" fmla="*/ 9212 h 11619"/>
                  <a:gd name="T10" fmla="*/ 3860 w 12800"/>
                  <a:gd name="T11" fmla="*/ 9212 h 11619"/>
                  <a:gd name="T12" fmla="*/ 3860 w 12800"/>
                  <a:gd name="T13" fmla="*/ 10556 h 11619"/>
                  <a:gd name="T14" fmla="*/ 2131 w 12800"/>
                  <a:gd name="T15" fmla="*/ 10556 h 11619"/>
                  <a:gd name="T16" fmla="*/ 1600 w 12800"/>
                  <a:gd name="T17" fmla="*/ 11087 h 11619"/>
                  <a:gd name="T18" fmla="*/ 2131 w 12800"/>
                  <a:gd name="T19" fmla="*/ 11619 h 11619"/>
                  <a:gd name="T20" fmla="*/ 10669 w 12800"/>
                  <a:gd name="T21" fmla="*/ 11619 h 11619"/>
                  <a:gd name="T22" fmla="*/ 11200 w 12800"/>
                  <a:gd name="T23" fmla="*/ 11087 h 11619"/>
                  <a:gd name="T24" fmla="*/ 10669 w 12800"/>
                  <a:gd name="T25" fmla="*/ 10556 h 11619"/>
                  <a:gd name="T26" fmla="*/ 8941 w 12800"/>
                  <a:gd name="T27" fmla="*/ 10556 h 11619"/>
                  <a:gd name="T28" fmla="*/ 8941 w 12800"/>
                  <a:gd name="T29" fmla="*/ 9212 h 11619"/>
                  <a:gd name="T30" fmla="*/ 12091 w 12800"/>
                  <a:gd name="T31" fmla="*/ 9212 h 11619"/>
                  <a:gd name="T32" fmla="*/ 12800 w 12800"/>
                  <a:gd name="T33" fmla="*/ 8504 h 11619"/>
                  <a:gd name="T34" fmla="*/ 12800 w 12800"/>
                  <a:gd name="T35" fmla="*/ 708 h 11619"/>
                  <a:gd name="T36" fmla="*/ 12091 w 12800"/>
                  <a:gd name="T37" fmla="*/ 0 h 11619"/>
                  <a:gd name="T38" fmla="*/ 12050 w 12800"/>
                  <a:gd name="T39" fmla="*/ 8462 h 11619"/>
                  <a:gd name="T40" fmla="*/ 750 w 12800"/>
                  <a:gd name="T41" fmla="*/ 8462 h 11619"/>
                  <a:gd name="T42" fmla="*/ 750 w 12800"/>
                  <a:gd name="T43" fmla="*/ 750 h 11619"/>
                  <a:gd name="T44" fmla="*/ 12050 w 12800"/>
                  <a:gd name="T45" fmla="*/ 750 h 11619"/>
                  <a:gd name="T46" fmla="*/ 12050 w 12800"/>
                  <a:gd name="T47" fmla="*/ 8462 h 11619"/>
                  <a:gd name="T48" fmla="*/ 1971 w 12800"/>
                  <a:gd name="T49" fmla="*/ 1948 h 11619"/>
                  <a:gd name="T50" fmla="*/ 10829 w 12800"/>
                  <a:gd name="T51" fmla="*/ 1948 h 11619"/>
                  <a:gd name="T52" fmla="*/ 10829 w 12800"/>
                  <a:gd name="T53" fmla="*/ 7263 h 11619"/>
                  <a:gd name="T54" fmla="*/ 1971 w 12800"/>
                  <a:gd name="T55" fmla="*/ 7263 h 11619"/>
                  <a:gd name="T56" fmla="*/ 1971 w 12800"/>
                  <a:gd name="T57" fmla="*/ 1948 h 11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800" h="11619">
                    <a:moveTo>
                      <a:pt x="12091" y="0"/>
                    </a:moveTo>
                    <a:lnTo>
                      <a:pt x="709" y="0"/>
                    </a:lnTo>
                    <a:cubicBezTo>
                      <a:pt x="317" y="0"/>
                      <a:pt x="0" y="317"/>
                      <a:pt x="0" y="708"/>
                    </a:cubicBezTo>
                    <a:lnTo>
                      <a:pt x="0" y="8504"/>
                    </a:lnTo>
                    <a:cubicBezTo>
                      <a:pt x="0" y="8895"/>
                      <a:pt x="317" y="9212"/>
                      <a:pt x="709" y="9212"/>
                    </a:cubicBezTo>
                    <a:lnTo>
                      <a:pt x="3860" y="9212"/>
                    </a:lnTo>
                    <a:lnTo>
                      <a:pt x="3860" y="10556"/>
                    </a:lnTo>
                    <a:lnTo>
                      <a:pt x="2131" y="10556"/>
                    </a:lnTo>
                    <a:cubicBezTo>
                      <a:pt x="1838" y="10556"/>
                      <a:pt x="1600" y="10794"/>
                      <a:pt x="1600" y="11087"/>
                    </a:cubicBezTo>
                    <a:cubicBezTo>
                      <a:pt x="1600" y="11381"/>
                      <a:pt x="1838" y="11619"/>
                      <a:pt x="2131" y="11619"/>
                    </a:cubicBezTo>
                    <a:lnTo>
                      <a:pt x="10669" y="11619"/>
                    </a:lnTo>
                    <a:cubicBezTo>
                      <a:pt x="10962" y="11619"/>
                      <a:pt x="11200" y="11381"/>
                      <a:pt x="11200" y="11087"/>
                    </a:cubicBezTo>
                    <a:cubicBezTo>
                      <a:pt x="11200" y="10794"/>
                      <a:pt x="10962" y="10556"/>
                      <a:pt x="10669" y="10556"/>
                    </a:cubicBezTo>
                    <a:lnTo>
                      <a:pt x="8941" y="10556"/>
                    </a:lnTo>
                    <a:lnTo>
                      <a:pt x="8941" y="9212"/>
                    </a:lnTo>
                    <a:lnTo>
                      <a:pt x="12091" y="9212"/>
                    </a:lnTo>
                    <a:cubicBezTo>
                      <a:pt x="12483" y="9212"/>
                      <a:pt x="12800" y="8895"/>
                      <a:pt x="12800" y="8504"/>
                    </a:cubicBezTo>
                    <a:lnTo>
                      <a:pt x="12800" y="708"/>
                    </a:lnTo>
                    <a:cubicBezTo>
                      <a:pt x="12800" y="317"/>
                      <a:pt x="12483" y="0"/>
                      <a:pt x="12091" y="0"/>
                    </a:cubicBezTo>
                    <a:close/>
                    <a:moveTo>
                      <a:pt x="12050" y="8462"/>
                    </a:moveTo>
                    <a:lnTo>
                      <a:pt x="750" y="8462"/>
                    </a:lnTo>
                    <a:lnTo>
                      <a:pt x="750" y="750"/>
                    </a:lnTo>
                    <a:lnTo>
                      <a:pt x="12050" y="750"/>
                    </a:lnTo>
                    <a:lnTo>
                      <a:pt x="12050" y="8462"/>
                    </a:lnTo>
                    <a:close/>
                    <a:moveTo>
                      <a:pt x="1971" y="1948"/>
                    </a:moveTo>
                    <a:lnTo>
                      <a:pt x="10829" y="1948"/>
                    </a:lnTo>
                    <a:lnTo>
                      <a:pt x="10829" y="7263"/>
                    </a:lnTo>
                    <a:lnTo>
                      <a:pt x="1971" y="7263"/>
                    </a:lnTo>
                    <a:lnTo>
                      <a:pt x="1971" y="1948"/>
                    </a:lnTo>
                    <a:close/>
                  </a:path>
                </a:pathLst>
              </a:custGeom>
              <a:solidFill>
                <a:srgbClr val="4E4658"/>
              </a:solidFill>
              <a:ln>
                <a:noFill/>
              </a:ln>
            </p:spPr>
            <p:txBody>
              <a:bodyPr vert="horz" wrap="square" lIns="91440" tIns="45720" rIns="91440" bIns="45720" numCol="1" anchor="t" anchorCtr="0" compatLnSpc="1">
                <a:prstTxWarp prst="textNoShape">
                  <a:avLst/>
                </a:prstTxWarp>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grpSp>
      </p:grpSp>
      <p:grpSp>
        <p:nvGrpSpPr>
          <p:cNvPr id="25" name="组合 24">
            <a:extLst>
              <a:ext uri="{FF2B5EF4-FFF2-40B4-BE49-F238E27FC236}">
                <a16:creationId xmlns="" xmlns:a14="http://schemas.microsoft.com/office/drawing/2010/main" xmlns:p14="http://schemas.microsoft.com/office/powerpoint/2010/main" xmlns:a16="http://schemas.microsoft.com/office/drawing/2014/main" id="{F00C8B15-A1F2-4819-87A0-43B4EE2A1E5B}"/>
              </a:ext>
            </a:extLst>
          </p:cNvPr>
          <p:cNvGrpSpPr/>
          <p:nvPr/>
        </p:nvGrpSpPr>
        <p:grpSpPr>
          <a:xfrm>
            <a:off x="4588452" y="1963867"/>
            <a:ext cx="3002400" cy="3002400"/>
            <a:chOff x="4595239" y="1963866"/>
            <a:chExt cx="3002400" cy="3002400"/>
          </a:xfrm>
        </p:grpSpPr>
        <p:sp>
          <p:nvSpPr>
            <p:cNvPr id="302" name="矩形 301">
              <a:extLst>
                <a:ext uri="{FF2B5EF4-FFF2-40B4-BE49-F238E27FC236}">
                  <a16:creationId xmlns="" xmlns:a14="http://schemas.microsoft.com/office/drawing/2010/main" xmlns:p14="http://schemas.microsoft.com/office/powerpoint/2010/main" xmlns:a16="http://schemas.microsoft.com/office/drawing/2014/main" id="{EB95F60D-A0A5-4CA6-84FF-3A5E2CC59F42}"/>
                </a:ext>
              </a:extLst>
            </p:cNvPr>
            <p:cNvSpPr/>
            <p:nvPr/>
          </p:nvSpPr>
          <p:spPr>
            <a:xfrm>
              <a:off x="4595239" y="1963866"/>
              <a:ext cx="3002400" cy="3002400"/>
            </a:xfrm>
            <a:prstGeom prst="rect">
              <a:avLst/>
            </a:prstGeom>
            <a:gradFill>
              <a:gsLst>
                <a:gs pos="80000">
                  <a:schemeClr val="bg1"/>
                </a:gs>
                <a:gs pos="100000">
                  <a:schemeClr val="bg1">
                    <a:alpha val="0"/>
                  </a:schemeClr>
                </a:gs>
              </a:gsLst>
              <a:lin ang="5400000" scaled="1"/>
            </a:gradFill>
            <a:ln w="9525">
              <a:noFill/>
            </a:ln>
            <a:effectLst>
              <a:outerShdw blurRad="63500" sx="102000" sy="102000" algn="ctr" rotWithShape="0">
                <a:srgbClr val="E7E5EA">
                  <a:alpha val="5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335" name="组合 334">
              <a:extLst>
                <a:ext uri="{FF2B5EF4-FFF2-40B4-BE49-F238E27FC236}">
                  <a16:creationId xmlns="" xmlns:a14="http://schemas.microsoft.com/office/drawing/2010/main" xmlns:p14="http://schemas.microsoft.com/office/powerpoint/2010/main" xmlns:a16="http://schemas.microsoft.com/office/drawing/2014/main" id="{CEBCA69B-D1BD-4ED3-8A2A-EB25AD703A2E}"/>
                </a:ext>
              </a:extLst>
            </p:cNvPr>
            <p:cNvGrpSpPr/>
            <p:nvPr/>
          </p:nvGrpSpPr>
          <p:grpSpPr>
            <a:xfrm>
              <a:off x="4715293" y="2404041"/>
              <a:ext cx="1638861" cy="160073"/>
              <a:chOff x="4248155" y="2141651"/>
              <a:chExt cx="1474301" cy="144000"/>
            </a:xfrm>
            <a:solidFill>
              <a:srgbClr val="E7E5EA"/>
            </a:solidFill>
          </p:grpSpPr>
          <p:sp>
            <p:nvSpPr>
              <p:cNvPr id="489" name="矩形 488">
                <a:extLst>
                  <a:ext uri="{FF2B5EF4-FFF2-40B4-BE49-F238E27FC236}">
                    <a16:creationId xmlns="" xmlns:a14="http://schemas.microsoft.com/office/drawing/2010/main" xmlns:p14="http://schemas.microsoft.com/office/powerpoint/2010/main" xmlns:a16="http://schemas.microsoft.com/office/drawing/2014/main" id="{0F78271F-C2BF-49C2-BC46-681981BE5043}"/>
                  </a:ext>
                </a:extLst>
              </p:cNvPr>
              <p:cNvSpPr>
                <a:spLocks/>
              </p:cNvSpPr>
              <p:nvPr/>
            </p:nvSpPr>
            <p:spPr>
              <a:xfrm>
                <a:off x="424815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90" name="矩形 489">
                <a:extLst>
                  <a:ext uri="{FF2B5EF4-FFF2-40B4-BE49-F238E27FC236}">
                    <a16:creationId xmlns="" xmlns:a14="http://schemas.microsoft.com/office/drawing/2010/main" xmlns:p14="http://schemas.microsoft.com/office/powerpoint/2010/main" xmlns:a16="http://schemas.microsoft.com/office/drawing/2014/main" id="{A3015197-78E9-42A1-B8A4-70DAA4C54124}"/>
                  </a:ext>
                </a:extLst>
              </p:cNvPr>
              <p:cNvSpPr>
                <a:spLocks/>
              </p:cNvSpPr>
              <p:nvPr/>
            </p:nvSpPr>
            <p:spPr>
              <a:xfrm>
                <a:off x="464824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91" name="矩形 490">
                <a:extLst>
                  <a:ext uri="{FF2B5EF4-FFF2-40B4-BE49-F238E27FC236}">
                    <a16:creationId xmlns="" xmlns:a14="http://schemas.microsoft.com/office/drawing/2010/main" xmlns:p14="http://schemas.microsoft.com/office/powerpoint/2010/main" xmlns:a16="http://schemas.microsoft.com/office/drawing/2014/main" id="{BBC16AC2-873F-45AE-B3C1-DA18A14F30AD}"/>
                  </a:ext>
                </a:extLst>
              </p:cNvPr>
              <p:cNvSpPr>
                <a:spLocks/>
              </p:cNvSpPr>
              <p:nvPr/>
            </p:nvSpPr>
            <p:spPr>
              <a:xfrm>
                <a:off x="504424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sp>
            <p:nvSpPr>
              <p:cNvPr id="495" name="矩形 494">
                <a:extLst>
                  <a:ext uri="{FF2B5EF4-FFF2-40B4-BE49-F238E27FC236}">
                    <a16:creationId xmlns="" xmlns:a14="http://schemas.microsoft.com/office/drawing/2010/main" xmlns:p14="http://schemas.microsoft.com/office/powerpoint/2010/main" xmlns:a16="http://schemas.microsoft.com/office/drawing/2014/main" id="{9C5D8EE9-3878-48C8-9E66-C90EC64D4EC8}"/>
                  </a:ext>
                </a:extLst>
              </p:cNvPr>
              <p:cNvSpPr>
                <a:spLocks/>
              </p:cNvSpPr>
              <p:nvPr/>
            </p:nvSpPr>
            <p:spPr>
              <a:xfrm>
                <a:off x="5434456"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grpSp>
        <p:grpSp>
          <p:nvGrpSpPr>
            <p:cNvPr id="336" name="组合 335">
              <a:extLst>
                <a:ext uri="{FF2B5EF4-FFF2-40B4-BE49-F238E27FC236}">
                  <a16:creationId xmlns="" xmlns:a14="http://schemas.microsoft.com/office/drawing/2010/main" xmlns:p14="http://schemas.microsoft.com/office/powerpoint/2010/main" xmlns:a16="http://schemas.microsoft.com/office/drawing/2014/main" id="{9E841455-3E39-47E0-89F1-4A6589854638}"/>
                </a:ext>
              </a:extLst>
            </p:cNvPr>
            <p:cNvGrpSpPr/>
            <p:nvPr/>
          </p:nvGrpSpPr>
          <p:grpSpPr>
            <a:xfrm>
              <a:off x="6715511" y="2404041"/>
              <a:ext cx="761195" cy="160073"/>
              <a:chOff x="6047529" y="2141651"/>
              <a:chExt cx="684762" cy="144000"/>
            </a:xfrm>
            <a:solidFill>
              <a:srgbClr val="E7E5EA"/>
            </a:solidFill>
          </p:grpSpPr>
          <p:sp>
            <p:nvSpPr>
              <p:cNvPr id="487" name="矩形 486">
                <a:extLst>
                  <a:ext uri="{FF2B5EF4-FFF2-40B4-BE49-F238E27FC236}">
                    <a16:creationId xmlns="" xmlns:a14="http://schemas.microsoft.com/office/drawing/2010/main" xmlns:p14="http://schemas.microsoft.com/office/powerpoint/2010/main" xmlns:a16="http://schemas.microsoft.com/office/drawing/2014/main" id="{AAE592BD-4F78-41C6-A563-482A2416386F}"/>
                  </a:ext>
                </a:extLst>
              </p:cNvPr>
              <p:cNvSpPr>
                <a:spLocks/>
              </p:cNvSpPr>
              <p:nvPr/>
            </p:nvSpPr>
            <p:spPr>
              <a:xfrm>
                <a:off x="6047529"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88" name="矩形 487">
                <a:extLst>
                  <a:ext uri="{FF2B5EF4-FFF2-40B4-BE49-F238E27FC236}">
                    <a16:creationId xmlns="" xmlns:a14="http://schemas.microsoft.com/office/drawing/2010/main" xmlns:p14="http://schemas.microsoft.com/office/powerpoint/2010/main" xmlns:a16="http://schemas.microsoft.com/office/drawing/2014/main" id="{42C3DBA0-3D8A-43C4-BDE9-15381F8C0043}"/>
                  </a:ext>
                </a:extLst>
              </p:cNvPr>
              <p:cNvSpPr>
                <a:spLocks/>
              </p:cNvSpPr>
              <p:nvPr/>
            </p:nvSpPr>
            <p:spPr>
              <a:xfrm>
                <a:off x="6444291"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9" name="组合 8">
              <a:extLst>
                <a:ext uri="{FF2B5EF4-FFF2-40B4-BE49-F238E27FC236}">
                  <a16:creationId xmlns="" xmlns:a14="http://schemas.microsoft.com/office/drawing/2010/main" xmlns:p14="http://schemas.microsoft.com/office/powerpoint/2010/main" xmlns:a16="http://schemas.microsoft.com/office/drawing/2014/main" id="{5F280EC2-D63E-48C8-8C25-014D5494D2B0}"/>
                </a:ext>
              </a:extLst>
            </p:cNvPr>
            <p:cNvGrpSpPr/>
            <p:nvPr/>
          </p:nvGrpSpPr>
          <p:grpSpPr>
            <a:xfrm>
              <a:off x="4716352" y="2686508"/>
              <a:ext cx="2759294" cy="600274"/>
              <a:chOff x="8108849" y="2664061"/>
              <a:chExt cx="2482230" cy="540000"/>
            </a:xfrm>
          </p:grpSpPr>
          <p:sp>
            <p:nvSpPr>
              <p:cNvPr id="498" name="矩形: 圆角 497">
                <a:extLst>
                  <a:ext uri="{FF2B5EF4-FFF2-40B4-BE49-F238E27FC236}">
                    <a16:creationId xmlns="" xmlns:a14="http://schemas.microsoft.com/office/drawing/2010/main" xmlns:p14="http://schemas.microsoft.com/office/powerpoint/2010/main" xmlns:a16="http://schemas.microsoft.com/office/drawing/2014/main" id="{F6744093-6E81-4E08-A533-C23A9AB95163}"/>
                  </a:ext>
                </a:extLst>
              </p:cNvPr>
              <p:cNvSpPr>
                <a:spLocks/>
              </p:cNvSpPr>
              <p:nvPr/>
            </p:nvSpPr>
            <p:spPr>
              <a:xfrm>
                <a:off x="8108849" y="2664061"/>
                <a:ext cx="540000" cy="540000"/>
              </a:xfrm>
              <a:prstGeom prst="roundRect">
                <a:avLst>
                  <a:gd name="adj" fmla="val 4859"/>
                </a:avLst>
              </a:prstGeom>
              <a:solidFill>
                <a:srgbClr val="E7E5EA"/>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01" name="矩形: 圆角 500">
                <a:extLst>
                  <a:ext uri="{FF2B5EF4-FFF2-40B4-BE49-F238E27FC236}">
                    <a16:creationId xmlns="" xmlns:a14="http://schemas.microsoft.com/office/drawing/2010/main" xmlns:p14="http://schemas.microsoft.com/office/powerpoint/2010/main" xmlns:a16="http://schemas.microsoft.com/office/drawing/2014/main" id="{5FE105D6-B3C4-4015-BA24-A34EFCD47E42}"/>
                  </a:ext>
                </a:extLst>
              </p:cNvPr>
              <p:cNvSpPr>
                <a:spLocks/>
              </p:cNvSpPr>
              <p:nvPr/>
            </p:nvSpPr>
            <p:spPr>
              <a:xfrm>
                <a:off x="8756259" y="2664061"/>
                <a:ext cx="540000" cy="540000"/>
              </a:xfrm>
              <a:prstGeom prst="roundRect">
                <a:avLst>
                  <a:gd name="adj" fmla="val 4859"/>
                </a:avLst>
              </a:prstGeom>
              <a:solidFill>
                <a:srgbClr val="E7E5EA"/>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03" name="矩形: 圆角 502">
                <a:extLst>
                  <a:ext uri="{FF2B5EF4-FFF2-40B4-BE49-F238E27FC236}">
                    <a16:creationId xmlns="" xmlns:a14="http://schemas.microsoft.com/office/drawing/2010/main" xmlns:p14="http://schemas.microsoft.com/office/powerpoint/2010/main" xmlns:a16="http://schemas.microsoft.com/office/drawing/2014/main" id="{99C184F9-1611-4668-92FF-32794F7F049F}"/>
                  </a:ext>
                </a:extLst>
              </p:cNvPr>
              <p:cNvSpPr>
                <a:spLocks/>
              </p:cNvSpPr>
              <p:nvPr/>
            </p:nvSpPr>
            <p:spPr>
              <a:xfrm>
                <a:off x="9403669" y="2664061"/>
                <a:ext cx="540000" cy="540000"/>
              </a:xfrm>
              <a:prstGeom prst="roundRect">
                <a:avLst>
                  <a:gd name="adj" fmla="val 4859"/>
                </a:avLst>
              </a:prstGeom>
              <a:solidFill>
                <a:srgbClr val="E7E5EA"/>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05" name="矩形: 圆角 504">
                <a:extLst>
                  <a:ext uri="{FF2B5EF4-FFF2-40B4-BE49-F238E27FC236}">
                    <a16:creationId xmlns="" xmlns:a14="http://schemas.microsoft.com/office/drawing/2010/main" xmlns:p14="http://schemas.microsoft.com/office/powerpoint/2010/main" xmlns:a16="http://schemas.microsoft.com/office/drawing/2014/main" id="{4E270696-E047-47AA-A380-F3CB89176B8B}"/>
                  </a:ext>
                </a:extLst>
              </p:cNvPr>
              <p:cNvSpPr>
                <a:spLocks/>
              </p:cNvSpPr>
              <p:nvPr/>
            </p:nvSpPr>
            <p:spPr>
              <a:xfrm>
                <a:off x="10051079" y="2664061"/>
                <a:ext cx="540000" cy="540000"/>
              </a:xfrm>
              <a:prstGeom prst="roundRect">
                <a:avLst>
                  <a:gd name="adj" fmla="val 4859"/>
                </a:avLst>
              </a:prstGeom>
              <a:solidFill>
                <a:srgbClr val="E7E5EA"/>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sp>
          <p:nvSpPr>
            <p:cNvPr id="515" name="矩形: 圆角 514">
              <a:extLst>
                <a:ext uri="{FF2B5EF4-FFF2-40B4-BE49-F238E27FC236}">
                  <a16:creationId xmlns="" xmlns:a14="http://schemas.microsoft.com/office/drawing/2010/main" xmlns:p14="http://schemas.microsoft.com/office/powerpoint/2010/main" xmlns:a16="http://schemas.microsoft.com/office/drawing/2014/main" id="{C56E3699-2F3A-44D6-B8BE-97A13678B45D}"/>
                </a:ext>
              </a:extLst>
            </p:cNvPr>
            <p:cNvSpPr>
              <a:spLocks/>
            </p:cNvSpPr>
            <p:nvPr/>
          </p:nvSpPr>
          <p:spPr>
            <a:xfrm>
              <a:off x="5436026" y="3410069"/>
              <a:ext cx="600274" cy="600274"/>
            </a:xfrm>
            <a:prstGeom prst="roundRect">
              <a:avLst>
                <a:gd name="adj" fmla="val 4859"/>
              </a:avLst>
            </a:prstGeom>
            <a:solidFill>
              <a:srgbClr val="E7E5EA"/>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11" name="组合 10">
              <a:extLst>
                <a:ext uri="{FF2B5EF4-FFF2-40B4-BE49-F238E27FC236}">
                  <a16:creationId xmlns="" xmlns:a14="http://schemas.microsoft.com/office/drawing/2010/main" xmlns:p14="http://schemas.microsoft.com/office/powerpoint/2010/main" xmlns:a16="http://schemas.microsoft.com/office/drawing/2014/main" id="{3A15B1F4-4BA4-461C-A8D5-CD76FF3AD5C8}"/>
                </a:ext>
              </a:extLst>
            </p:cNvPr>
            <p:cNvGrpSpPr/>
            <p:nvPr/>
          </p:nvGrpSpPr>
          <p:grpSpPr>
            <a:xfrm>
              <a:off x="4716352" y="3410069"/>
              <a:ext cx="2759294" cy="600274"/>
              <a:chOff x="8110911" y="3314969"/>
              <a:chExt cx="2482230" cy="540000"/>
            </a:xfrm>
          </p:grpSpPr>
          <p:sp>
            <p:nvSpPr>
              <p:cNvPr id="514" name="矩形: 圆角 513">
                <a:extLst>
                  <a:ext uri="{FF2B5EF4-FFF2-40B4-BE49-F238E27FC236}">
                    <a16:creationId xmlns="" xmlns:a14="http://schemas.microsoft.com/office/drawing/2010/main" xmlns:p14="http://schemas.microsoft.com/office/powerpoint/2010/main" xmlns:a16="http://schemas.microsoft.com/office/drawing/2014/main" id="{9CE95D13-982B-4745-85DC-7E460C919084}"/>
                  </a:ext>
                </a:extLst>
              </p:cNvPr>
              <p:cNvSpPr>
                <a:spLocks/>
              </p:cNvSpPr>
              <p:nvPr/>
            </p:nvSpPr>
            <p:spPr>
              <a:xfrm>
                <a:off x="8110911" y="3314969"/>
                <a:ext cx="540000" cy="540000"/>
              </a:xfrm>
              <a:prstGeom prst="roundRect">
                <a:avLst>
                  <a:gd name="adj" fmla="val 4859"/>
                </a:avLst>
              </a:prstGeom>
              <a:solidFill>
                <a:srgbClr val="E7E5EA"/>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16" name="矩形: 圆角 515">
                <a:extLst>
                  <a:ext uri="{FF2B5EF4-FFF2-40B4-BE49-F238E27FC236}">
                    <a16:creationId xmlns="" xmlns:a14="http://schemas.microsoft.com/office/drawing/2010/main" xmlns:p14="http://schemas.microsoft.com/office/powerpoint/2010/main" xmlns:a16="http://schemas.microsoft.com/office/drawing/2014/main" id="{259A12CD-C5CF-4D63-8386-3679C4CE4E09}"/>
                  </a:ext>
                </a:extLst>
              </p:cNvPr>
              <p:cNvSpPr>
                <a:spLocks/>
              </p:cNvSpPr>
              <p:nvPr/>
            </p:nvSpPr>
            <p:spPr>
              <a:xfrm>
                <a:off x="9405731" y="3314969"/>
                <a:ext cx="540000" cy="540000"/>
              </a:xfrm>
              <a:prstGeom prst="roundRect">
                <a:avLst>
                  <a:gd name="adj" fmla="val 4859"/>
                </a:avLst>
              </a:prstGeom>
              <a:solidFill>
                <a:srgbClr val="E7E5EA"/>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17" name="矩形: 圆角 516">
                <a:extLst>
                  <a:ext uri="{FF2B5EF4-FFF2-40B4-BE49-F238E27FC236}">
                    <a16:creationId xmlns="" xmlns:a14="http://schemas.microsoft.com/office/drawing/2010/main" xmlns:p14="http://schemas.microsoft.com/office/powerpoint/2010/main" xmlns:a16="http://schemas.microsoft.com/office/drawing/2014/main" id="{E3CEFF48-7A05-4510-9E38-C0DD3087D172}"/>
                  </a:ext>
                </a:extLst>
              </p:cNvPr>
              <p:cNvSpPr>
                <a:spLocks/>
              </p:cNvSpPr>
              <p:nvPr/>
            </p:nvSpPr>
            <p:spPr>
              <a:xfrm>
                <a:off x="10053141" y="3314969"/>
                <a:ext cx="540000" cy="540000"/>
              </a:xfrm>
              <a:prstGeom prst="roundRect">
                <a:avLst>
                  <a:gd name="adj" fmla="val 4859"/>
                </a:avLst>
              </a:prstGeom>
              <a:solidFill>
                <a:srgbClr val="E7E5EA"/>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519" name="组合 518">
              <a:extLst>
                <a:ext uri="{FF2B5EF4-FFF2-40B4-BE49-F238E27FC236}">
                  <a16:creationId xmlns="" xmlns:a14="http://schemas.microsoft.com/office/drawing/2010/main" xmlns:p14="http://schemas.microsoft.com/office/powerpoint/2010/main" xmlns:a16="http://schemas.microsoft.com/office/drawing/2014/main" id="{E6822575-5437-42EF-9B6D-EB30AA1590CB}"/>
                </a:ext>
              </a:extLst>
            </p:cNvPr>
            <p:cNvGrpSpPr/>
            <p:nvPr/>
          </p:nvGrpSpPr>
          <p:grpSpPr>
            <a:xfrm>
              <a:off x="4716352" y="4133631"/>
              <a:ext cx="2759294" cy="600274"/>
              <a:chOff x="8108849" y="2664061"/>
              <a:chExt cx="2482230" cy="540000"/>
            </a:xfrm>
          </p:grpSpPr>
          <p:sp>
            <p:nvSpPr>
              <p:cNvPr id="520" name="矩形: 圆角 519">
                <a:extLst>
                  <a:ext uri="{FF2B5EF4-FFF2-40B4-BE49-F238E27FC236}">
                    <a16:creationId xmlns="" xmlns:a14="http://schemas.microsoft.com/office/drawing/2010/main" xmlns:p14="http://schemas.microsoft.com/office/powerpoint/2010/main" xmlns:a16="http://schemas.microsoft.com/office/drawing/2014/main" id="{190BA26F-3036-445E-9766-8D3B18851FD3}"/>
                  </a:ext>
                </a:extLst>
              </p:cNvPr>
              <p:cNvSpPr>
                <a:spLocks/>
              </p:cNvSpPr>
              <p:nvPr/>
            </p:nvSpPr>
            <p:spPr>
              <a:xfrm>
                <a:off x="8108849" y="2664061"/>
                <a:ext cx="540000" cy="540000"/>
              </a:xfrm>
              <a:prstGeom prst="roundRect">
                <a:avLst>
                  <a:gd name="adj" fmla="val 4859"/>
                </a:avLst>
              </a:prstGeom>
              <a:gradFill flip="none" rotWithShape="1">
                <a:gsLst>
                  <a:gs pos="27000">
                    <a:srgbClr val="E7E5EA">
                      <a:alpha val="0"/>
                    </a:srgbClr>
                  </a:gs>
                  <a:gs pos="100000">
                    <a:srgbClr val="E7E5EA">
                      <a:alpha val="8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21" name="矩形: 圆角 520">
                <a:extLst>
                  <a:ext uri="{FF2B5EF4-FFF2-40B4-BE49-F238E27FC236}">
                    <a16:creationId xmlns="" xmlns:a14="http://schemas.microsoft.com/office/drawing/2010/main" xmlns:p14="http://schemas.microsoft.com/office/powerpoint/2010/main" xmlns:a16="http://schemas.microsoft.com/office/drawing/2014/main" id="{160EA5D8-C35C-4AF4-A9AE-3DB758D2709C}"/>
                  </a:ext>
                </a:extLst>
              </p:cNvPr>
              <p:cNvSpPr>
                <a:spLocks/>
              </p:cNvSpPr>
              <p:nvPr/>
            </p:nvSpPr>
            <p:spPr>
              <a:xfrm>
                <a:off x="8756259" y="2664061"/>
                <a:ext cx="540000" cy="540000"/>
              </a:xfrm>
              <a:prstGeom prst="roundRect">
                <a:avLst>
                  <a:gd name="adj" fmla="val 4859"/>
                </a:avLst>
              </a:prstGeom>
              <a:gradFill flip="none" rotWithShape="1">
                <a:gsLst>
                  <a:gs pos="27000">
                    <a:srgbClr val="E7E5EA">
                      <a:alpha val="0"/>
                    </a:srgbClr>
                  </a:gs>
                  <a:gs pos="100000">
                    <a:srgbClr val="E7E5EA">
                      <a:alpha val="8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22" name="矩形: 圆角 521">
                <a:extLst>
                  <a:ext uri="{FF2B5EF4-FFF2-40B4-BE49-F238E27FC236}">
                    <a16:creationId xmlns="" xmlns:a14="http://schemas.microsoft.com/office/drawing/2010/main" xmlns:p14="http://schemas.microsoft.com/office/powerpoint/2010/main" xmlns:a16="http://schemas.microsoft.com/office/drawing/2014/main" id="{8E01D07F-3FCF-4EDC-9641-8C34EA5A37CE}"/>
                  </a:ext>
                </a:extLst>
              </p:cNvPr>
              <p:cNvSpPr>
                <a:spLocks/>
              </p:cNvSpPr>
              <p:nvPr/>
            </p:nvSpPr>
            <p:spPr>
              <a:xfrm>
                <a:off x="9403669" y="2664061"/>
                <a:ext cx="540000" cy="540000"/>
              </a:xfrm>
              <a:prstGeom prst="roundRect">
                <a:avLst>
                  <a:gd name="adj" fmla="val 4859"/>
                </a:avLst>
              </a:prstGeom>
              <a:gradFill flip="none" rotWithShape="1">
                <a:gsLst>
                  <a:gs pos="27000">
                    <a:srgbClr val="E7E5EA">
                      <a:alpha val="0"/>
                    </a:srgbClr>
                  </a:gs>
                  <a:gs pos="100000">
                    <a:srgbClr val="E7E5EA">
                      <a:alpha val="8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23" name="矩形: 圆角 522">
                <a:extLst>
                  <a:ext uri="{FF2B5EF4-FFF2-40B4-BE49-F238E27FC236}">
                    <a16:creationId xmlns="" xmlns:a14="http://schemas.microsoft.com/office/drawing/2010/main" xmlns:p14="http://schemas.microsoft.com/office/powerpoint/2010/main" xmlns:a16="http://schemas.microsoft.com/office/drawing/2014/main" id="{4A31D2B2-0783-43E9-9854-EC8CBE4DD058}"/>
                  </a:ext>
                </a:extLst>
              </p:cNvPr>
              <p:cNvSpPr>
                <a:spLocks/>
              </p:cNvSpPr>
              <p:nvPr/>
            </p:nvSpPr>
            <p:spPr>
              <a:xfrm>
                <a:off x="10051079" y="2664061"/>
                <a:ext cx="540000" cy="540000"/>
              </a:xfrm>
              <a:prstGeom prst="roundRect">
                <a:avLst>
                  <a:gd name="adj" fmla="val 4859"/>
                </a:avLst>
              </a:prstGeom>
              <a:gradFill flip="none" rotWithShape="1">
                <a:gsLst>
                  <a:gs pos="27000">
                    <a:srgbClr val="E7E5EA">
                      <a:alpha val="0"/>
                    </a:srgbClr>
                  </a:gs>
                  <a:gs pos="100000">
                    <a:srgbClr val="E7E5EA">
                      <a:alpha val="8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sp>
          <p:nvSpPr>
            <p:cNvPr id="635" name="Rounded Rectangle 514_1">
              <a:extLst>
                <a:ext uri="{FF2B5EF4-FFF2-40B4-BE49-F238E27FC236}">
                  <a16:creationId xmlns="" xmlns:a14="http://schemas.microsoft.com/office/drawing/2010/main" xmlns:p14="http://schemas.microsoft.com/office/powerpoint/2010/main" xmlns:a16="http://schemas.microsoft.com/office/drawing/2014/main" id="{082720E7-9CF6-446A-9968-810C366DAF86}"/>
                </a:ext>
              </a:extLst>
            </p:cNvPr>
            <p:cNvSpPr>
              <a:spLocks/>
            </p:cNvSpPr>
            <p:nvPr/>
          </p:nvSpPr>
          <p:spPr>
            <a:xfrm>
              <a:off x="5436026" y="3410069"/>
              <a:ext cx="600274" cy="600274"/>
            </a:xfrm>
            <a:prstGeom prst="roundRect">
              <a:avLst>
                <a:gd name="adj" fmla="val 4859"/>
              </a:avLst>
            </a:prstGeom>
            <a:noFill/>
            <a:ln w="19050">
              <a:solidFill>
                <a:srgbClr val="F734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25" name="Freeform 467">
              <a:extLst>
                <a:ext uri="{FF2B5EF4-FFF2-40B4-BE49-F238E27FC236}">
                  <a16:creationId xmlns="" xmlns:a14="http://schemas.microsoft.com/office/drawing/2010/main" xmlns:p14="http://schemas.microsoft.com/office/powerpoint/2010/main" xmlns:a16="http://schemas.microsoft.com/office/drawing/2014/main" id="{E34E1331-813D-4613-806D-EFFB8B68EBB7}"/>
                </a:ext>
              </a:extLst>
            </p:cNvPr>
            <p:cNvSpPr>
              <a:spLocks noChangeArrowheads="1"/>
            </p:cNvSpPr>
            <p:nvPr/>
          </p:nvSpPr>
          <p:spPr bwMode="auto">
            <a:xfrm>
              <a:off x="5591516" y="3578906"/>
              <a:ext cx="289295" cy="262601"/>
            </a:xfrm>
            <a:custGeom>
              <a:avLst/>
              <a:gdLst>
                <a:gd name="T0" fmla="*/ 12091 w 12800"/>
                <a:gd name="T1" fmla="*/ 0 h 11619"/>
                <a:gd name="T2" fmla="*/ 709 w 12800"/>
                <a:gd name="T3" fmla="*/ 0 h 11619"/>
                <a:gd name="T4" fmla="*/ 0 w 12800"/>
                <a:gd name="T5" fmla="*/ 708 h 11619"/>
                <a:gd name="T6" fmla="*/ 0 w 12800"/>
                <a:gd name="T7" fmla="*/ 8504 h 11619"/>
                <a:gd name="T8" fmla="*/ 709 w 12800"/>
                <a:gd name="T9" fmla="*/ 9212 h 11619"/>
                <a:gd name="T10" fmla="*/ 3860 w 12800"/>
                <a:gd name="T11" fmla="*/ 9212 h 11619"/>
                <a:gd name="T12" fmla="*/ 3860 w 12800"/>
                <a:gd name="T13" fmla="*/ 10556 h 11619"/>
                <a:gd name="T14" fmla="*/ 2131 w 12800"/>
                <a:gd name="T15" fmla="*/ 10556 h 11619"/>
                <a:gd name="T16" fmla="*/ 1600 w 12800"/>
                <a:gd name="T17" fmla="*/ 11087 h 11619"/>
                <a:gd name="T18" fmla="*/ 2131 w 12800"/>
                <a:gd name="T19" fmla="*/ 11619 h 11619"/>
                <a:gd name="T20" fmla="*/ 10669 w 12800"/>
                <a:gd name="T21" fmla="*/ 11619 h 11619"/>
                <a:gd name="T22" fmla="*/ 11200 w 12800"/>
                <a:gd name="T23" fmla="*/ 11087 h 11619"/>
                <a:gd name="T24" fmla="*/ 10669 w 12800"/>
                <a:gd name="T25" fmla="*/ 10556 h 11619"/>
                <a:gd name="T26" fmla="*/ 8941 w 12800"/>
                <a:gd name="T27" fmla="*/ 10556 h 11619"/>
                <a:gd name="T28" fmla="*/ 8941 w 12800"/>
                <a:gd name="T29" fmla="*/ 9212 h 11619"/>
                <a:gd name="T30" fmla="*/ 12091 w 12800"/>
                <a:gd name="T31" fmla="*/ 9212 h 11619"/>
                <a:gd name="T32" fmla="*/ 12800 w 12800"/>
                <a:gd name="T33" fmla="*/ 8504 h 11619"/>
                <a:gd name="T34" fmla="*/ 12800 w 12800"/>
                <a:gd name="T35" fmla="*/ 708 h 11619"/>
                <a:gd name="T36" fmla="*/ 12091 w 12800"/>
                <a:gd name="T37" fmla="*/ 0 h 11619"/>
                <a:gd name="T38" fmla="*/ 12050 w 12800"/>
                <a:gd name="T39" fmla="*/ 8462 h 11619"/>
                <a:gd name="T40" fmla="*/ 750 w 12800"/>
                <a:gd name="T41" fmla="*/ 8462 h 11619"/>
                <a:gd name="T42" fmla="*/ 750 w 12800"/>
                <a:gd name="T43" fmla="*/ 750 h 11619"/>
                <a:gd name="T44" fmla="*/ 12050 w 12800"/>
                <a:gd name="T45" fmla="*/ 750 h 11619"/>
                <a:gd name="T46" fmla="*/ 12050 w 12800"/>
                <a:gd name="T47" fmla="*/ 8462 h 11619"/>
                <a:gd name="T48" fmla="*/ 1971 w 12800"/>
                <a:gd name="T49" fmla="*/ 1948 h 11619"/>
                <a:gd name="T50" fmla="*/ 10829 w 12800"/>
                <a:gd name="T51" fmla="*/ 1948 h 11619"/>
                <a:gd name="T52" fmla="*/ 10829 w 12800"/>
                <a:gd name="T53" fmla="*/ 7263 h 11619"/>
                <a:gd name="T54" fmla="*/ 1971 w 12800"/>
                <a:gd name="T55" fmla="*/ 7263 h 11619"/>
                <a:gd name="T56" fmla="*/ 1971 w 12800"/>
                <a:gd name="T57" fmla="*/ 1948 h 11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800" h="11619">
                  <a:moveTo>
                    <a:pt x="12091" y="0"/>
                  </a:moveTo>
                  <a:lnTo>
                    <a:pt x="709" y="0"/>
                  </a:lnTo>
                  <a:cubicBezTo>
                    <a:pt x="317" y="0"/>
                    <a:pt x="0" y="317"/>
                    <a:pt x="0" y="708"/>
                  </a:cubicBezTo>
                  <a:lnTo>
                    <a:pt x="0" y="8504"/>
                  </a:lnTo>
                  <a:cubicBezTo>
                    <a:pt x="0" y="8895"/>
                    <a:pt x="317" y="9212"/>
                    <a:pt x="709" y="9212"/>
                  </a:cubicBezTo>
                  <a:lnTo>
                    <a:pt x="3860" y="9212"/>
                  </a:lnTo>
                  <a:lnTo>
                    <a:pt x="3860" y="10556"/>
                  </a:lnTo>
                  <a:lnTo>
                    <a:pt x="2131" y="10556"/>
                  </a:lnTo>
                  <a:cubicBezTo>
                    <a:pt x="1838" y="10556"/>
                    <a:pt x="1600" y="10794"/>
                    <a:pt x="1600" y="11087"/>
                  </a:cubicBezTo>
                  <a:cubicBezTo>
                    <a:pt x="1600" y="11381"/>
                    <a:pt x="1838" y="11619"/>
                    <a:pt x="2131" y="11619"/>
                  </a:cubicBezTo>
                  <a:lnTo>
                    <a:pt x="10669" y="11619"/>
                  </a:lnTo>
                  <a:cubicBezTo>
                    <a:pt x="10962" y="11619"/>
                    <a:pt x="11200" y="11381"/>
                    <a:pt x="11200" y="11087"/>
                  </a:cubicBezTo>
                  <a:cubicBezTo>
                    <a:pt x="11200" y="10794"/>
                    <a:pt x="10962" y="10556"/>
                    <a:pt x="10669" y="10556"/>
                  </a:cubicBezTo>
                  <a:lnTo>
                    <a:pt x="8941" y="10556"/>
                  </a:lnTo>
                  <a:lnTo>
                    <a:pt x="8941" y="9212"/>
                  </a:lnTo>
                  <a:lnTo>
                    <a:pt x="12091" y="9212"/>
                  </a:lnTo>
                  <a:cubicBezTo>
                    <a:pt x="12483" y="9212"/>
                    <a:pt x="12800" y="8895"/>
                    <a:pt x="12800" y="8504"/>
                  </a:cubicBezTo>
                  <a:lnTo>
                    <a:pt x="12800" y="708"/>
                  </a:lnTo>
                  <a:cubicBezTo>
                    <a:pt x="12800" y="317"/>
                    <a:pt x="12483" y="0"/>
                    <a:pt x="12091" y="0"/>
                  </a:cubicBezTo>
                  <a:close/>
                  <a:moveTo>
                    <a:pt x="12050" y="8462"/>
                  </a:moveTo>
                  <a:lnTo>
                    <a:pt x="750" y="8462"/>
                  </a:lnTo>
                  <a:lnTo>
                    <a:pt x="750" y="750"/>
                  </a:lnTo>
                  <a:lnTo>
                    <a:pt x="12050" y="750"/>
                  </a:lnTo>
                  <a:lnTo>
                    <a:pt x="12050" y="8462"/>
                  </a:lnTo>
                  <a:close/>
                  <a:moveTo>
                    <a:pt x="1971" y="1948"/>
                  </a:moveTo>
                  <a:lnTo>
                    <a:pt x="10829" y="1948"/>
                  </a:lnTo>
                  <a:lnTo>
                    <a:pt x="10829" y="7263"/>
                  </a:lnTo>
                  <a:lnTo>
                    <a:pt x="1971" y="7263"/>
                  </a:lnTo>
                  <a:lnTo>
                    <a:pt x="1971" y="1948"/>
                  </a:lnTo>
                  <a:close/>
                </a:path>
              </a:pathLst>
            </a:custGeom>
            <a:solidFill>
              <a:srgbClr val="4E4658"/>
            </a:solidFill>
            <a:ln>
              <a:noFill/>
            </a:ln>
          </p:spPr>
          <p:txBody>
            <a:bodyPr vert="horz" wrap="square" lIns="91440" tIns="45720" rIns="91440" bIns="45720" numCol="1" anchor="t" anchorCtr="0" compatLnSpc="1">
              <a:prstTxWarp prst="textNoShape">
                <a:avLst/>
              </a:prstTxWarp>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grpSp>
          <p:nvGrpSpPr>
            <p:cNvPr id="150" name="组合 149">
              <a:extLst>
                <a:ext uri="{FF2B5EF4-FFF2-40B4-BE49-F238E27FC236}">
                  <a16:creationId xmlns="" xmlns:a14="http://schemas.microsoft.com/office/drawing/2010/main" xmlns:p14="http://schemas.microsoft.com/office/powerpoint/2010/main" xmlns:a16="http://schemas.microsoft.com/office/drawing/2014/main" id="{BDB0E8E0-ED93-46FC-90D5-2715E779C5AC}"/>
                </a:ext>
              </a:extLst>
            </p:cNvPr>
            <p:cNvGrpSpPr/>
            <p:nvPr/>
          </p:nvGrpSpPr>
          <p:grpSpPr>
            <a:xfrm>
              <a:off x="4595239" y="1963866"/>
              <a:ext cx="3002400" cy="320240"/>
              <a:chOff x="4595239" y="1963866"/>
              <a:chExt cx="3002400" cy="320240"/>
            </a:xfrm>
          </p:grpSpPr>
          <p:grpSp>
            <p:nvGrpSpPr>
              <p:cNvPr id="151" name="组合 150">
                <a:extLst>
                  <a:ext uri="{FF2B5EF4-FFF2-40B4-BE49-F238E27FC236}">
                    <a16:creationId xmlns="" xmlns:a14="http://schemas.microsoft.com/office/drawing/2010/main" xmlns:p14="http://schemas.microsoft.com/office/powerpoint/2010/main" xmlns:a16="http://schemas.microsoft.com/office/drawing/2014/main" id="{544BF709-2458-42C5-B9FD-5C0F66BE0330}"/>
                  </a:ext>
                </a:extLst>
              </p:cNvPr>
              <p:cNvGrpSpPr/>
              <p:nvPr/>
            </p:nvGrpSpPr>
            <p:grpSpPr>
              <a:xfrm>
                <a:off x="4595239" y="1963866"/>
                <a:ext cx="3002400" cy="320240"/>
                <a:chOff x="8616223" y="1963866"/>
                <a:chExt cx="3002400" cy="320240"/>
              </a:xfrm>
            </p:grpSpPr>
            <p:sp>
              <p:nvSpPr>
                <p:cNvPr id="153" name="矩形 152">
                  <a:extLst>
                    <a:ext uri="{FF2B5EF4-FFF2-40B4-BE49-F238E27FC236}">
                      <a16:creationId xmlns="" xmlns:a14="http://schemas.microsoft.com/office/drawing/2010/main" xmlns:p14="http://schemas.microsoft.com/office/powerpoint/2010/main" xmlns:a16="http://schemas.microsoft.com/office/drawing/2014/main" id="{28BAB253-E748-40EE-BE86-7F4935434241}"/>
                    </a:ext>
                  </a:extLst>
                </p:cNvPr>
                <p:cNvSpPr/>
                <p:nvPr/>
              </p:nvSpPr>
              <p:spPr>
                <a:xfrm>
                  <a:off x="8616223" y="1963866"/>
                  <a:ext cx="3002400" cy="320240"/>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dirty="0"/>
                </a:p>
              </p:txBody>
            </p:sp>
            <p:sp>
              <p:nvSpPr>
                <p:cNvPr id="154" name="Multiply 213">
                  <a:extLst>
                    <a:ext uri="{FF2B5EF4-FFF2-40B4-BE49-F238E27FC236}">
                      <a16:creationId xmlns="" xmlns:a14="http://schemas.microsoft.com/office/drawing/2010/main" xmlns:p14="http://schemas.microsoft.com/office/powerpoint/2010/main" xmlns:a16="http://schemas.microsoft.com/office/drawing/2014/main" id="{744B4C5B-D5F4-446A-B63A-279FB5E4FCB6}"/>
                    </a:ext>
                  </a:extLst>
                </p:cNvPr>
                <p:cNvSpPr>
                  <a:spLocks noChangeAspect="1"/>
                </p:cNvSpPr>
                <p:nvPr/>
              </p:nvSpPr>
              <p:spPr>
                <a:xfrm>
                  <a:off x="11404732" y="2067944"/>
                  <a:ext cx="112084" cy="112084"/>
                </a:xfrm>
                <a:custGeom>
                  <a:avLst/>
                  <a:gdLst>
                    <a:gd name="T0" fmla="*/ 11040 w 11360"/>
                    <a:gd name="T1" fmla="*/ 320 h 11360"/>
                    <a:gd name="T2" fmla="*/ 11040 w 11360"/>
                    <a:gd name="T3" fmla="*/ 1360 h 11360"/>
                    <a:gd name="T4" fmla="*/ 6720 w 11360"/>
                    <a:gd name="T5" fmla="*/ 5680 h 11360"/>
                    <a:gd name="T6" fmla="*/ 11040 w 11360"/>
                    <a:gd name="T7" fmla="*/ 10000 h 11360"/>
                    <a:gd name="T8" fmla="*/ 11040 w 11360"/>
                    <a:gd name="T9" fmla="*/ 11040 h 11360"/>
                    <a:gd name="T10" fmla="*/ 10000 w 11360"/>
                    <a:gd name="T11" fmla="*/ 11040 h 11360"/>
                    <a:gd name="T12" fmla="*/ 5680 w 11360"/>
                    <a:gd name="T13" fmla="*/ 6720 h 11360"/>
                    <a:gd name="T14" fmla="*/ 1360 w 11360"/>
                    <a:gd name="T15" fmla="*/ 11040 h 11360"/>
                    <a:gd name="T16" fmla="*/ 320 w 11360"/>
                    <a:gd name="T17" fmla="*/ 11040 h 11360"/>
                    <a:gd name="T18" fmla="*/ 320 w 11360"/>
                    <a:gd name="T19" fmla="*/ 10000 h 11360"/>
                    <a:gd name="T20" fmla="*/ 4640 w 11360"/>
                    <a:gd name="T21" fmla="*/ 5680 h 11360"/>
                    <a:gd name="T22" fmla="*/ 320 w 11360"/>
                    <a:gd name="T23" fmla="*/ 1360 h 11360"/>
                    <a:gd name="T24" fmla="*/ 320 w 11360"/>
                    <a:gd name="T25" fmla="*/ 320 h 11360"/>
                    <a:gd name="T26" fmla="*/ 1360 w 11360"/>
                    <a:gd name="T27" fmla="*/ 320 h 11360"/>
                    <a:gd name="T28" fmla="*/ 5680 w 11360"/>
                    <a:gd name="T29" fmla="*/ 4640 h 11360"/>
                    <a:gd name="T30" fmla="*/ 10000 w 11360"/>
                    <a:gd name="T31" fmla="*/ 320 h 11360"/>
                    <a:gd name="T32" fmla="*/ 11040 w 11360"/>
                    <a:gd name="T33" fmla="*/ 320 h 1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60" h="11360">
                      <a:moveTo>
                        <a:pt x="11040" y="320"/>
                      </a:moveTo>
                      <a:cubicBezTo>
                        <a:pt x="11360" y="640"/>
                        <a:pt x="11360" y="1120"/>
                        <a:pt x="11040" y="1360"/>
                      </a:cubicBezTo>
                      <a:lnTo>
                        <a:pt x="6720" y="5680"/>
                      </a:lnTo>
                      <a:lnTo>
                        <a:pt x="11040" y="10000"/>
                      </a:lnTo>
                      <a:cubicBezTo>
                        <a:pt x="11360" y="10320"/>
                        <a:pt x="11360" y="10800"/>
                        <a:pt x="11040" y="11040"/>
                      </a:cubicBezTo>
                      <a:cubicBezTo>
                        <a:pt x="10720" y="11360"/>
                        <a:pt x="10240" y="11360"/>
                        <a:pt x="10000" y="11040"/>
                      </a:cubicBezTo>
                      <a:lnTo>
                        <a:pt x="5680" y="6720"/>
                      </a:lnTo>
                      <a:lnTo>
                        <a:pt x="1360" y="11040"/>
                      </a:lnTo>
                      <a:cubicBezTo>
                        <a:pt x="1040" y="11360"/>
                        <a:pt x="560" y="11360"/>
                        <a:pt x="320" y="11040"/>
                      </a:cubicBezTo>
                      <a:cubicBezTo>
                        <a:pt x="0" y="10720"/>
                        <a:pt x="0" y="10240"/>
                        <a:pt x="320" y="10000"/>
                      </a:cubicBezTo>
                      <a:lnTo>
                        <a:pt x="4640" y="5680"/>
                      </a:lnTo>
                      <a:lnTo>
                        <a:pt x="320" y="1360"/>
                      </a:lnTo>
                      <a:cubicBezTo>
                        <a:pt x="0" y="1040"/>
                        <a:pt x="0" y="560"/>
                        <a:pt x="320" y="320"/>
                      </a:cubicBezTo>
                      <a:cubicBezTo>
                        <a:pt x="640" y="80"/>
                        <a:pt x="1120" y="0"/>
                        <a:pt x="1360" y="320"/>
                      </a:cubicBezTo>
                      <a:lnTo>
                        <a:pt x="5680" y="4640"/>
                      </a:lnTo>
                      <a:lnTo>
                        <a:pt x="10000" y="320"/>
                      </a:lnTo>
                      <a:cubicBezTo>
                        <a:pt x="10240" y="0"/>
                        <a:pt x="10800" y="0"/>
                        <a:pt x="11040" y="320"/>
                      </a:cubicBezTo>
                      <a:close/>
                    </a:path>
                  </a:pathLst>
                </a:custGeom>
                <a:solidFill>
                  <a:schemeClr val="bg1"/>
                </a:solidFill>
                <a:ln w="127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54">
                    <a:defRPr/>
                  </a:pPr>
                  <a:endParaRPr lang="zh-CN" altLang="en-US" kern="0">
                    <a:solidFill>
                      <a:srgbClr val="FFFFFF"/>
                    </a:solidFill>
                    <a:latin typeface="Arial"/>
                    <a:ea typeface="微软雅黑"/>
                  </a:endParaRPr>
                </a:p>
              </p:txBody>
            </p:sp>
          </p:grpSp>
          <p:sp>
            <p:nvSpPr>
              <p:cNvPr id="152" name="矩形 151">
                <a:extLst>
                  <a:ext uri="{FF2B5EF4-FFF2-40B4-BE49-F238E27FC236}">
                    <a16:creationId xmlns="" xmlns:a14="http://schemas.microsoft.com/office/drawing/2010/main" xmlns:p14="http://schemas.microsoft.com/office/powerpoint/2010/main" xmlns:a16="http://schemas.microsoft.com/office/drawing/2014/main" id="{6BEC8753-670B-4BDF-A3E6-445620C80C4A}"/>
                  </a:ext>
                </a:extLst>
              </p:cNvPr>
              <p:cNvSpPr/>
              <p:nvPr/>
            </p:nvSpPr>
            <p:spPr>
              <a:xfrm>
                <a:off x="4715292" y="2038873"/>
                <a:ext cx="1548011" cy="153888"/>
              </a:xfrm>
              <a:prstGeom prst="rect">
                <a:avLst/>
              </a:prstGeom>
            </p:spPr>
            <p:txBody>
              <a:bodyPr wrap="square" lIns="0" tIns="0" rIns="0" bIns="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r>
                  <a:rPr lang="zh-CN" altLang="en-US" sz="1000" kern="0" dirty="0">
                    <a:solidFill>
                      <a:srgbClr val="FFFFFF"/>
                    </a:solidFill>
                  </a:rPr>
                  <a:t>图标库 </a:t>
                </a:r>
                <a:r>
                  <a:rPr lang="en-US" altLang="zh-CN" sz="1000" kern="0" dirty="0">
                    <a:solidFill>
                      <a:srgbClr val="FFFFFF"/>
                    </a:solidFill>
                  </a:rPr>
                  <a:t>/ </a:t>
                </a:r>
                <a:r>
                  <a:rPr lang="en-US" altLang="zh-CN" sz="1000" kern="0">
                    <a:solidFill>
                      <a:srgbClr val="FFFFFF"/>
                    </a:solidFill>
                  </a:rPr>
                  <a:t>Icon </a:t>
                </a:r>
                <a:r>
                  <a:rPr lang="en-US" altLang="zh-CN" sz="1000" kern="0" smtClean="0">
                    <a:solidFill>
                      <a:srgbClr val="FFFFFF"/>
                    </a:solidFill>
                  </a:rPr>
                  <a:t>Lib</a:t>
                </a:r>
                <a:r>
                  <a:rPr lang="en-US" altLang="zh-CN" sz="100" kern="0" smtClean="0">
                    <a:solidFill>
                      <a:srgbClr val="FFFFFF"/>
                    </a:solidFill>
                  </a:rPr>
                  <a:t> </a:t>
                </a:r>
                <a:r>
                  <a:rPr lang="en-US" altLang="zh-CN" sz="1000" kern="0" smtClean="0">
                    <a:solidFill>
                      <a:srgbClr val="FFFFFF"/>
                    </a:solidFill>
                  </a:rPr>
                  <a:t>rary</a:t>
                </a:r>
                <a:endParaRPr lang="zh-CN" altLang="en-US" sz="1000" kern="0" dirty="0">
                  <a:solidFill>
                    <a:srgbClr val="FFFFFF"/>
                  </a:solidFill>
                </a:endParaRPr>
              </a:p>
            </p:txBody>
          </p:sp>
        </p:grpSp>
      </p:grpSp>
      <p:sp>
        <p:nvSpPr>
          <p:cNvPr id="2" name="矩形 1">
            <a:extLst>
              <a:ext uri="{FF2B5EF4-FFF2-40B4-BE49-F238E27FC236}">
                <a16:creationId xmlns="" xmlns:a14="http://schemas.microsoft.com/office/drawing/2010/main" xmlns:p14="http://schemas.microsoft.com/office/powerpoint/2010/main" xmlns:a16="http://schemas.microsoft.com/office/drawing/2014/main" id="{E0F38C24-6AB8-4A87-8935-06692C174C7B}"/>
              </a:ext>
            </a:extLst>
          </p:cNvPr>
          <p:cNvSpPr/>
          <p:nvPr/>
        </p:nvSpPr>
        <p:spPr>
          <a:xfrm>
            <a:off x="8978025" y="128575"/>
            <a:ext cx="2540875" cy="771556"/>
          </a:xfrm>
          <a:prstGeom prst="rect">
            <a:avLst/>
          </a:prstGeom>
          <a:solidFill>
            <a:srgbClr val="F73434"/>
          </a:solidFill>
          <a:ln w="12700">
            <a:noFill/>
            <a:prstDash val="sysDash"/>
          </a:ln>
        </p:spPr>
        <p:txBody>
          <a:bodyPr wrap="square" lIns="91440" tIns="91440" rIns="91440" bIns="91440" rtlCol="0" anchor="ctr">
            <a:noAutofit/>
          </a:bodyPr>
          <a:lstStyle/>
          <a:p>
            <a:pPr>
              <a:lnSpc>
                <a:spcPct val="120000"/>
              </a:lnSpc>
            </a:pPr>
            <a:r>
              <a:rPr lang="en-US" altLang="zh-CN" sz="800" b="1" dirty="0">
                <a:solidFill>
                  <a:schemeClr val="bg1"/>
                </a:solidFill>
              </a:rPr>
              <a:t>Note:</a:t>
            </a:r>
          </a:p>
          <a:p>
            <a:pPr>
              <a:lnSpc>
                <a:spcPct val="120000"/>
              </a:lnSpc>
            </a:pPr>
            <a:r>
              <a:rPr lang="zh-CN" altLang="en-US" sz="800" dirty="0">
                <a:solidFill>
                  <a:schemeClr val="bg1"/>
                </a:solidFill>
              </a:rPr>
              <a:t>本页为说明页，使用时请删除本页内容。</a:t>
            </a:r>
          </a:p>
          <a:p>
            <a:pPr>
              <a:lnSpc>
                <a:spcPct val="120000"/>
              </a:lnSpc>
            </a:pPr>
            <a:r>
              <a:rPr lang="en-US" altLang="zh-CN" sz="800" dirty="0">
                <a:solidFill>
                  <a:schemeClr val="bg1"/>
                </a:solidFill>
              </a:rPr>
              <a:t>This slide is an instruction. Please delete this slide before </a:t>
            </a:r>
            <a:r>
              <a:rPr lang="en-US" altLang="zh-CN" sz="800">
                <a:solidFill>
                  <a:schemeClr val="bg1"/>
                </a:solidFill>
              </a:rPr>
              <a:t>using </a:t>
            </a:r>
            <a:r>
              <a:rPr lang="en-US" altLang="zh-CN" sz="800" smtClean="0">
                <a:solidFill>
                  <a:schemeClr val="bg1"/>
                </a:solidFill>
              </a:rPr>
              <a:t>i</a:t>
            </a:r>
            <a:r>
              <a:rPr lang="en-US" altLang="zh-CN" sz="100" smtClean="0">
                <a:solidFill>
                  <a:schemeClr val="bg1"/>
                </a:solidFill>
              </a:rPr>
              <a:t> </a:t>
            </a:r>
            <a:r>
              <a:rPr lang="en-US" altLang="zh-CN" sz="800" smtClean="0">
                <a:solidFill>
                  <a:schemeClr val="bg1"/>
                </a:solidFill>
              </a:rPr>
              <a:t>t </a:t>
            </a:r>
            <a:r>
              <a:rPr lang="en-US" altLang="zh-CN" sz="800" dirty="0">
                <a:solidFill>
                  <a:schemeClr val="bg1"/>
                </a:solidFill>
              </a:rPr>
              <a:t>for presentation.</a:t>
            </a:r>
          </a:p>
        </p:txBody>
      </p:sp>
    </p:spTree>
    <p:custDataLst>
      <p:tags r:id="rId1"/>
    </p:custDataLst>
    <p:extLst>
      <p:ext uri="{BB962C8B-B14F-4D97-AF65-F5344CB8AC3E}">
        <p14:creationId xmlns:p14="http://schemas.microsoft.com/office/powerpoint/2010/main" val="25626015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 name="组合 2">
            <a:extLst>
              <a:ext uri="{FF2B5EF4-FFF2-40B4-BE49-F238E27FC236}">
                <a16:creationId xmlns="" xmlns:a14="http://schemas.microsoft.com/office/drawing/2010/main" xmlns:p14="http://schemas.microsoft.com/office/powerpoint/2010/main" xmlns:a16="http://schemas.microsoft.com/office/drawing/2014/main" id="{06500485-734D-463E-B159-B8861C906AAC}"/>
              </a:ext>
            </a:extLst>
          </p:cNvPr>
          <p:cNvGrpSpPr/>
          <p:nvPr/>
        </p:nvGrpSpPr>
        <p:grpSpPr>
          <a:xfrm>
            <a:off x="660400" y="5464436"/>
            <a:ext cx="3493913" cy="400110"/>
            <a:chOff x="673100" y="5464436"/>
            <a:chExt cx="3493913" cy="400110"/>
          </a:xfrm>
        </p:grpSpPr>
        <p:sp>
          <p:nvSpPr>
            <p:cNvPr id="351" name="文本框 350"/>
            <p:cNvSpPr txBox="1"/>
            <p:nvPr/>
          </p:nvSpPr>
          <p:spPr>
            <a:xfrm>
              <a:off x="994562" y="5464436"/>
              <a:ext cx="3172451" cy="400110"/>
            </a:xfrm>
            <a:prstGeom prst="rect">
              <a:avLst/>
            </a:prstGeom>
            <a:noFill/>
          </p:spPr>
          <p:txBody>
            <a:bodyPr wrap="square" rtlCol="0" anchor="ctr">
              <a:spAutoFit/>
            </a:bodyPr>
            <a:lstStyle/>
            <a:p>
              <a:r>
                <a:rPr lang="zh-CN" altLang="en-US" sz="1000" dirty="0">
                  <a:solidFill>
                    <a:srgbClr val="2F2F2F"/>
                  </a:solidFill>
                </a:rPr>
                <a:t>选中图示中的占位形状</a:t>
              </a:r>
              <a:endParaRPr lang="en-US" altLang="zh-CN" sz="1000" dirty="0">
                <a:solidFill>
                  <a:srgbClr val="2F2F2F"/>
                </a:solidFill>
              </a:endParaRPr>
            </a:p>
            <a:p>
              <a:r>
                <a:rPr lang="en-US" altLang="zh-CN" sz="1000" dirty="0">
                  <a:solidFill>
                    <a:srgbClr val="2F2F2F"/>
                  </a:solidFill>
                </a:rPr>
                <a:t>Select the shape that</a:t>
              </a:r>
              <a:r>
                <a:rPr lang="zh-CN" altLang="en-US" sz="1000" dirty="0">
                  <a:solidFill>
                    <a:srgbClr val="2F2F2F"/>
                  </a:solidFill>
                </a:rPr>
                <a:t> </a:t>
              </a:r>
              <a:r>
                <a:rPr lang="en-US" altLang="zh-CN" sz="1000" dirty="0">
                  <a:solidFill>
                    <a:srgbClr val="2F2F2F"/>
                  </a:solidFill>
                </a:rPr>
                <a:t>needs</a:t>
              </a:r>
              <a:r>
                <a:rPr lang="zh-CN" altLang="en-US" sz="1000" dirty="0">
                  <a:solidFill>
                    <a:srgbClr val="2F2F2F"/>
                  </a:solidFill>
                </a:rPr>
                <a:t> </a:t>
              </a:r>
              <a:r>
                <a:rPr lang="en-US" altLang="zh-CN" sz="1000" dirty="0">
                  <a:solidFill>
                    <a:srgbClr val="2F2F2F"/>
                  </a:solidFill>
                </a:rPr>
                <a:t>to</a:t>
              </a:r>
              <a:r>
                <a:rPr lang="zh-CN" altLang="en-US" sz="1000" dirty="0">
                  <a:solidFill>
                    <a:srgbClr val="2F2F2F"/>
                  </a:solidFill>
                </a:rPr>
                <a:t> </a:t>
              </a:r>
              <a:r>
                <a:rPr lang="en-US" altLang="zh-CN" sz="1000" dirty="0">
                  <a:solidFill>
                    <a:srgbClr val="2F2F2F"/>
                  </a:solidFill>
                </a:rPr>
                <a:t>be</a:t>
              </a:r>
              <a:r>
                <a:rPr lang="zh-CN" altLang="en-US" sz="1000" dirty="0">
                  <a:solidFill>
                    <a:srgbClr val="2F2F2F"/>
                  </a:solidFill>
                </a:rPr>
                <a:t> </a:t>
              </a:r>
              <a:r>
                <a:rPr lang="en-US" altLang="zh-CN" sz="1000">
                  <a:solidFill>
                    <a:srgbClr val="2F2F2F"/>
                  </a:solidFill>
                </a:rPr>
                <a:t>filled</a:t>
              </a:r>
              <a:r>
                <a:rPr lang="zh-CN" altLang="en-US" sz="1000">
                  <a:solidFill>
                    <a:srgbClr val="2F2F2F"/>
                  </a:solidFill>
                </a:rPr>
                <a:t> </a:t>
              </a:r>
              <a:r>
                <a:rPr lang="en-US" altLang="zh-CN" sz="1000" smtClean="0">
                  <a:solidFill>
                    <a:srgbClr val="2F2F2F"/>
                  </a:solidFill>
                </a:rPr>
                <a:t>w</a:t>
              </a:r>
              <a:r>
                <a:rPr lang="en-US" altLang="zh-CN" sz="100" smtClean="0">
                  <a:solidFill>
                    <a:srgbClr val="2F2F2F"/>
                  </a:solidFill>
                </a:rPr>
                <a:t> </a:t>
              </a:r>
              <a:r>
                <a:rPr lang="en-US" altLang="zh-CN" sz="1000" smtClean="0">
                  <a:solidFill>
                    <a:srgbClr val="2F2F2F"/>
                  </a:solidFill>
                </a:rPr>
                <a:t>ith</a:t>
              </a:r>
              <a:r>
                <a:rPr lang="zh-CN" altLang="en-US" sz="1000" smtClean="0">
                  <a:solidFill>
                    <a:srgbClr val="2F2F2F"/>
                  </a:solidFill>
                </a:rPr>
                <a:t> </a:t>
              </a:r>
              <a:r>
                <a:rPr lang="en-US" altLang="zh-CN" sz="1000" dirty="0">
                  <a:solidFill>
                    <a:srgbClr val="2F2F2F"/>
                  </a:solidFill>
                </a:rPr>
                <a:t>picture</a:t>
              </a:r>
              <a:endParaRPr lang="zh-CN" altLang="en-US" sz="1000" dirty="0">
                <a:solidFill>
                  <a:srgbClr val="2F2F2F"/>
                </a:solidFill>
              </a:endParaRPr>
            </a:p>
          </p:txBody>
        </p:sp>
        <p:sp>
          <p:nvSpPr>
            <p:cNvPr id="350" name="椭圆 349"/>
            <p:cNvSpPr/>
            <p:nvPr/>
          </p:nvSpPr>
          <p:spPr>
            <a:xfrm>
              <a:off x="673100" y="5526315"/>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1</a:t>
              </a:r>
              <a:endParaRPr lang="zh-CN" altLang="en-US" sz="1200" dirty="0"/>
            </a:p>
          </p:txBody>
        </p:sp>
      </p:grpSp>
      <p:sp>
        <p:nvSpPr>
          <p:cNvPr id="890" name="Right Arrow 16">
            <a:extLst>
              <a:ext uri="{FF2B5EF4-FFF2-40B4-BE49-F238E27FC236}">
                <a16:creationId xmlns="" xmlns:a14="http://schemas.microsoft.com/office/drawing/2010/main" xmlns:p14="http://schemas.microsoft.com/office/powerpoint/2010/main" xmlns:a16="http://schemas.microsoft.com/office/drawing/2014/main" id="{C18997BC-8A46-4480-BDE2-8A42CE9D6E96}"/>
              </a:ext>
            </a:extLst>
          </p:cNvPr>
          <p:cNvSpPr/>
          <p:nvPr/>
        </p:nvSpPr>
        <p:spPr>
          <a:xfrm>
            <a:off x="4284308" y="3338119"/>
            <a:ext cx="174147" cy="156344"/>
          </a:xfrm>
          <a:custGeom>
            <a:avLst/>
            <a:gdLst>
              <a:gd name="T0" fmla="*/ 4048 w 6714"/>
              <a:gd name="T1" fmla="*/ 194 h 6036"/>
              <a:gd name="T2" fmla="*/ 3696 w 6714"/>
              <a:gd name="T3" fmla="*/ 340 h 6036"/>
              <a:gd name="T4" fmla="*/ 3696 w 6714"/>
              <a:gd name="T5" fmla="*/ 1283 h 6036"/>
              <a:gd name="T6" fmla="*/ 199 w 6714"/>
              <a:gd name="T7" fmla="*/ 1283 h 6036"/>
              <a:gd name="T8" fmla="*/ 0 w 6714"/>
              <a:gd name="T9" fmla="*/ 1482 h 6036"/>
              <a:gd name="T10" fmla="*/ 0 w 6714"/>
              <a:gd name="T11" fmla="*/ 4553 h 6036"/>
              <a:gd name="T12" fmla="*/ 199 w 6714"/>
              <a:gd name="T13" fmla="*/ 4752 h 6036"/>
              <a:gd name="T14" fmla="*/ 3696 w 6714"/>
              <a:gd name="T15" fmla="*/ 4752 h 6036"/>
              <a:gd name="T16" fmla="*/ 3696 w 6714"/>
              <a:gd name="T17" fmla="*/ 5696 h 6036"/>
              <a:gd name="T18" fmla="*/ 4048 w 6714"/>
              <a:gd name="T19" fmla="*/ 5842 h 6036"/>
              <a:gd name="T20" fmla="*/ 6520 w 6714"/>
              <a:gd name="T21" fmla="*/ 3369 h 6036"/>
              <a:gd name="T22" fmla="*/ 6520 w 6714"/>
              <a:gd name="T23" fmla="*/ 2666 h 6036"/>
              <a:gd name="T24" fmla="*/ 4048 w 6714"/>
              <a:gd name="T25" fmla="*/ 194 h 6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14" h="6036">
                <a:moveTo>
                  <a:pt x="4048" y="194"/>
                </a:moveTo>
                <a:cubicBezTo>
                  <a:pt x="3853" y="0"/>
                  <a:pt x="3696" y="65"/>
                  <a:pt x="3696" y="340"/>
                </a:cubicBezTo>
                <a:lnTo>
                  <a:pt x="3696" y="1283"/>
                </a:lnTo>
                <a:lnTo>
                  <a:pt x="199" y="1283"/>
                </a:lnTo>
                <a:cubicBezTo>
                  <a:pt x="89" y="1283"/>
                  <a:pt x="0" y="1372"/>
                  <a:pt x="0" y="1482"/>
                </a:cubicBezTo>
                <a:lnTo>
                  <a:pt x="0" y="4553"/>
                </a:lnTo>
                <a:cubicBezTo>
                  <a:pt x="0" y="4663"/>
                  <a:pt x="89" y="4752"/>
                  <a:pt x="199" y="4752"/>
                </a:cubicBezTo>
                <a:lnTo>
                  <a:pt x="3696" y="4752"/>
                </a:lnTo>
                <a:lnTo>
                  <a:pt x="3696" y="5696"/>
                </a:lnTo>
                <a:cubicBezTo>
                  <a:pt x="3696" y="5971"/>
                  <a:pt x="3853" y="6036"/>
                  <a:pt x="4048" y="5842"/>
                </a:cubicBezTo>
                <a:lnTo>
                  <a:pt x="6520" y="3369"/>
                </a:lnTo>
                <a:cubicBezTo>
                  <a:pt x="6714" y="3175"/>
                  <a:pt x="6714" y="2860"/>
                  <a:pt x="6520" y="2666"/>
                </a:cubicBezTo>
                <a:lnTo>
                  <a:pt x="4048" y="194"/>
                </a:lnTo>
                <a:close/>
              </a:path>
            </a:pathLst>
          </a:custGeom>
          <a:solidFill>
            <a:srgbClr val="867B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nvGrpSpPr>
          <p:cNvPr id="19" name="组合 18">
            <a:extLst>
              <a:ext uri="{FF2B5EF4-FFF2-40B4-BE49-F238E27FC236}">
                <a16:creationId xmlns="" xmlns:a14="http://schemas.microsoft.com/office/drawing/2010/main" xmlns:p14="http://schemas.microsoft.com/office/powerpoint/2010/main" xmlns:a16="http://schemas.microsoft.com/office/drawing/2014/main" id="{3DADE2E2-462A-4DAB-9FCF-67CBE7BC402C}"/>
              </a:ext>
            </a:extLst>
          </p:cNvPr>
          <p:cNvGrpSpPr/>
          <p:nvPr/>
        </p:nvGrpSpPr>
        <p:grpSpPr>
          <a:xfrm>
            <a:off x="4588450" y="1963867"/>
            <a:ext cx="3002400" cy="3200416"/>
            <a:chOff x="4595239" y="1963866"/>
            <a:chExt cx="3002400" cy="3200416"/>
          </a:xfrm>
        </p:grpSpPr>
        <p:sp>
          <p:nvSpPr>
            <p:cNvPr id="302" name="矩形 301">
              <a:extLst>
                <a:ext uri="{FF2B5EF4-FFF2-40B4-BE49-F238E27FC236}">
                  <a16:creationId xmlns="" xmlns:a14="http://schemas.microsoft.com/office/drawing/2010/main" xmlns:p14="http://schemas.microsoft.com/office/powerpoint/2010/main" xmlns:a16="http://schemas.microsoft.com/office/drawing/2014/main" id="{EB95F60D-A0A5-4CA6-84FF-3A5E2CC59F42}"/>
                </a:ext>
              </a:extLst>
            </p:cNvPr>
            <p:cNvSpPr/>
            <p:nvPr/>
          </p:nvSpPr>
          <p:spPr>
            <a:xfrm>
              <a:off x="4595239" y="1963866"/>
              <a:ext cx="3002400" cy="3002400"/>
            </a:xfrm>
            <a:prstGeom prst="rect">
              <a:avLst/>
            </a:prstGeom>
            <a:gradFill>
              <a:gsLst>
                <a:gs pos="80000">
                  <a:schemeClr val="bg1"/>
                </a:gs>
                <a:gs pos="100000">
                  <a:schemeClr val="bg1">
                    <a:alpha val="0"/>
                  </a:schemeClr>
                </a:gs>
              </a:gsLst>
              <a:lin ang="5400000" scaled="1"/>
            </a:gradFill>
            <a:ln w="9525">
              <a:noFill/>
            </a:ln>
            <a:effectLst>
              <a:outerShdw blurRad="63500" sx="102000" sy="102000" algn="ctr" rotWithShape="0">
                <a:srgbClr val="E7E5EA">
                  <a:alpha val="5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153" name="组合 152">
              <a:extLst>
                <a:ext uri="{FF2B5EF4-FFF2-40B4-BE49-F238E27FC236}">
                  <a16:creationId xmlns="" xmlns:a14="http://schemas.microsoft.com/office/drawing/2010/main" xmlns:p14="http://schemas.microsoft.com/office/powerpoint/2010/main" xmlns:a16="http://schemas.microsoft.com/office/drawing/2014/main" id="{A63C04F4-C358-4500-9952-9EF5BBBE121E}"/>
                </a:ext>
              </a:extLst>
            </p:cNvPr>
            <p:cNvGrpSpPr/>
            <p:nvPr/>
          </p:nvGrpSpPr>
          <p:grpSpPr>
            <a:xfrm>
              <a:off x="4706067" y="2686508"/>
              <a:ext cx="2780745" cy="2477774"/>
              <a:chOff x="5543523" y="3950927"/>
              <a:chExt cx="2485245" cy="2214470"/>
            </a:xfrm>
            <a:solidFill>
              <a:srgbClr val="E7E5EA"/>
            </a:solidFill>
          </p:grpSpPr>
          <p:sp>
            <p:nvSpPr>
              <p:cNvPr id="154" name="矩形: 圆角 153">
                <a:extLst>
                  <a:ext uri="{FF2B5EF4-FFF2-40B4-BE49-F238E27FC236}">
                    <a16:creationId xmlns="" xmlns:a14="http://schemas.microsoft.com/office/drawing/2010/main" xmlns:p14="http://schemas.microsoft.com/office/powerpoint/2010/main" xmlns:a16="http://schemas.microsoft.com/office/drawing/2014/main" id="{F6ABABC0-F43F-4F7C-A81E-B32B79EAE147}"/>
                  </a:ext>
                </a:extLst>
              </p:cNvPr>
              <p:cNvSpPr>
                <a:spLocks noChangeAspect="1"/>
              </p:cNvSpPr>
              <p:nvPr/>
            </p:nvSpPr>
            <p:spPr>
              <a:xfrm>
                <a:off x="5543523" y="3950927"/>
                <a:ext cx="1189177" cy="668912"/>
              </a:xfrm>
              <a:prstGeom prst="roundRect">
                <a:avLst>
                  <a:gd name="adj" fmla="val 4418"/>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55" name="矩形: 圆角 154">
                <a:extLst>
                  <a:ext uri="{FF2B5EF4-FFF2-40B4-BE49-F238E27FC236}">
                    <a16:creationId xmlns="" xmlns:a14="http://schemas.microsoft.com/office/drawing/2010/main" xmlns:p14="http://schemas.microsoft.com/office/powerpoint/2010/main" xmlns:a16="http://schemas.microsoft.com/office/drawing/2014/main" id="{EF1FB13C-2546-480B-A3F8-637DD57A2E9A}"/>
                  </a:ext>
                </a:extLst>
              </p:cNvPr>
              <p:cNvSpPr>
                <a:spLocks noChangeAspect="1"/>
              </p:cNvSpPr>
              <p:nvPr/>
            </p:nvSpPr>
            <p:spPr>
              <a:xfrm>
                <a:off x="5543523" y="4723706"/>
                <a:ext cx="1189177" cy="668912"/>
              </a:xfrm>
              <a:prstGeom prst="roundRect">
                <a:avLst>
                  <a:gd name="adj" fmla="val 4418"/>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56" name="矩形: 圆角 155">
                <a:extLst>
                  <a:ext uri="{FF2B5EF4-FFF2-40B4-BE49-F238E27FC236}">
                    <a16:creationId xmlns="" xmlns:a14="http://schemas.microsoft.com/office/drawing/2010/main" xmlns:p14="http://schemas.microsoft.com/office/powerpoint/2010/main" xmlns:a16="http://schemas.microsoft.com/office/drawing/2014/main" id="{BC5AD51A-7A84-49B0-B8D0-BFC3CEC38872}"/>
                  </a:ext>
                </a:extLst>
              </p:cNvPr>
              <p:cNvSpPr>
                <a:spLocks noChangeAspect="1"/>
              </p:cNvSpPr>
              <p:nvPr/>
            </p:nvSpPr>
            <p:spPr>
              <a:xfrm>
                <a:off x="5543523" y="5496485"/>
                <a:ext cx="1189177" cy="668912"/>
              </a:xfrm>
              <a:prstGeom prst="roundRect">
                <a:avLst>
                  <a:gd name="adj" fmla="val 4418"/>
                </a:avLst>
              </a:prstGeom>
              <a:gradFill>
                <a:gsLst>
                  <a:gs pos="0">
                    <a:srgbClr val="E7E5EA"/>
                  </a:gs>
                  <a:gs pos="62000">
                    <a:srgbClr val="E7E5EA">
                      <a:alpha val="0"/>
                    </a:srgbClr>
                  </a:gs>
                </a:gsLst>
                <a:lin ang="54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57" name="矩形: 圆角 156">
                <a:extLst>
                  <a:ext uri="{FF2B5EF4-FFF2-40B4-BE49-F238E27FC236}">
                    <a16:creationId xmlns="" xmlns:a14="http://schemas.microsoft.com/office/drawing/2010/main" xmlns:p14="http://schemas.microsoft.com/office/powerpoint/2010/main" xmlns:a16="http://schemas.microsoft.com/office/drawing/2014/main" id="{20717845-5E08-43BB-B73D-0D6866386EE2}"/>
                  </a:ext>
                </a:extLst>
              </p:cNvPr>
              <p:cNvSpPr>
                <a:spLocks noChangeAspect="1"/>
              </p:cNvSpPr>
              <p:nvPr/>
            </p:nvSpPr>
            <p:spPr>
              <a:xfrm>
                <a:off x="6839591" y="5496485"/>
                <a:ext cx="1189177" cy="668912"/>
              </a:xfrm>
              <a:prstGeom prst="roundRect">
                <a:avLst>
                  <a:gd name="adj" fmla="val 4418"/>
                </a:avLst>
              </a:prstGeom>
              <a:gradFill>
                <a:gsLst>
                  <a:gs pos="0">
                    <a:srgbClr val="E7E5EA"/>
                  </a:gs>
                  <a:gs pos="62000">
                    <a:srgbClr val="E7E5EA">
                      <a:alpha val="0"/>
                    </a:srgbClr>
                  </a:gs>
                </a:gsLst>
                <a:lin ang="54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58" name="矩形: 圆角 157">
                <a:extLst>
                  <a:ext uri="{FF2B5EF4-FFF2-40B4-BE49-F238E27FC236}">
                    <a16:creationId xmlns="" xmlns:a14="http://schemas.microsoft.com/office/drawing/2010/main" xmlns:p14="http://schemas.microsoft.com/office/powerpoint/2010/main" xmlns:a16="http://schemas.microsoft.com/office/drawing/2014/main" id="{04273410-3874-4C71-9C4E-4D25FA658C6F}"/>
                  </a:ext>
                </a:extLst>
              </p:cNvPr>
              <p:cNvSpPr>
                <a:spLocks noChangeAspect="1"/>
              </p:cNvSpPr>
              <p:nvPr/>
            </p:nvSpPr>
            <p:spPr>
              <a:xfrm>
                <a:off x="6839591" y="4723706"/>
                <a:ext cx="1189177" cy="668912"/>
              </a:xfrm>
              <a:prstGeom prst="roundRect">
                <a:avLst>
                  <a:gd name="adj" fmla="val 4418"/>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59" name="矩形: 圆角 158">
                <a:extLst>
                  <a:ext uri="{FF2B5EF4-FFF2-40B4-BE49-F238E27FC236}">
                    <a16:creationId xmlns="" xmlns:a14="http://schemas.microsoft.com/office/drawing/2010/main" xmlns:p14="http://schemas.microsoft.com/office/powerpoint/2010/main" xmlns:a16="http://schemas.microsoft.com/office/drawing/2014/main" id="{30E424DF-74BE-442A-AAB5-9F114C1494C8}"/>
                  </a:ext>
                </a:extLst>
              </p:cNvPr>
              <p:cNvSpPr>
                <a:spLocks noChangeAspect="1"/>
              </p:cNvSpPr>
              <p:nvPr/>
            </p:nvSpPr>
            <p:spPr>
              <a:xfrm>
                <a:off x="6839591" y="3950927"/>
                <a:ext cx="1189177" cy="668912"/>
              </a:xfrm>
              <a:prstGeom prst="roundRect">
                <a:avLst>
                  <a:gd name="adj" fmla="val 4418"/>
                </a:avLst>
              </a:prstGeom>
              <a:blipFill>
                <a:blip r:embed="rId3"/>
                <a:srcRect/>
                <a:stretch>
                  <a:fillRect t="-153" b="-153"/>
                </a:stretch>
              </a:blipFill>
              <a:ln w="3175">
                <a:noFill/>
                <a:prstDash val="solid"/>
                <a:miter lim="800000"/>
                <a:headEnd/>
                <a:tailEnd/>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14354"/>
                <a:endParaRPr lang="zh-CN" altLang="en-US" kern="0">
                  <a:solidFill>
                    <a:srgbClr val="44546A">
                      <a:lumMod val="60000"/>
                      <a:lumOff val="40000"/>
                    </a:srgbClr>
                  </a:solidFill>
                </a:endParaRPr>
              </a:p>
            </p:txBody>
          </p:sp>
          <p:sp>
            <p:nvSpPr>
              <p:cNvPr id="160" name="矩形: 圆角 159">
                <a:extLst>
                  <a:ext uri="{FF2B5EF4-FFF2-40B4-BE49-F238E27FC236}">
                    <a16:creationId xmlns="" xmlns:a14="http://schemas.microsoft.com/office/drawing/2010/main" xmlns:p14="http://schemas.microsoft.com/office/powerpoint/2010/main" xmlns:a16="http://schemas.microsoft.com/office/drawing/2014/main" id="{4491213B-312B-4965-A8AF-91558B9C4872}"/>
                  </a:ext>
                </a:extLst>
              </p:cNvPr>
              <p:cNvSpPr>
                <a:spLocks noChangeAspect="1"/>
              </p:cNvSpPr>
              <p:nvPr/>
            </p:nvSpPr>
            <p:spPr>
              <a:xfrm>
                <a:off x="6839591" y="3950927"/>
                <a:ext cx="1189177" cy="668912"/>
              </a:xfrm>
              <a:prstGeom prst="roundRect">
                <a:avLst>
                  <a:gd name="adj" fmla="val 4418"/>
                </a:avLst>
              </a:prstGeom>
              <a:noFill/>
              <a:ln w="19050">
                <a:solidFill>
                  <a:srgbClr val="F734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16" name="组合 15">
              <a:extLst>
                <a:ext uri="{FF2B5EF4-FFF2-40B4-BE49-F238E27FC236}">
                  <a16:creationId xmlns="" xmlns:a14="http://schemas.microsoft.com/office/drawing/2010/main" xmlns:p14="http://schemas.microsoft.com/office/powerpoint/2010/main" xmlns:a16="http://schemas.microsoft.com/office/drawing/2014/main" id="{33AD0B02-1124-4118-881C-CF0D5138955B}"/>
                </a:ext>
              </a:extLst>
            </p:cNvPr>
            <p:cNvGrpSpPr/>
            <p:nvPr/>
          </p:nvGrpSpPr>
          <p:grpSpPr>
            <a:xfrm>
              <a:off x="4595239" y="1963866"/>
              <a:ext cx="3002400" cy="320240"/>
              <a:chOff x="4595239" y="1963866"/>
              <a:chExt cx="3002400" cy="320240"/>
            </a:xfrm>
          </p:grpSpPr>
          <p:grpSp>
            <p:nvGrpSpPr>
              <p:cNvPr id="5" name="组合 4">
                <a:extLst>
                  <a:ext uri="{FF2B5EF4-FFF2-40B4-BE49-F238E27FC236}">
                    <a16:creationId xmlns="" xmlns:a14="http://schemas.microsoft.com/office/drawing/2010/main" xmlns:p14="http://schemas.microsoft.com/office/powerpoint/2010/main" xmlns:a16="http://schemas.microsoft.com/office/drawing/2014/main" id="{6771DD05-1958-4BBA-A29F-081CA2709801}"/>
                  </a:ext>
                </a:extLst>
              </p:cNvPr>
              <p:cNvGrpSpPr/>
              <p:nvPr/>
            </p:nvGrpSpPr>
            <p:grpSpPr>
              <a:xfrm>
                <a:off x="4595239" y="1963866"/>
                <a:ext cx="3002400" cy="320240"/>
                <a:chOff x="8616223" y="1963866"/>
                <a:chExt cx="3002400" cy="320240"/>
              </a:xfrm>
            </p:grpSpPr>
            <p:sp>
              <p:nvSpPr>
                <p:cNvPr id="304" name="矩形 303">
                  <a:extLst>
                    <a:ext uri="{FF2B5EF4-FFF2-40B4-BE49-F238E27FC236}">
                      <a16:creationId xmlns="" xmlns:a14="http://schemas.microsoft.com/office/drawing/2010/main" xmlns:p14="http://schemas.microsoft.com/office/powerpoint/2010/main" xmlns:a16="http://schemas.microsoft.com/office/drawing/2014/main" id="{7398D68E-9E0E-4C67-8760-46BFB1A0317C}"/>
                    </a:ext>
                  </a:extLst>
                </p:cNvPr>
                <p:cNvSpPr/>
                <p:nvPr/>
              </p:nvSpPr>
              <p:spPr>
                <a:xfrm>
                  <a:off x="8616223" y="1963866"/>
                  <a:ext cx="3002400" cy="320240"/>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dirty="0"/>
                </a:p>
              </p:txBody>
            </p:sp>
            <p:sp>
              <p:nvSpPr>
                <p:cNvPr id="306" name="Multiply 213">
                  <a:extLst>
                    <a:ext uri="{FF2B5EF4-FFF2-40B4-BE49-F238E27FC236}">
                      <a16:creationId xmlns="" xmlns:a14="http://schemas.microsoft.com/office/drawing/2010/main" xmlns:p14="http://schemas.microsoft.com/office/powerpoint/2010/main" xmlns:a16="http://schemas.microsoft.com/office/drawing/2014/main" id="{43E705A9-8DE1-4719-A1A7-37B0C64B2F5A}"/>
                    </a:ext>
                  </a:extLst>
                </p:cNvPr>
                <p:cNvSpPr>
                  <a:spLocks noChangeAspect="1"/>
                </p:cNvSpPr>
                <p:nvPr/>
              </p:nvSpPr>
              <p:spPr>
                <a:xfrm>
                  <a:off x="11404732" y="2067944"/>
                  <a:ext cx="112084" cy="112084"/>
                </a:xfrm>
                <a:custGeom>
                  <a:avLst/>
                  <a:gdLst>
                    <a:gd name="T0" fmla="*/ 11040 w 11360"/>
                    <a:gd name="T1" fmla="*/ 320 h 11360"/>
                    <a:gd name="T2" fmla="*/ 11040 w 11360"/>
                    <a:gd name="T3" fmla="*/ 1360 h 11360"/>
                    <a:gd name="T4" fmla="*/ 6720 w 11360"/>
                    <a:gd name="T5" fmla="*/ 5680 h 11360"/>
                    <a:gd name="T6" fmla="*/ 11040 w 11360"/>
                    <a:gd name="T7" fmla="*/ 10000 h 11360"/>
                    <a:gd name="T8" fmla="*/ 11040 w 11360"/>
                    <a:gd name="T9" fmla="*/ 11040 h 11360"/>
                    <a:gd name="T10" fmla="*/ 10000 w 11360"/>
                    <a:gd name="T11" fmla="*/ 11040 h 11360"/>
                    <a:gd name="T12" fmla="*/ 5680 w 11360"/>
                    <a:gd name="T13" fmla="*/ 6720 h 11360"/>
                    <a:gd name="T14" fmla="*/ 1360 w 11360"/>
                    <a:gd name="T15" fmla="*/ 11040 h 11360"/>
                    <a:gd name="T16" fmla="*/ 320 w 11360"/>
                    <a:gd name="T17" fmla="*/ 11040 h 11360"/>
                    <a:gd name="T18" fmla="*/ 320 w 11360"/>
                    <a:gd name="T19" fmla="*/ 10000 h 11360"/>
                    <a:gd name="T20" fmla="*/ 4640 w 11360"/>
                    <a:gd name="T21" fmla="*/ 5680 h 11360"/>
                    <a:gd name="T22" fmla="*/ 320 w 11360"/>
                    <a:gd name="T23" fmla="*/ 1360 h 11360"/>
                    <a:gd name="T24" fmla="*/ 320 w 11360"/>
                    <a:gd name="T25" fmla="*/ 320 h 11360"/>
                    <a:gd name="T26" fmla="*/ 1360 w 11360"/>
                    <a:gd name="T27" fmla="*/ 320 h 11360"/>
                    <a:gd name="T28" fmla="*/ 5680 w 11360"/>
                    <a:gd name="T29" fmla="*/ 4640 h 11360"/>
                    <a:gd name="T30" fmla="*/ 10000 w 11360"/>
                    <a:gd name="T31" fmla="*/ 320 h 11360"/>
                    <a:gd name="T32" fmla="*/ 11040 w 11360"/>
                    <a:gd name="T33" fmla="*/ 320 h 1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60" h="11360">
                      <a:moveTo>
                        <a:pt x="11040" y="320"/>
                      </a:moveTo>
                      <a:cubicBezTo>
                        <a:pt x="11360" y="640"/>
                        <a:pt x="11360" y="1120"/>
                        <a:pt x="11040" y="1360"/>
                      </a:cubicBezTo>
                      <a:lnTo>
                        <a:pt x="6720" y="5680"/>
                      </a:lnTo>
                      <a:lnTo>
                        <a:pt x="11040" y="10000"/>
                      </a:lnTo>
                      <a:cubicBezTo>
                        <a:pt x="11360" y="10320"/>
                        <a:pt x="11360" y="10800"/>
                        <a:pt x="11040" y="11040"/>
                      </a:cubicBezTo>
                      <a:cubicBezTo>
                        <a:pt x="10720" y="11360"/>
                        <a:pt x="10240" y="11360"/>
                        <a:pt x="10000" y="11040"/>
                      </a:cubicBezTo>
                      <a:lnTo>
                        <a:pt x="5680" y="6720"/>
                      </a:lnTo>
                      <a:lnTo>
                        <a:pt x="1360" y="11040"/>
                      </a:lnTo>
                      <a:cubicBezTo>
                        <a:pt x="1040" y="11360"/>
                        <a:pt x="560" y="11360"/>
                        <a:pt x="320" y="11040"/>
                      </a:cubicBezTo>
                      <a:cubicBezTo>
                        <a:pt x="0" y="10720"/>
                        <a:pt x="0" y="10240"/>
                        <a:pt x="320" y="10000"/>
                      </a:cubicBezTo>
                      <a:lnTo>
                        <a:pt x="4640" y="5680"/>
                      </a:lnTo>
                      <a:lnTo>
                        <a:pt x="320" y="1360"/>
                      </a:lnTo>
                      <a:cubicBezTo>
                        <a:pt x="0" y="1040"/>
                        <a:pt x="0" y="560"/>
                        <a:pt x="320" y="320"/>
                      </a:cubicBezTo>
                      <a:cubicBezTo>
                        <a:pt x="640" y="80"/>
                        <a:pt x="1120" y="0"/>
                        <a:pt x="1360" y="320"/>
                      </a:cubicBezTo>
                      <a:lnTo>
                        <a:pt x="5680" y="4640"/>
                      </a:lnTo>
                      <a:lnTo>
                        <a:pt x="10000" y="320"/>
                      </a:lnTo>
                      <a:cubicBezTo>
                        <a:pt x="10240" y="0"/>
                        <a:pt x="10800" y="0"/>
                        <a:pt x="11040" y="320"/>
                      </a:cubicBezTo>
                      <a:close/>
                    </a:path>
                  </a:pathLst>
                </a:custGeom>
                <a:solidFill>
                  <a:schemeClr val="bg1"/>
                </a:solidFill>
                <a:ln w="127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54">
                    <a:defRPr/>
                  </a:pPr>
                  <a:endParaRPr lang="zh-CN" altLang="en-US" kern="0">
                    <a:solidFill>
                      <a:srgbClr val="FFFFFF"/>
                    </a:solidFill>
                    <a:latin typeface="Arial"/>
                    <a:ea typeface="微软雅黑"/>
                  </a:endParaRPr>
                </a:p>
              </p:txBody>
            </p:sp>
          </p:grpSp>
          <p:sp>
            <p:nvSpPr>
              <p:cNvPr id="332" name="矩形 331">
                <a:extLst>
                  <a:ext uri="{FF2B5EF4-FFF2-40B4-BE49-F238E27FC236}">
                    <a16:creationId xmlns="" xmlns:a14="http://schemas.microsoft.com/office/drawing/2010/main" xmlns:p14="http://schemas.microsoft.com/office/powerpoint/2010/main" xmlns:a16="http://schemas.microsoft.com/office/drawing/2014/main" id="{45B452B5-600E-402C-A6E0-97D72A78CA3F}"/>
                  </a:ext>
                </a:extLst>
              </p:cNvPr>
              <p:cNvSpPr/>
              <p:nvPr/>
            </p:nvSpPr>
            <p:spPr>
              <a:xfrm>
                <a:off x="4715292" y="2038873"/>
                <a:ext cx="1548011" cy="153888"/>
              </a:xfrm>
              <a:prstGeom prst="rect">
                <a:avLst/>
              </a:prstGeom>
            </p:spPr>
            <p:txBody>
              <a:bodyPr wrap="square" lIns="0" tIns="0" rIns="0" bIns="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r>
                  <a:rPr lang="zh-CN" altLang="en-US" sz="1000" kern="0" dirty="0">
                    <a:solidFill>
                      <a:srgbClr val="FFFFFF"/>
                    </a:solidFill>
                  </a:rPr>
                  <a:t>图片库 </a:t>
                </a:r>
                <a:r>
                  <a:rPr lang="en-US" altLang="zh-CN" sz="1000" kern="0" dirty="0">
                    <a:solidFill>
                      <a:srgbClr val="FFFFFF"/>
                    </a:solidFill>
                  </a:rPr>
                  <a:t>/ </a:t>
                </a:r>
                <a:r>
                  <a:rPr lang="en-US" altLang="zh-CN" sz="1000" kern="0">
                    <a:solidFill>
                      <a:srgbClr val="FFFFFF"/>
                    </a:solidFill>
                  </a:rPr>
                  <a:t>Picture </a:t>
                </a:r>
                <a:r>
                  <a:rPr lang="en-US" altLang="zh-CN" sz="1000" kern="0" smtClean="0">
                    <a:solidFill>
                      <a:srgbClr val="FFFFFF"/>
                    </a:solidFill>
                  </a:rPr>
                  <a:t>Lib</a:t>
                </a:r>
                <a:r>
                  <a:rPr lang="en-US" altLang="zh-CN" sz="100" kern="0" smtClean="0">
                    <a:solidFill>
                      <a:srgbClr val="FFFFFF"/>
                    </a:solidFill>
                  </a:rPr>
                  <a:t> </a:t>
                </a:r>
                <a:r>
                  <a:rPr lang="en-US" altLang="zh-CN" sz="1000" kern="0" smtClean="0">
                    <a:solidFill>
                      <a:srgbClr val="FFFFFF"/>
                    </a:solidFill>
                  </a:rPr>
                  <a:t>rary</a:t>
                </a:r>
                <a:endParaRPr lang="zh-CN" altLang="en-US" sz="1000" kern="0" dirty="0">
                  <a:solidFill>
                    <a:srgbClr val="FFFFFF"/>
                  </a:solidFill>
                </a:endParaRPr>
              </a:p>
            </p:txBody>
          </p:sp>
        </p:grpSp>
        <p:grpSp>
          <p:nvGrpSpPr>
            <p:cNvPr id="335" name="组合 334">
              <a:extLst>
                <a:ext uri="{FF2B5EF4-FFF2-40B4-BE49-F238E27FC236}">
                  <a16:creationId xmlns="" xmlns:a14="http://schemas.microsoft.com/office/drawing/2010/main" xmlns:p14="http://schemas.microsoft.com/office/powerpoint/2010/main" xmlns:a16="http://schemas.microsoft.com/office/drawing/2014/main" id="{CEBCA69B-D1BD-4ED3-8A2A-EB25AD703A2E}"/>
                </a:ext>
              </a:extLst>
            </p:cNvPr>
            <p:cNvGrpSpPr/>
            <p:nvPr/>
          </p:nvGrpSpPr>
          <p:grpSpPr>
            <a:xfrm>
              <a:off x="4715293" y="2404041"/>
              <a:ext cx="1638861" cy="160073"/>
              <a:chOff x="4248155" y="2141651"/>
              <a:chExt cx="1474301" cy="144000"/>
            </a:xfrm>
            <a:solidFill>
              <a:srgbClr val="E7E5EA"/>
            </a:solidFill>
          </p:grpSpPr>
          <p:sp>
            <p:nvSpPr>
              <p:cNvPr id="489" name="矩形 488">
                <a:extLst>
                  <a:ext uri="{FF2B5EF4-FFF2-40B4-BE49-F238E27FC236}">
                    <a16:creationId xmlns="" xmlns:a14="http://schemas.microsoft.com/office/drawing/2010/main" xmlns:p14="http://schemas.microsoft.com/office/powerpoint/2010/main" xmlns:a16="http://schemas.microsoft.com/office/drawing/2014/main" id="{0F78271F-C2BF-49C2-BC46-681981BE5043}"/>
                  </a:ext>
                </a:extLst>
              </p:cNvPr>
              <p:cNvSpPr>
                <a:spLocks/>
              </p:cNvSpPr>
              <p:nvPr/>
            </p:nvSpPr>
            <p:spPr>
              <a:xfrm>
                <a:off x="424815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90" name="矩形 489">
                <a:extLst>
                  <a:ext uri="{FF2B5EF4-FFF2-40B4-BE49-F238E27FC236}">
                    <a16:creationId xmlns="" xmlns:a14="http://schemas.microsoft.com/office/drawing/2010/main" xmlns:p14="http://schemas.microsoft.com/office/powerpoint/2010/main" xmlns:a16="http://schemas.microsoft.com/office/drawing/2014/main" id="{A3015197-78E9-42A1-B8A4-70DAA4C54124}"/>
                  </a:ext>
                </a:extLst>
              </p:cNvPr>
              <p:cNvSpPr>
                <a:spLocks/>
              </p:cNvSpPr>
              <p:nvPr/>
            </p:nvSpPr>
            <p:spPr>
              <a:xfrm>
                <a:off x="464824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91" name="矩形 490">
                <a:extLst>
                  <a:ext uri="{FF2B5EF4-FFF2-40B4-BE49-F238E27FC236}">
                    <a16:creationId xmlns="" xmlns:a14="http://schemas.microsoft.com/office/drawing/2010/main" xmlns:p14="http://schemas.microsoft.com/office/powerpoint/2010/main" xmlns:a16="http://schemas.microsoft.com/office/drawing/2014/main" id="{BBC16AC2-873F-45AE-B3C1-DA18A14F30AD}"/>
                  </a:ext>
                </a:extLst>
              </p:cNvPr>
              <p:cNvSpPr>
                <a:spLocks/>
              </p:cNvSpPr>
              <p:nvPr/>
            </p:nvSpPr>
            <p:spPr>
              <a:xfrm>
                <a:off x="504424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sp>
            <p:nvSpPr>
              <p:cNvPr id="495" name="矩形 494">
                <a:extLst>
                  <a:ext uri="{FF2B5EF4-FFF2-40B4-BE49-F238E27FC236}">
                    <a16:creationId xmlns="" xmlns:a14="http://schemas.microsoft.com/office/drawing/2010/main" xmlns:p14="http://schemas.microsoft.com/office/powerpoint/2010/main" xmlns:a16="http://schemas.microsoft.com/office/drawing/2014/main" id="{9C5D8EE9-3878-48C8-9E66-C90EC64D4EC8}"/>
                  </a:ext>
                </a:extLst>
              </p:cNvPr>
              <p:cNvSpPr>
                <a:spLocks/>
              </p:cNvSpPr>
              <p:nvPr/>
            </p:nvSpPr>
            <p:spPr>
              <a:xfrm>
                <a:off x="5434456"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grpSp>
        <p:grpSp>
          <p:nvGrpSpPr>
            <p:cNvPr id="336" name="组合 335">
              <a:extLst>
                <a:ext uri="{FF2B5EF4-FFF2-40B4-BE49-F238E27FC236}">
                  <a16:creationId xmlns="" xmlns:a14="http://schemas.microsoft.com/office/drawing/2010/main" xmlns:p14="http://schemas.microsoft.com/office/powerpoint/2010/main" xmlns:a16="http://schemas.microsoft.com/office/drawing/2014/main" id="{9E841455-3E39-47E0-89F1-4A6589854638}"/>
                </a:ext>
              </a:extLst>
            </p:cNvPr>
            <p:cNvGrpSpPr/>
            <p:nvPr/>
          </p:nvGrpSpPr>
          <p:grpSpPr>
            <a:xfrm>
              <a:off x="6715511" y="2404041"/>
              <a:ext cx="761195" cy="160073"/>
              <a:chOff x="6047529" y="2141651"/>
              <a:chExt cx="684762" cy="144000"/>
            </a:xfrm>
            <a:solidFill>
              <a:srgbClr val="E7E5EA"/>
            </a:solidFill>
          </p:grpSpPr>
          <p:sp>
            <p:nvSpPr>
              <p:cNvPr id="487" name="矩形 486">
                <a:extLst>
                  <a:ext uri="{FF2B5EF4-FFF2-40B4-BE49-F238E27FC236}">
                    <a16:creationId xmlns="" xmlns:a14="http://schemas.microsoft.com/office/drawing/2010/main" xmlns:p14="http://schemas.microsoft.com/office/powerpoint/2010/main" xmlns:a16="http://schemas.microsoft.com/office/drawing/2014/main" id="{AAE592BD-4F78-41C6-A563-482A2416386F}"/>
                  </a:ext>
                </a:extLst>
              </p:cNvPr>
              <p:cNvSpPr>
                <a:spLocks/>
              </p:cNvSpPr>
              <p:nvPr/>
            </p:nvSpPr>
            <p:spPr>
              <a:xfrm>
                <a:off x="6047529"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88" name="矩形 487">
                <a:extLst>
                  <a:ext uri="{FF2B5EF4-FFF2-40B4-BE49-F238E27FC236}">
                    <a16:creationId xmlns="" xmlns:a14="http://schemas.microsoft.com/office/drawing/2010/main" xmlns:p14="http://schemas.microsoft.com/office/powerpoint/2010/main" xmlns:a16="http://schemas.microsoft.com/office/drawing/2014/main" id="{42C3DBA0-3D8A-43C4-BDE9-15381F8C0043}"/>
                  </a:ext>
                </a:extLst>
              </p:cNvPr>
              <p:cNvSpPr>
                <a:spLocks/>
              </p:cNvSpPr>
              <p:nvPr/>
            </p:nvSpPr>
            <p:spPr>
              <a:xfrm>
                <a:off x="6444291"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sp>
        <p:nvSpPr>
          <p:cNvPr id="613" name="文本框 612">
            <a:extLst>
              <a:ext uri="{FF2B5EF4-FFF2-40B4-BE49-F238E27FC236}">
                <a16:creationId xmlns="" xmlns:a14="http://schemas.microsoft.com/office/drawing/2010/main" xmlns:p14="http://schemas.microsoft.com/office/powerpoint/2010/main" xmlns:a16="http://schemas.microsoft.com/office/drawing/2014/main" id="{8AD2200D-CA44-4767-84EF-C1856654B4FA}"/>
              </a:ext>
            </a:extLst>
          </p:cNvPr>
          <p:cNvSpPr txBox="1"/>
          <p:nvPr/>
        </p:nvSpPr>
        <p:spPr>
          <a:xfrm>
            <a:off x="4916703" y="5387482"/>
            <a:ext cx="2558947" cy="553998"/>
          </a:xfrm>
          <a:prstGeom prst="rect">
            <a:avLst/>
          </a:prstGeom>
          <a:noFill/>
        </p:spPr>
        <p:txBody>
          <a:bodyPr wrap="square" rtlCol="0" anchor="ctr">
            <a:spAutoFit/>
          </a:bodyPr>
          <a:lstStyle/>
          <a:p>
            <a:r>
              <a:rPr lang="zh-CN" altLang="en-US" sz="1000" dirty="0">
                <a:solidFill>
                  <a:srgbClr val="2F2F2F"/>
                </a:solidFill>
              </a:rPr>
              <a:t>点击 </a:t>
            </a:r>
            <a:r>
              <a:rPr lang="en-US" altLang="zh-CN" sz="1000" dirty="0" err="1">
                <a:solidFill>
                  <a:srgbClr val="2F2F2F"/>
                </a:solidFill>
              </a:rPr>
              <a:t>iSlide</a:t>
            </a:r>
            <a:r>
              <a:rPr lang="en-US" altLang="zh-CN" sz="1000" dirty="0">
                <a:solidFill>
                  <a:srgbClr val="2F2F2F"/>
                </a:solidFill>
              </a:rPr>
              <a:t>【</a:t>
            </a:r>
            <a:r>
              <a:rPr lang="zh-CN" altLang="en-US" sz="1000" dirty="0">
                <a:solidFill>
                  <a:srgbClr val="2F2F2F"/>
                </a:solidFill>
              </a:rPr>
              <a:t>图片库</a:t>
            </a:r>
            <a:r>
              <a:rPr lang="en-US" altLang="zh-CN" sz="1000" dirty="0">
                <a:solidFill>
                  <a:srgbClr val="2F2F2F"/>
                </a:solidFill>
              </a:rPr>
              <a:t>】</a:t>
            </a:r>
            <a:r>
              <a:rPr lang="zh-CN" altLang="en-US" sz="1000" dirty="0">
                <a:solidFill>
                  <a:srgbClr val="2F2F2F"/>
                </a:solidFill>
              </a:rPr>
              <a:t>中的图片替换</a:t>
            </a:r>
            <a:endParaRPr lang="en-US" altLang="zh-CN" sz="1000" dirty="0">
              <a:solidFill>
                <a:srgbClr val="2F2F2F"/>
              </a:solidFill>
            </a:endParaRPr>
          </a:p>
          <a:p>
            <a:r>
              <a:rPr lang="en-US" altLang="zh-CN" sz="1000" dirty="0">
                <a:solidFill>
                  <a:srgbClr val="2F2F2F"/>
                </a:solidFill>
              </a:rPr>
              <a:t>Click the target picture in iSlide “Picture Library” to </a:t>
            </a:r>
            <a:r>
              <a:rPr lang="en-US" altLang="zh-CN" sz="1000">
                <a:solidFill>
                  <a:srgbClr val="2F2F2F"/>
                </a:solidFill>
              </a:rPr>
              <a:t>insert </a:t>
            </a:r>
            <a:r>
              <a:rPr lang="en-US" altLang="zh-CN" sz="100" smtClean="0">
                <a:solidFill>
                  <a:srgbClr val="2F2F2F"/>
                </a:solidFill>
              </a:rPr>
              <a:t> </a:t>
            </a:r>
            <a:r>
              <a:rPr lang="en-US" altLang="zh-CN" sz="1000" smtClean="0">
                <a:solidFill>
                  <a:srgbClr val="2F2F2F"/>
                </a:solidFill>
              </a:rPr>
              <a:t>it </a:t>
            </a:r>
            <a:r>
              <a:rPr lang="en-US" altLang="zh-CN" sz="1000" dirty="0">
                <a:solidFill>
                  <a:srgbClr val="2F2F2F"/>
                </a:solidFill>
              </a:rPr>
              <a:t>into the shape</a:t>
            </a:r>
            <a:endParaRPr lang="zh-CN" altLang="en-US" sz="1000" dirty="0">
              <a:solidFill>
                <a:srgbClr val="2F2F2F"/>
              </a:solidFill>
            </a:endParaRPr>
          </a:p>
        </p:txBody>
      </p:sp>
      <p:sp>
        <p:nvSpPr>
          <p:cNvPr id="614" name="椭圆 613">
            <a:extLst>
              <a:ext uri="{FF2B5EF4-FFF2-40B4-BE49-F238E27FC236}">
                <a16:creationId xmlns="" xmlns:a14="http://schemas.microsoft.com/office/drawing/2010/main" xmlns:p14="http://schemas.microsoft.com/office/powerpoint/2010/main" xmlns:a16="http://schemas.microsoft.com/office/drawing/2014/main" id="{0EF98DBB-FD28-4F75-8C30-91D37F4F411F}"/>
              </a:ext>
            </a:extLst>
          </p:cNvPr>
          <p:cNvSpPr/>
          <p:nvPr/>
        </p:nvSpPr>
        <p:spPr>
          <a:xfrm>
            <a:off x="4595244" y="5526315"/>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2</a:t>
            </a:r>
            <a:endParaRPr lang="zh-CN" altLang="en-US" sz="1200" dirty="0"/>
          </a:p>
        </p:txBody>
      </p:sp>
      <p:sp>
        <p:nvSpPr>
          <p:cNvPr id="891" name="Right Arrow 751">
            <a:extLst>
              <a:ext uri="{FF2B5EF4-FFF2-40B4-BE49-F238E27FC236}">
                <a16:creationId xmlns="" xmlns:a14="http://schemas.microsoft.com/office/drawing/2010/main" xmlns:p14="http://schemas.microsoft.com/office/powerpoint/2010/main" xmlns:a16="http://schemas.microsoft.com/office/drawing/2014/main" id="{262E38B2-0226-44BA-9105-CB532FA15FCA}"/>
              </a:ext>
            </a:extLst>
          </p:cNvPr>
          <p:cNvSpPr/>
          <p:nvPr/>
        </p:nvSpPr>
        <p:spPr>
          <a:xfrm>
            <a:off x="7720845" y="3338119"/>
            <a:ext cx="174147" cy="156344"/>
          </a:xfrm>
          <a:custGeom>
            <a:avLst/>
            <a:gdLst>
              <a:gd name="T0" fmla="*/ 4048 w 6714"/>
              <a:gd name="T1" fmla="*/ 194 h 6036"/>
              <a:gd name="T2" fmla="*/ 3696 w 6714"/>
              <a:gd name="T3" fmla="*/ 340 h 6036"/>
              <a:gd name="T4" fmla="*/ 3696 w 6714"/>
              <a:gd name="T5" fmla="*/ 1283 h 6036"/>
              <a:gd name="T6" fmla="*/ 199 w 6714"/>
              <a:gd name="T7" fmla="*/ 1283 h 6036"/>
              <a:gd name="T8" fmla="*/ 0 w 6714"/>
              <a:gd name="T9" fmla="*/ 1482 h 6036"/>
              <a:gd name="T10" fmla="*/ 0 w 6714"/>
              <a:gd name="T11" fmla="*/ 4553 h 6036"/>
              <a:gd name="T12" fmla="*/ 199 w 6714"/>
              <a:gd name="T13" fmla="*/ 4752 h 6036"/>
              <a:gd name="T14" fmla="*/ 3696 w 6714"/>
              <a:gd name="T15" fmla="*/ 4752 h 6036"/>
              <a:gd name="T16" fmla="*/ 3696 w 6714"/>
              <a:gd name="T17" fmla="*/ 5696 h 6036"/>
              <a:gd name="T18" fmla="*/ 4048 w 6714"/>
              <a:gd name="T19" fmla="*/ 5842 h 6036"/>
              <a:gd name="T20" fmla="*/ 6520 w 6714"/>
              <a:gd name="T21" fmla="*/ 3369 h 6036"/>
              <a:gd name="T22" fmla="*/ 6520 w 6714"/>
              <a:gd name="T23" fmla="*/ 2666 h 6036"/>
              <a:gd name="T24" fmla="*/ 4048 w 6714"/>
              <a:gd name="T25" fmla="*/ 194 h 6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14" h="6036">
                <a:moveTo>
                  <a:pt x="4048" y="194"/>
                </a:moveTo>
                <a:cubicBezTo>
                  <a:pt x="3853" y="0"/>
                  <a:pt x="3696" y="65"/>
                  <a:pt x="3696" y="340"/>
                </a:cubicBezTo>
                <a:lnTo>
                  <a:pt x="3696" y="1283"/>
                </a:lnTo>
                <a:lnTo>
                  <a:pt x="199" y="1283"/>
                </a:lnTo>
                <a:cubicBezTo>
                  <a:pt x="89" y="1283"/>
                  <a:pt x="0" y="1372"/>
                  <a:pt x="0" y="1482"/>
                </a:cubicBezTo>
                <a:lnTo>
                  <a:pt x="0" y="4553"/>
                </a:lnTo>
                <a:cubicBezTo>
                  <a:pt x="0" y="4663"/>
                  <a:pt x="89" y="4752"/>
                  <a:pt x="199" y="4752"/>
                </a:cubicBezTo>
                <a:lnTo>
                  <a:pt x="3696" y="4752"/>
                </a:lnTo>
                <a:lnTo>
                  <a:pt x="3696" y="5696"/>
                </a:lnTo>
                <a:cubicBezTo>
                  <a:pt x="3696" y="5971"/>
                  <a:pt x="3853" y="6036"/>
                  <a:pt x="4048" y="5842"/>
                </a:cubicBezTo>
                <a:lnTo>
                  <a:pt x="6520" y="3369"/>
                </a:lnTo>
                <a:cubicBezTo>
                  <a:pt x="6714" y="3175"/>
                  <a:pt x="6714" y="2860"/>
                  <a:pt x="6520" y="2666"/>
                </a:cubicBezTo>
                <a:lnTo>
                  <a:pt x="4048" y="194"/>
                </a:lnTo>
                <a:close/>
              </a:path>
            </a:pathLst>
          </a:custGeom>
          <a:solidFill>
            <a:srgbClr val="867B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753" name="文本框 752">
            <a:extLst>
              <a:ext uri="{FF2B5EF4-FFF2-40B4-BE49-F238E27FC236}">
                <a16:creationId xmlns="" xmlns:a14="http://schemas.microsoft.com/office/drawing/2010/main" xmlns:p14="http://schemas.microsoft.com/office/powerpoint/2010/main" xmlns:a16="http://schemas.microsoft.com/office/drawing/2014/main" id="{64E2827D-DD54-493E-8009-F97E8BD7C996}"/>
              </a:ext>
            </a:extLst>
          </p:cNvPr>
          <p:cNvSpPr txBox="1"/>
          <p:nvPr/>
        </p:nvSpPr>
        <p:spPr>
          <a:xfrm>
            <a:off x="8346455" y="5387493"/>
            <a:ext cx="3174039" cy="553998"/>
          </a:xfrm>
          <a:prstGeom prst="rect">
            <a:avLst/>
          </a:prstGeom>
          <a:noFill/>
        </p:spPr>
        <p:txBody>
          <a:bodyPr wrap="square" rtlCol="0" anchor="ctr">
            <a:spAutoFit/>
          </a:bodyPr>
          <a:lstStyle/>
          <a:p>
            <a:r>
              <a:rPr lang="zh-CN" altLang="en-US" sz="1000" dirty="0">
                <a:solidFill>
                  <a:srgbClr val="2F2F2F"/>
                </a:solidFill>
              </a:rPr>
              <a:t>自动填充，图片保持比例不变</a:t>
            </a:r>
            <a:endParaRPr lang="en-US" altLang="zh-CN" sz="1000" dirty="0">
              <a:solidFill>
                <a:srgbClr val="2F2F2F"/>
              </a:solidFill>
            </a:endParaRPr>
          </a:p>
          <a:p>
            <a:r>
              <a:rPr lang="en-US" altLang="zh-CN" sz="1000" dirty="0">
                <a:solidFill>
                  <a:srgbClr val="2F2F2F"/>
                </a:solidFill>
              </a:rPr>
              <a:t>The picture will be filled in the shape automatically while maintaining </a:t>
            </a:r>
            <a:r>
              <a:rPr lang="en-US" altLang="zh-CN" sz="1000">
                <a:solidFill>
                  <a:srgbClr val="2F2F2F"/>
                </a:solidFill>
              </a:rPr>
              <a:t>the </a:t>
            </a:r>
            <a:r>
              <a:rPr lang="en-US" altLang="zh-CN" sz="1000" smtClean="0">
                <a:solidFill>
                  <a:srgbClr val="2F2F2F"/>
                </a:solidFill>
              </a:rPr>
              <a:t>or</a:t>
            </a:r>
            <a:r>
              <a:rPr lang="en-US" altLang="zh-CN" sz="100" smtClean="0">
                <a:solidFill>
                  <a:srgbClr val="2F2F2F"/>
                </a:solidFill>
              </a:rPr>
              <a:t> </a:t>
            </a:r>
            <a:r>
              <a:rPr lang="en-US" altLang="zh-CN" sz="1000" smtClean="0">
                <a:solidFill>
                  <a:srgbClr val="2F2F2F"/>
                </a:solidFill>
              </a:rPr>
              <a:t>iginal </a:t>
            </a:r>
            <a:r>
              <a:rPr lang="en-US" altLang="zh-CN" sz="1000" dirty="0">
                <a:solidFill>
                  <a:srgbClr val="2F2F2F"/>
                </a:solidFill>
              </a:rPr>
              <a:t>aspect ratio</a:t>
            </a:r>
            <a:endParaRPr lang="zh-CN" altLang="en-US" sz="1000" dirty="0">
              <a:solidFill>
                <a:srgbClr val="2F2F2F"/>
              </a:solidFill>
            </a:endParaRPr>
          </a:p>
        </p:txBody>
      </p:sp>
      <p:sp>
        <p:nvSpPr>
          <p:cNvPr id="754" name="椭圆 753">
            <a:extLst>
              <a:ext uri="{FF2B5EF4-FFF2-40B4-BE49-F238E27FC236}">
                <a16:creationId xmlns="" xmlns:a14="http://schemas.microsoft.com/office/drawing/2010/main" xmlns:p14="http://schemas.microsoft.com/office/powerpoint/2010/main" xmlns:a16="http://schemas.microsoft.com/office/drawing/2014/main" id="{2CAE1083-0567-4F35-9DA3-912D7BA86E08}"/>
              </a:ext>
            </a:extLst>
          </p:cNvPr>
          <p:cNvSpPr/>
          <p:nvPr/>
        </p:nvSpPr>
        <p:spPr>
          <a:xfrm>
            <a:off x="8024992" y="5526324"/>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3</a:t>
            </a:r>
            <a:endParaRPr lang="zh-CN" altLang="en-US" sz="1200" dirty="0"/>
          </a:p>
        </p:txBody>
      </p:sp>
      <p:grpSp>
        <p:nvGrpSpPr>
          <p:cNvPr id="6" name="组合 5">
            <a:extLst>
              <a:ext uri="{FF2B5EF4-FFF2-40B4-BE49-F238E27FC236}">
                <a16:creationId xmlns="" xmlns:a14="http://schemas.microsoft.com/office/drawing/2010/main" xmlns:p14="http://schemas.microsoft.com/office/powerpoint/2010/main" xmlns:a16="http://schemas.microsoft.com/office/drawing/2014/main" id="{05CB054B-5632-4BEE-B55C-057A66B51EA7}"/>
              </a:ext>
            </a:extLst>
          </p:cNvPr>
          <p:cNvGrpSpPr/>
          <p:nvPr/>
        </p:nvGrpSpPr>
        <p:grpSpPr>
          <a:xfrm>
            <a:off x="660400" y="1959178"/>
            <a:ext cx="3493913" cy="2403813"/>
            <a:chOff x="660400" y="1959178"/>
            <a:chExt cx="3493913" cy="2403813"/>
          </a:xfrm>
        </p:grpSpPr>
        <p:sp>
          <p:nvSpPr>
            <p:cNvPr id="795" name="Rectangle 10">
              <a:extLst>
                <a:ext uri="{FF2B5EF4-FFF2-40B4-BE49-F238E27FC236}">
                  <a16:creationId xmlns="" xmlns:a14="http://schemas.microsoft.com/office/drawing/2010/main" xmlns:p14="http://schemas.microsoft.com/office/powerpoint/2010/main" xmlns:a16="http://schemas.microsoft.com/office/drawing/2014/main" id="{EB08811A-69A0-4B03-AD69-4D4093A4A1A1}"/>
                </a:ext>
              </a:extLst>
            </p:cNvPr>
            <p:cNvSpPr>
              <a:spLocks noChangeArrowheads="1"/>
            </p:cNvSpPr>
            <p:nvPr/>
          </p:nvSpPr>
          <p:spPr bwMode="auto">
            <a:xfrm>
              <a:off x="809622" y="2219171"/>
              <a:ext cx="3240163" cy="17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nvGrpSpPr>
            <p:cNvPr id="10" name="组合 9">
              <a:extLst>
                <a:ext uri="{FF2B5EF4-FFF2-40B4-BE49-F238E27FC236}">
                  <a16:creationId xmlns="" xmlns:a14="http://schemas.microsoft.com/office/drawing/2010/main" xmlns:p14="http://schemas.microsoft.com/office/powerpoint/2010/main" xmlns:a16="http://schemas.microsoft.com/office/drawing/2014/main" id="{5B9E7E2D-AC2C-49EF-846B-D2112A03771B}"/>
                </a:ext>
              </a:extLst>
            </p:cNvPr>
            <p:cNvGrpSpPr/>
            <p:nvPr/>
          </p:nvGrpSpPr>
          <p:grpSpPr>
            <a:xfrm>
              <a:off x="660400" y="1959178"/>
              <a:ext cx="3493913" cy="2403813"/>
              <a:chOff x="673100" y="1959176"/>
              <a:chExt cx="3493913" cy="2403813"/>
            </a:xfrm>
          </p:grpSpPr>
          <p:grpSp>
            <p:nvGrpSpPr>
              <p:cNvPr id="630" name="组合 629">
                <a:extLst>
                  <a:ext uri="{FF2B5EF4-FFF2-40B4-BE49-F238E27FC236}">
                    <a16:creationId xmlns="" xmlns:a14="http://schemas.microsoft.com/office/drawing/2010/main" xmlns:p14="http://schemas.microsoft.com/office/powerpoint/2010/main" xmlns:a16="http://schemas.microsoft.com/office/drawing/2014/main" id="{510829D3-93DD-45B8-B4CA-857E2EF8EBCC}"/>
                  </a:ext>
                </a:extLst>
              </p:cNvPr>
              <p:cNvGrpSpPr/>
              <p:nvPr/>
            </p:nvGrpSpPr>
            <p:grpSpPr>
              <a:xfrm>
                <a:off x="673100" y="1959176"/>
                <a:ext cx="3493913" cy="2403813"/>
                <a:chOff x="673100" y="1959176"/>
                <a:chExt cx="3493913" cy="2403813"/>
              </a:xfrm>
            </p:grpSpPr>
            <p:sp>
              <p:nvSpPr>
                <p:cNvPr id="631" name="Freeform 6">
                  <a:extLst>
                    <a:ext uri="{FF2B5EF4-FFF2-40B4-BE49-F238E27FC236}">
                      <a16:creationId xmlns="" xmlns:a14="http://schemas.microsoft.com/office/drawing/2010/main" xmlns:p14="http://schemas.microsoft.com/office/powerpoint/2010/main" xmlns:a16="http://schemas.microsoft.com/office/drawing/2014/main" id="{72294BB5-13DA-4B6E-865D-2BD4E411B558}"/>
                    </a:ext>
                  </a:extLst>
                </p:cNvPr>
                <p:cNvSpPr>
                  <a:spLocks/>
                </p:cNvSpPr>
                <p:nvPr/>
              </p:nvSpPr>
              <p:spPr bwMode="auto">
                <a:xfrm>
                  <a:off x="673100" y="1959176"/>
                  <a:ext cx="3493913" cy="2403813"/>
                </a:xfrm>
                <a:prstGeom prst="rect">
                  <a:avLst/>
                </a:prstGeom>
                <a:gradFill>
                  <a:gsLst>
                    <a:gs pos="83000">
                      <a:schemeClr val="bg1"/>
                    </a:gs>
                    <a:gs pos="100000">
                      <a:schemeClr val="bg1">
                        <a:alpha val="0"/>
                      </a:schemeClr>
                    </a:gs>
                  </a:gsLst>
                  <a:lin ang="5400000" scaled="1"/>
                </a:gradFill>
                <a:ln w="9525">
                  <a:noFill/>
                  <a:round/>
                  <a:headEnd/>
                  <a:tailEnd/>
                </a:ln>
                <a:effectLst>
                  <a:outerShdw blurRad="63500" sx="102000" sy="102000" algn="ctr" rotWithShape="0">
                    <a:srgbClr val="E7E5EA">
                      <a:alpha val="50000"/>
                    </a:srgbClr>
                  </a:outerShdw>
                </a:effectLst>
              </p:spPr>
              <p:txBody>
                <a:bodyPr vert="horz" wrap="square" lIns="91440" tIns="45720" rIns="91440" bIns="45720" numCol="1" anchor="t" anchorCtr="0" compatLnSpc="1">
                  <a:prstTxWarp prst="textNoShape">
                    <a:avLst/>
                  </a:prstTxWarp>
                </a:bodyPr>
                <a:lstStyle/>
                <a:p>
                  <a:endParaRPr lang="zh-CN" altLang="en-US" dirty="0"/>
                </a:p>
              </p:txBody>
            </p:sp>
            <p:sp>
              <p:nvSpPr>
                <p:cNvPr id="632" name="矩形: 圆角 631">
                  <a:extLst>
                    <a:ext uri="{FF2B5EF4-FFF2-40B4-BE49-F238E27FC236}">
                      <a16:creationId xmlns="" xmlns:a14="http://schemas.microsoft.com/office/drawing/2010/main" xmlns:p14="http://schemas.microsoft.com/office/powerpoint/2010/main" xmlns:a16="http://schemas.microsoft.com/office/drawing/2014/main" id="{B0A9673E-E45E-40E8-8394-D4D234EB83B1}"/>
                    </a:ext>
                  </a:extLst>
                </p:cNvPr>
                <p:cNvSpPr>
                  <a:spLocks noChangeAspect="1"/>
                </p:cNvSpPr>
                <p:nvPr/>
              </p:nvSpPr>
              <p:spPr>
                <a:xfrm>
                  <a:off x="810452" y="2742993"/>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33" name="Rectangle 8">
                  <a:extLst>
                    <a:ext uri="{FF2B5EF4-FFF2-40B4-BE49-F238E27FC236}">
                      <a16:creationId xmlns="" xmlns:a14="http://schemas.microsoft.com/office/drawing/2010/main" xmlns:p14="http://schemas.microsoft.com/office/powerpoint/2010/main" xmlns:a16="http://schemas.microsoft.com/office/drawing/2014/main" id="{2DF9B9B3-2C87-4FB7-B3F8-0991D49AA9E1}"/>
                    </a:ext>
                  </a:extLst>
                </p:cNvPr>
                <p:cNvSpPr>
                  <a:spLocks noChangeArrowheads="1"/>
                </p:cNvSpPr>
                <p:nvPr/>
              </p:nvSpPr>
              <p:spPr bwMode="auto">
                <a:xfrm>
                  <a:off x="810454" y="2228518"/>
                  <a:ext cx="3240163" cy="311711"/>
                </a:xfrm>
                <a:prstGeom prst="rect">
                  <a:avLst/>
                </a:prstGeom>
                <a:solidFill>
                  <a:srgbClr val="F0EE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34" name="Rectangle 9">
                  <a:extLst>
                    <a:ext uri="{FF2B5EF4-FFF2-40B4-BE49-F238E27FC236}">
                      <a16:creationId xmlns="" xmlns:a14="http://schemas.microsoft.com/office/drawing/2010/main" xmlns:p14="http://schemas.microsoft.com/office/powerpoint/2010/main" xmlns:a16="http://schemas.microsoft.com/office/drawing/2014/main" id="{F1ABC1A6-AE5D-408B-A4FD-9442DE6B2C82}"/>
                    </a:ext>
                  </a:extLst>
                </p:cNvPr>
                <p:cNvSpPr>
                  <a:spLocks noChangeArrowheads="1"/>
                </p:cNvSpPr>
                <p:nvPr/>
              </p:nvSpPr>
              <p:spPr bwMode="auto">
                <a:xfrm>
                  <a:off x="810454" y="2228518"/>
                  <a:ext cx="3240163" cy="181579"/>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35" name="Oval 14">
                  <a:extLst>
                    <a:ext uri="{FF2B5EF4-FFF2-40B4-BE49-F238E27FC236}">
                      <a16:creationId xmlns="" xmlns:a14="http://schemas.microsoft.com/office/drawing/2010/main" xmlns:p14="http://schemas.microsoft.com/office/powerpoint/2010/main" xmlns:a16="http://schemas.microsoft.com/office/drawing/2014/main" id="{596E97CB-AB40-4317-A22D-F6D78AB0F39B}"/>
                    </a:ext>
                  </a:extLst>
                </p:cNvPr>
                <p:cNvSpPr>
                  <a:spLocks noChangeArrowheads="1"/>
                </p:cNvSpPr>
                <p:nvPr/>
              </p:nvSpPr>
              <p:spPr bwMode="auto">
                <a:xfrm>
                  <a:off x="1171610" y="2098386"/>
                  <a:ext cx="59552"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36" name="Oval 15">
                  <a:extLst>
                    <a:ext uri="{FF2B5EF4-FFF2-40B4-BE49-F238E27FC236}">
                      <a16:creationId xmlns="" xmlns:a14="http://schemas.microsoft.com/office/drawing/2010/main" xmlns:p14="http://schemas.microsoft.com/office/powerpoint/2010/main" xmlns:a16="http://schemas.microsoft.com/office/drawing/2014/main" id="{D75A818A-89BB-43FB-8B83-1FD85B898D84}"/>
                    </a:ext>
                  </a:extLst>
                </p:cNvPr>
                <p:cNvSpPr>
                  <a:spLocks noChangeArrowheads="1"/>
                </p:cNvSpPr>
                <p:nvPr/>
              </p:nvSpPr>
              <p:spPr bwMode="auto">
                <a:xfrm>
                  <a:off x="1276307"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37" name="Oval 16">
                  <a:extLst>
                    <a:ext uri="{FF2B5EF4-FFF2-40B4-BE49-F238E27FC236}">
                      <a16:creationId xmlns="" xmlns:a14="http://schemas.microsoft.com/office/drawing/2010/main" xmlns:p14="http://schemas.microsoft.com/office/powerpoint/2010/main" xmlns:a16="http://schemas.microsoft.com/office/drawing/2014/main" id="{7DD10C7C-7BA7-4453-B2C4-FD8894F5B431}"/>
                    </a:ext>
                  </a:extLst>
                </p:cNvPr>
                <p:cNvSpPr>
                  <a:spLocks noChangeArrowheads="1"/>
                </p:cNvSpPr>
                <p:nvPr/>
              </p:nvSpPr>
              <p:spPr bwMode="auto">
                <a:xfrm>
                  <a:off x="1381003"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38" name="Freeform 18">
                  <a:extLst>
                    <a:ext uri="{FF2B5EF4-FFF2-40B4-BE49-F238E27FC236}">
                      <a16:creationId xmlns="" xmlns:a14="http://schemas.microsoft.com/office/drawing/2010/main" xmlns:p14="http://schemas.microsoft.com/office/powerpoint/2010/main" xmlns:a16="http://schemas.microsoft.com/office/drawing/2014/main" id="{67CF1F31-08E2-4A01-993C-B31C6A9CB311}"/>
                    </a:ext>
                  </a:extLst>
                </p:cNvPr>
                <p:cNvSpPr>
                  <a:spLocks/>
                </p:cNvSpPr>
                <p:nvPr/>
              </p:nvSpPr>
              <p:spPr bwMode="auto">
                <a:xfrm>
                  <a:off x="1615371" y="2262817"/>
                  <a:ext cx="505234" cy="164430"/>
                </a:xfrm>
                <a:custGeom>
                  <a:avLst/>
                  <a:gdLst>
                    <a:gd name="T0" fmla="*/ 520 w 547"/>
                    <a:gd name="T1" fmla="*/ 170 h 170"/>
                    <a:gd name="T2" fmla="*/ 27 w 547"/>
                    <a:gd name="T3" fmla="*/ 170 h 170"/>
                    <a:gd name="T4" fmla="*/ 0 w 547"/>
                    <a:gd name="T5" fmla="*/ 143 h 170"/>
                    <a:gd name="T6" fmla="*/ 0 w 547"/>
                    <a:gd name="T7" fmla="*/ 27 h 170"/>
                    <a:gd name="T8" fmla="*/ 27 w 547"/>
                    <a:gd name="T9" fmla="*/ 0 h 170"/>
                    <a:gd name="T10" fmla="*/ 520 w 547"/>
                    <a:gd name="T11" fmla="*/ 0 h 170"/>
                    <a:gd name="T12" fmla="*/ 547 w 547"/>
                    <a:gd name="T13" fmla="*/ 27 h 170"/>
                    <a:gd name="T14" fmla="*/ 547 w 547"/>
                    <a:gd name="T15" fmla="*/ 143 h 170"/>
                    <a:gd name="T16" fmla="*/ 520 w 547"/>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7" h="170">
                      <a:moveTo>
                        <a:pt x="520" y="170"/>
                      </a:moveTo>
                      <a:cubicBezTo>
                        <a:pt x="27" y="170"/>
                        <a:pt x="27" y="170"/>
                        <a:pt x="27" y="170"/>
                      </a:cubicBezTo>
                      <a:cubicBezTo>
                        <a:pt x="12" y="170"/>
                        <a:pt x="0" y="158"/>
                        <a:pt x="0" y="143"/>
                      </a:cubicBezTo>
                      <a:cubicBezTo>
                        <a:pt x="0" y="27"/>
                        <a:pt x="0" y="27"/>
                        <a:pt x="0" y="27"/>
                      </a:cubicBezTo>
                      <a:cubicBezTo>
                        <a:pt x="0" y="12"/>
                        <a:pt x="12" y="0"/>
                        <a:pt x="27" y="0"/>
                      </a:cubicBezTo>
                      <a:cubicBezTo>
                        <a:pt x="520" y="0"/>
                        <a:pt x="520" y="0"/>
                        <a:pt x="520" y="0"/>
                      </a:cubicBezTo>
                      <a:cubicBezTo>
                        <a:pt x="535" y="0"/>
                        <a:pt x="547" y="12"/>
                        <a:pt x="547" y="27"/>
                      </a:cubicBezTo>
                      <a:cubicBezTo>
                        <a:pt x="547" y="143"/>
                        <a:pt x="547" y="143"/>
                        <a:pt x="547" y="143"/>
                      </a:cubicBezTo>
                      <a:cubicBezTo>
                        <a:pt x="547" y="158"/>
                        <a:pt x="535" y="170"/>
                        <a:pt x="520" y="170"/>
                      </a:cubicBezTo>
                      <a:close/>
                    </a:path>
                  </a:pathLst>
                </a:cu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39" name="Rectangle 19">
                  <a:extLst>
                    <a:ext uri="{FF2B5EF4-FFF2-40B4-BE49-F238E27FC236}">
                      <a16:creationId xmlns="" xmlns:a14="http://schemas.microsoft.com/office/drawing/2010/main" xmlns:p14="http://schemas.microsoft.com/office/powerpoint/2010/main" xmlns:a16="http://schemas.microsoft.com/office/drawing/2014/main" id="{841C6BD3-6051-4CC5-8012-F63265A7490C}"/>
                    </a:ext>
                  </a:extLst>
                </p:cNvPr>
                <p:cNvSpPr>
                  <a:spLocks noChangeArrowheads="1"/>
                </p:cNvSpPr>
                <p:nvPr/>
              </p:nvSpPr>
              <p:spPr bwMode="auto">
                <a:xfrm>
                  <a:off x="1737357" y="2320316"/>
                  <a:ext cx="243973" cy="49430"/>
                </a:xfrm>
                <a:prstGeom prst="rect">
                  <a:avLst/>
                </a:prstGeom>
                <a:solidFill>
                  <a:srgbClr val="CFCB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40" name="Freeform 20">
                  <a:extLst>
                    <a:ext uri="{FF2B5EF4-FFF2-40B4-BE49-F238E27FC236}">
                      <a16:creationId xmlns="" xmlns:a14="http://schemas.microsoft.com/office/drawing/2010/main" xmlns:p14="http://schemas.microsoft.com/office/powerpoint/2010/main" xmlns:a16="http://schemas.microsoft.com/office/drawing/2014/main" id="{D0B48CBB-7BBA-4DC2-92BE-77F3A8AE7CC7}"/>
                    </a:ext>
                  </a:extLst>
                </p:cNvPr>
                <p:cNvSpPr>
                  <a:spLocks/>
                </p:cNvSpPr>
                <p:nvPr/>
              </p:nvSpPr>
              <p:spPr bwMode="auto">
                <a:xfrm>
                  <a:off x="1139912" y="2306193"/>
                  <a:ext cx="232445" cy="49430"/>
                </a:xfrm>
                <a:custGeom>
                  <a:avLst/>
                  <a:gdLst>
                    <a:gd name="T0" fmla="*/ 227 w 251"/>
                    <a:gd name="T1" fmla="*/ 0 h 51"/>
                    <a:gd name="T2" fmla="*/ 24 w 251"/>
                    <a:gd name="T3" fmla="*/ 0 h 51"/>
                    <a:gd name="T4" fmla="*/ 0 w 251"/>
                    <a:gd name="T5" fmla="*/ 24 h 51"/>
                    <a:gd name="T6" fmla="*/ 0 w 251"/>
                    <a:gd name="T7" fmla="*/ 27 h 51"/>
                    <a:gd name="T8" fmla="*/ 24 w 251"/>
                    <a:gd name="T9" fmla="*/ 51 h 51"/>
                    <a:gd name="T10" fmla="*/ 227 w 251"/>
                    <a:gd name="T11" fmla="*/ 51 h 51"/>
                    <a:gd name="T12" fmla="*/ 251 w 251"/>
                    <a:gd name="T13" fmla="*/ 27 h 51"/>
                    <a:gd name="T14" fmla="*/ 251 w 251"/>
                    <a:gd name="T15" fmla="*/ 24 h 51"/>
                    <a:gd name="T16" fmla="*/ 227 w 25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1" y="41"/>
                        <a:pt x="251" y="27"/>
                      </a:cubicBezTo>
                      <a:cubicBezTo>
                        <a:pt x="251" y="24"/>
                        <a:pt x="251" y="24"/>
                        <a:pt x="251" y="24"/>
                      </a:cubicBezTo>
                      <a:cubicBezTo>
                        <a:pt x="251"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41" name="Freeform 21">
                  <a:extLst>
                    <a:ext uri="{FF2B5EF4-FFF2-40B4-BE49-F238E27FC236}">
                      <a16:creationId xmlns="" xmlns:a14="http://schemas.microsoft.com/office/drawing/2010/main" xmlns:p14="http://schemas.microsoft.com/office/powerpoint/2010/main" xmlns:a16="http://schemas.microsoft.com/office/drawing/2014/main" id="{D77522F3-359C-4A76-8CFB-E98210318674}"/>
                    </a:ext>
                  </a:extLst>
                </p:cNvPr>
                <p:cNvSpPr>
                  <a:spLocks/>
                </p:cNvSpPr>
                <p:nvPr/>
              </p:nvSpPr>
              <p:spPr bwMode="auto">
                <a:xfrm>
                  <a:off x="2317512"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0" y="0"/>
                        <a:pt x="0" y="11"/>
                        <a:pt x="0" y="24"/>
                      </a:cubicBezTo>
                      <a:cubicBezTo>
                        <a:pt x="0" y="27"/>
                        <a:pt x="0" y="27"/>
                        <a:pt x="0" y="27"/>
                      </a:cubicBezTo>
                      <a:cubicBezTo>
                        <a:pt x="0" y="41"/>
                        <a:pt x="10" y="51"/>
                        <a:pt x="24" y="51"/>
                      </a:cubicBezTo>
                      <a:cubicBezTo>
                        <a:pt x="226" y="51"/>
                        <a:pt x="226" y="51"/>
                        <a:pt x="226" y="51"/>
                      </a:cubicBezTo>
                      <a:cubicBezTo>
                        <a:pt x="239" y="51"/>
                        <a:pt x="250" y="41"/>
                        <a:pt x="250" y="27"/>
                      </a:cubicBezTo>
                      <a:cubicBezTo>
                        <a:pt x="250" y="24"/>
                        <a:pt x="250" y="24"/>
                        <a:pt x="250" y="24"/>
                      </a:cubicBezTo>
                      <a:cubicBezTo>
                        <a:pt x="250" y="11"/>
                        <a:pt x="239"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42" name="Freeform 22">
                  <a:extLst>
                    <a:ext uri="{FF2B5EF4-FFF2-40B4-BE49-F238E27FC236}">
                      <a16:creationId xmlns="" xmlns:a14="http://schemas.microsoft.com/office/drawing/2010/main" xmlns:p14="http://schemas.microsoft.com/office/powerpoint/2010/main" xmlns:a16="http://schemas.microsoft.com/office/drawing/2014/main" id="{D29031B0-D856-4AC0-A389-2000EA566C1B}"/>
                    </a:ext>
                  </a:extLst>
                </p:cNvPr>
                <p:cNvSpPr>
                  <a:spLocks/>
                </p:cNvSpPr>
                <p:nvPr/>
              </p:nvSpPr>
              <p:spPr bwMode="auto">
                <a:xfrm>
                  <a:off x="2757430"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1" y="0"/>
                        <a:pt x="0" y="11"/>
                        <a:pt x="0" y="24"/>
                      </a:cubicBezTo>
                      <a:cubicBezTo>
                        <a:pt x="0" y="27"/>
                        <a:pt x="0" y="27"/>
                        <a:pt x="0" y="27"/>
                      </a:cubicBezTo>
                      <a:cubicBezTo>
                        <a:pt x="0" y="41"/>
                        <a:pt x="11" y="51"/>
                        <a:pt x="24" y="51"/>
                      </a:cubicBezTo>
                      <a:cubicBezTo>
                        <a:pt x="226" y="51"/>
                        <a:pt x="226" y="51"/>
                        <a:pt x="226" y="51"/>
                      </a:cubicBezTo>
                      <a:cubicBezTo>
                        <a:pt x="240" y="51"/>
                        <a:pt x="250" y="41"/>
                        <a:pt x="250" y="27"/>
                      </a:cubicBezTo>
                      <a:cubicBezTo>
                        <a:pt x="250" y="24"/>
                        <a:pt x="250" y="24"/>
                        <a:pt x="250" y="24"/>
                      </a:cubicBezTo>
                      <a:cubicBezTo>
                        <a:pt x="250" y="11"/>
                        <a:pt x="240"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43" name="Freeform 23">
                  <a:extLst>
                    <a:ext uri="{FF2B5EF4-FFF2-40B4-BE49-F238E27FC236}">
                      <a16:creationId xmlns="" xmlns:a14="http://schemas.microsoft.com/office/drawing/2010/main" xmlns:p14="http://schemas.microsoft.com/office/powerpoint/2010/main" xmlns:a16="http://schemas.microsoft.com/office/drawing/2014/main" id="{FE055015-7E94-4650-A93E-2EB94EA8FCFE}"/>
                    </a:ext>
                  </a:extLst>
                </p:cNvPr>
                <p:cNvSpPr>
                  <a:spLocks/>
                </p:cNvSpPr>
                <p:nvPr/>
              </p:nvSpPr>
              <p:spPr bwMode="auto">
                <a:xfrm>
                  <a:off x="3197349" y="2306193"/>
                  <a:ext cx="231486" cy="49430"/>
                </a:xfrm>
                <a:custGeom>
                  <a:avLst/>
                  <a:gdLst>
                    <a:gd name="T0" fmla="*/ 227 w 250"/>
                    <a:gd name="T1" fmla="*/ 0 h 51"/>
                    <a:gd name="T2" fmla="*/ 24 w 250"/>
                    <a:gd name="T3" fmla="*/ 0 h 51"/>
                    <a:gd name="T4" fmla="*/ 0 w 250"/>
                    <a:gd name="T5" fmla="*/ 24 h 51"/>
                    <a:gd name="T6" fmla="*/ 0 w 250"/>
                    <a:gd name="T7" fmla="*/ 27 h 51"/>
                    <a:gd name="T8" fmla="*/ 24 w 250"/>
                    <a:gd name="T9" fmla="*/ 51 h 51"/>
                    <a:gd name="T10" fmla="*/ 227 w 250"/>
                    <a:gd name="T11" fmla="*/ 51 h 51"/>
                    <a:gd name="T12" fmla="*/ 250 w 250"/>
                    <a:gd name="T13" fmla="*/ 27 h 51"/>
                    <a:gd name="T14" fmla="*/ 250 w 250"/>
                    <a:gd name="T15" fmla="*/ 24 h 51"/>
                    <a:gd name="T16" fmla="*/ 227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0" y="41"/>
                        <a:pt x="250" y="27"/>
                      </a:cubicBezTo>
                      <a:cubicBezTo>
                        <a:pt x="250" y="24"/>
                        <a:pt x="250" y="24"/>
                        <a:pt x="250" y="24"/>
                      </a:cubicBezTo>
                      <a:cubicBezTo>
                        <a:pt x="250"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44" name="矩形: 圆角 643">
                  <a:extLst>
                    <a:ext uri="{FF2B5EF4-FFF2-40B4-BE49-F238E27FC236}">
                      <a16:creationId xmlns="" xmlns:a14="http://schemas.microsoft.com/office/drawing/2010/main" xmlns:p14="http://schemas.microsoft.com/office/powerpoint/2010/main" xmlns:a16="http://schemas.microsoft.com/office/drawing/2014/main" id="{A7E978AF-0551-4504-BBDB-E5F72BFA97CA}"/>
                    </a:ext>
                  </a:extLst>
                </p:cNvPr>
                <p:cNvSpPr>
                  <a:spLocks noChangeAspect="1"/>
                </p:cNvSpPr>
                <p:nvPr/>
              </p:nvSpPr>
              <p:spPr>
                <a:xfrm>
                  <a:off x="810452" y="3480441"/>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45" name="矩形: 圆角 644">
                  <a:extLst>
                    <a:ext uri="{FF2B5EF4-FFF2-40B4-BE49-F238E27FC236}">
                      <a16:creationId xmlns="" xmlns:a14="http://schemas.microsoft.com/office/drawing/2010/main" xmlns:p14="http://schemas.microsoft.com/office/powerpoint/2010/main" xmlns:a16="http://schemas.microsoft.com/office/drawing/2014/main" id="{1D92DB09-1A26-43BD-AC9B-598C9F3BAB5C}"/>
                    </a:ext>
                  </a:extLst>
                </p:cNvPr>
                <p:cNvSpPr>
                  <a:spLocks noChangeAspect="1"/>
                </p:cNvSpPr>
                <p:nvPr/>
              </p:nvSpPr>
              <p:spPr>
                <a:xfrm>
                  <a:off x="810452" y="3849165"/>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46" name="矩形: 圆角 645">
                  <a:extLst>
                    <a:ext uri="{FF2B5EF4-FFF2-40B4-BE49-F238E27FC236}">
                      <a16:creationId xmlns="" xmlns:a14="http://schemas.microsoft.com/office/drawing/2010/main" xmlns:p14="http://schemas.microsoft.com/office/powerpoint/2010/main" xmlns:a16="http://schemas.microsoft.com/office/drawing/2014/main" id="{B292DAEA-71EC-4C54-BF5B-3F603C828145}"/>
                    </a:ext>
                  </a:extLst>
                </p:cNvPr>
                <p:cNvSpPr>
                  <a:spLocks noChangeAspect="1"/>
                </p:cNvSpPr>
                <p:nvPr/>
              </p:nvSpPr>
              <p:spPr>
                <a:xfrm>
                  <a:off x="810452" y="4216750"/>
                  <a:ext cx="526366" cy="127814"/>
                </a:xfrm>
                <a:prstGeom prst="roundRect">
                  <a:avLst>
                    <a:gd name="adj" fmla="val 14540"/>
                  </a:avLst>
                </a:prstGeom>
                <a:gradFill>
                  <a:gsLst>
                    <a:gs pos="8000">
                      <a:srgbClr val="F0EEF2"/>
                    </a:gs>
                    <a:gs pos="100000">
                      <a:srgbClr val="F0EEF2">
                        <a:alpha val="0"/>
                      </a:srgbClr>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47" name="矩形: 圆角 646">
                  <a:extLst>
                    <a:ext uri="{FF2B5EF4-FFF2-40B4-BE49-F238E27FC236}">
                      <a16:creationId xmlns="" xmlns:a14="http://schemas.microsoft.com/office/drawing/2010/main" xmlns:p14="http://schemas.microsoft.com/office/powerpoint/2010/main" xmlns:a16="http://schemas.microsoft.com/office/drawing/2014/main" id="{FC5AB78D-1183-44FB-B882-A5C05D3FAEE8}"/>
                    </a:ext>
                  </a:extLst>
                </p:cNvPr>
                <p:cNvSpPr>
                  <a:spLocks noChangeAspect="1"/>
                </p:cNvSpPr>
                <p:nvPr/>
              </p:nvSpPr>
              <p:spPr>
                <a:xfrm>
                  <a:off x="1448859" y="2742992"/>
                  <a:ext cx="2578310" cy="1523165"/>
                </a:xfrm>
                <a:prstGeom prst="roundRect">
                  <a:avLst>
                    <a:gd name="adj" fmla="val 2829"/>
                  </a:avLst>
                </a:prstGeom>
                <a:noFill/>
                <a:ln w="25400">
                  <a:gradFill>
                    <a:gsLst>
                      <a:gs pos="62000">
                        <a:srgbClr val="F0EEF2"/>
                      </a:gs>
                      <a:gs pos="100000">
                        <a:srgbClr val="F0EEF2">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48" name="矩形: 圆角 647">
                  <a:extLst>
                    <a:ext uri="{FF2B5EF4-FFF2-40B4-BE49-F238E27FC236}">
                      <a16:creationId xmlns="" xmlns:a14="http://schemas.microsoft.com/office/drawing/2010/main" xmlns:p14="http://schemas.microsoft.com/office/powerpoint/2010/main" xmlns:a16="http://schemas.microsoft.com/office/drawing/2014/main" id="{E7793187-92B2-493B-8B2F-C1D87DCE8C84}"/>
                    </a:ext>
                  </a:extLst>
                </p:cNvPr>
                <p:cNvSpPr>
                  <a:spLocks noChangeAspect="1"/>
                </p:cNvSpPr>
                <p:nvPr/>
              </p:nvSpPr>
              <p:spPr>
                <a:xfrm>
                  <a:off x="810452" y="3111717"/>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9" name="组合 8">
                <a:extLst>
                  <a:ext uri="{FF2B5EF4-FFF2-40B4-BE49-F238E27FC236}">
                    <a16:creationId xmlns="" xmlns:a14="http://schemas.microsoft.com/office/drawing/2010/main" xmlns:p14="http://schemas.microsoft.com/office/powerpoint/2010/main" xmlns:a16="http://schemas.microsoft.com/office/drawing/2014/main" id="{276AC502-71BC-4226-8EC2-9CE0C1B80C6A}"/>
                  </a:ext>
                </a:extLst>
              </p:cNvPr>
              <p:cNvGrpSpPr/>
              <p:nvPr/>
            </p:nvGrpSpPr>
            <p:grpSpPr>
              <a:xfrm>
                <a:off x="1642158" y="3169834"/>
                <a:ext cx="2158596" cy="669284"/>
                <a:chOff x="1642158" y="3169834"/>
                <a:chExt cx="2158596" cy="669284"/>
              </a:xfrm>
            </p:grpSpPr>
            <p:sp>
              <p:nvSpPr>
                <p:cNvPr id="420" name="矩形 419">
                  <a:extLst>
                    <a:ext uri="{FF2B5EF4-FFF2-40B4-BE49-F238E27FC236}">
                      <a16:creationId xmlns="" xmlns:a14="http://schemas.microsoft.com/office/drawing/2010/main" xmlns:p14="http://schemas.microsoft.com/office/powerpoint/2010/main" xmlns:a16="http://schemas.microsoft.com/office/drawing/2014/main" id="{B63E4F93-58FC-4CD9-A34C-1104C0B05951}"/>
                    </a:ext>
                  </a:extLst>
                </p:cNvPr>
                <p:cNvSpPr/>
                <p:nvPr/>
              </p:nvSpPr>
              <p:spPr>
                <a:xfrm>
                  <a:off x="1658305" y="3180638"/>
                  <a:ext cx="2142449" cy="1097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8" name="组合 7">
                  <a:extLst>
                    <a:ext uri="{FF2B5EF4-FFF2-40B4-BE49-F238E27FC236}">
                      <a16:creationId xmlns="" xmlns:a14="http://schemas.microsoft.com/office/drawing/2010/main" xmlns:p14="http://schemas.microsoft.com/office/powerpoint/2010/main" xmlns:a16="http://schemas.microsoft.com/office/drawing/2014/main" id="{2745541B-888E-4007-BA79-52D8C8B54A33}"/>
                    </a:ext>
                  </a:extLst>
                </p:cNvPr>
                <p:cNvGrpSpPr/>
                <p:nvPr/>
              </p:nvGrpSpPr>
              <p:grpSpPr>
                <a:xfrm>
                  <a:off x="1687146" y="3211004"/>
                  <a:ext cx="2101734" cy="587141"/>
                  <a:chOff x="1633218" y="3294045"/>
                  <a:chExt cx="2101734" cy="587141"/>
                </a:xfrm>
              </p:grpSpPr>
              <p:sp>
                <p:nvSpPr>
                  <p:cNvPr id="125" name="圆角矩形 13">
                    <a:extLst>
                      <a:ext uri="{FF2B5EF4-FFF2-40B4-BE49-F238E27FC236}">
                        <a16:creationId xmlns="" xmlns:a14="http://schemas.microsoft.com/office/drawing/2010/main" xmlns:p14="http://schemas.microsoft.com/office/powerpoint/2010/main" xmlns:a16="http://schemas.microsoft.com/office/drawing/2014/main" id="{488858F3-69A3-4E36-933E-A60BB21CB6F5}"/>
                      </a:ext>
                    </a:extLst>
                  </p:cNvPr>
                  <p:cNvSpPr/>
                  <p:nvPr/>
                </p:nvSpPr>
                <p:spPr>
                  <a:xfrm>
                    <a:off x="1633218" y="3294045"/>
                    <a:ext cx="875309" cy="587141"/>
                  </a:xfrm>
                  <a:prstGeom prst="roundRect">
                    <a:avLst>
                      <a:gd name="adj" fmla="val 8038"/>
                    </a:avLst>
                  </a:prstGeom>
                  <a:pattFill prst="pct5">
                    <a:fgClr>
                      <a:srgbClr val="867D98">
                        <a:lumMod val="20000"/>
                        <a:lumOff val="80000"/>
                      </a:srgbClr>
                    </a:fgClr>
                    <a:bgClr>
                      <a:srgbClr val="ADB5BF"/>
                    </a:bgClr>
                  </a:patt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latin typeface="Arial"/>
                      <a:ea typeface="微软雅黑"/>
                    </a:endParaRPr>
                  </a:p>
                </p:txBody>
              </p:sp>
              <p:grpSp>
                <p:nvGrpSpPr>
                  <p:cNvPr id="144" name="组合 143">
                    <a:extLst>
                      <a:ext uri="{FF2B5EF4-FFF2-40B4-BE49-F238E27FC236}">
                        <a16:creationId xmlns="" xmlns:a14="http://schemas.microsoft.com/office/drawing/2010/main" xmlns:p14="http://schemas.microsoft.com/office/powerpoint/2010/main" xmlns:a16="http://schemas.microsoft.com/office/drawing/2014/main" id="{428E477C-F4CA-49FF-BCAA-14A401D6124F}"/>
                      </a:ext>
                    </a:extLst>
                  </p:cNvPr>
                  <p:cNvGrpSpPr/>
                  <p:nvPr/>
                </p:nvGrpSpPr>
                <p:grpSpPr>
                  <a:xfrm>
                    <a:off x="2634832" y="3294045"/>
                    <a:ext cx="1100120" cy="587141"/>
                    <a:chOff x="1703214" y="3185928"/>
                    <a:chExt cx="582258" cy="521425"/>
                  </a:xfrm>
                </p:grpSpPr>
                <p:sp>
                  <p:nvSpPr>
                    <p:cNvPr id="145" name="矩形 144">
                      <a:extLst>
                        <a:ext uri="{FF2B5EF4-FFF2-40B4-BE49-F238E27FC236}">
                          <a16:creationId xmlns="" xmlns:a14="http://schemas.microsoft.com/office/drawing/2010/main" xmlns:p14="http://schemas.microsoft.com/office/powerpoint/2010/main" xmlns:a16="http://schemas.microsoft.com/office/drawing/2014/main" id="{249614F1-31F8-42D0-BCAF-3758E46C4D47}"/>
                        </a:ext>
                      </a:extLst>
                    </p:cNvPr>
                    <p:cNvSpPr/>
                    <p:nvPr/>
                  </p:nvSpPr>
                  <p:spPr>
                    <a:xfrm>
                      <a:off x="1703214" y="3185928"/>
                      <a:ext cx="582258"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6" name="矩形 145">
                      <a:extLst>
                        <a:ext uri="{FF2B5EF4-FFF2-40B4-BE49-F238E27FC236}">
                          <a16:creationId xmlns="" xmlns:a14="http://schemas.microsoft.com/office/drawing/2010/main" xmlns:p14="http://schemas.microsoft.com/office/powerpoint/2010/main" xmlns:a16="http://schemas.microsoft.com/office/drawing/2014/main" id="{184CA460-5482-4CA9-949D-41F2E9F5C978}"/>
                        </a:ext>
                      </a:extLst>
                    </p:cNvPr>
                    <p:cNvSpPr/>
                    <p:nvPr/>
                  </p:nvSpPr>
                  <p:spPr>
                    <a:xfrm>
                      <a:off x="1703214" y="3388853"/>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1" name="矩形 150">
                      <a:extLst>
                        <a:ext uri="{FF2B5EF4-FFF2-40B4-BE49-F238E27FC236}">
                          <a16:creationId xmlns="" xmlns:a14="http://schemas.microsoft.com/office/drawing/2010/main" xmlns:p14="http://schemas.microsoft.com/office/powerpoint/2010/main" xmlns:a16="http://schemas.microsoft.com/office/drawing/2014/main" id="{8F9D1724-52B7-4FFD-845E-8DBA04B24E52}"/>
                        </a:ext>
                      </a:extLst>
                    </p:cNvPr>
                    <p:cNvSpPr/>
                    <p:nvPr/>
                  </p:nvSpPr>
                  <p:spPr>
                    <a:xfrm>
                      <a:off x="1703214" y="3602089"/>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grpSp>
              <p:nvGrpSpPr>
                <p:cNvPr id="169" name="组合 168">
                  <a:extLst>
                    <a:ext uri="{FF2B5EF4-FFF2-40B4-BE49-F238E27FC236}">
                      <a16:creationId xmlns="" xmlns:a14="http://schemas.microsoft.com/office/drawing/2010/main" xmlns:p14="http://schemas.microsoft.com/office/powerpoint/2010/main" xmlns:a16="http://schemas.microsoft.com/office/drawing/2014/main" id="{EC3F73D4-F515-4140-8158-87AE57BCA18E}"/>
                    </a:ext>
                  </a:extLst>
                </p:cNvPr>
                <p:cNvGrpSpPr/>
                <p:nvPr/>
              </p:nvGrpSpPr>
              <p:grpSpPr>
                <a:xfrm>
                  <a:off x="1642158" y="3169834"/>
                  <a:ext cx="956891" cy="669284"/>
                  <a:chOff x="4979129" y="5045363"/>
                  <a:chExt cx="526932" cy="368557"/>
                </a:xfrm>
              </p:grpSpPr>
              <p:sp>
                <p:nvSpPr>
                  <p:cNvPr id="170" name="矩形 169">
                    <a:extLst>
                      <a:ext uri="{FF2B5EF4-FFF2-40B4-BE49-F238E27FC236}">
                        <a16:creationId xmlns="" xmlns:a14="http://schemas.microsoft.com/office/drawing/2010/main" xmlns:p14="http://schemas.microsoft.com/office/powerpoint/2010/main" xmlns:a16="http://schemas.microsoft.com/office/drawing/2014/main" id="{E1A6343C-E9AF-4F6B-8807-64C6D3898212}"/>
                      </a:ext>
                    </a:extLst>
                  </p:cNvPr>
                  <p:cNvSpPr/>
                  <p:nvPr/>
                </p:nvSpPr>
                <p:spPr>
                  <a:xfrm>
                    <a:off x="5001992" y="5068224"/>
                    <a:ext cx="481727" cy="323135"/>
                  </a:xfrm>
                  <a:prstGeom prst="rect">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1" name="椭圆 170">
                    <a:extLst>
                      <a:ext uri="{FF2B5EF4-FFF2-40B4-BE49-F238E27FC236}">
                        <a16:creationId xmlns="" xmlns:a14="http://schemas.microsoft.com/office/drawing/2010/main" xmlns:p14="http://schemas.microsoft.com/office/powerpoint/2010/main" xmlns:a16="http://schemas.microsoft.com/office/drawing/2014/main" id="{369817C5-79D9-4864-8C51-E8A19B7DA008}"/>
                      </a:ext>
                    </a:extLst>
                  </p:cNvPr>
                  <p:cNvSpPr/>
                  <p:nvPr/>
                </p:nvSpPr>
                <p:spPr>
                  <a:xfrm flipH="1">
                    <a:off x="4979129" y="5045363"/>
                    <a:ext cx="45720" cy="45720"/>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2" name="椭圆 171">
                    <a:extLst>
                      <a:ext uri="{FF2B5EF4-FFF2-40B4-BE49-F238E27FC236}">
                        <a16:creationId xmlns="" xmlns:a14="http://schemas.microsoft.com/office/drawing/2010/main" xmlns:p14="http://schemas.microsoft.com/office/powerpoint/2010/main" xmlns:a16="http://schemas.microsoft.com/office/drawing/2014/main" id="{0264495B-17CB-4E7B-BFE8-5DF7A0249796}"/>
                      </a:ext>
                    </a:extLst>
                  </p:cNvPr>
                  <p:cNvSpPr/>
                  <p:nvPr/>
                </p:nvSpPr>
                <p:spPr>
                  <a:xfrm flipH="1">
                    <a:off x="5219995" y="5045363"/>
                    <a:ext cx="45720" cy="45720"/>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3" name="椭圆 172">
                    <a:extLst>
                      <a:ext uri="{FF2B5EF4-FFF2-40B4-BE49-F238E27FC236}">
                        <a16:creationId xmlns="" xmlns:a14="http://schemas.microsoft.com/office/drawing/2010/main" xmlns:p14="http://schemas.microsoft.com/office/powerpoint/2010/main" xmlns:a16="http://schemas.microsoft.com/office/drawing/2014/main" id="{07318BFA-8529-4CB7-A1DF-AE3F0CAF4B3B}"/>
                      </a:ext>
                    </a:extLst>
                  </p:cNvPr>
                  <p:cNvSpPr/>
                  <p:nvPr/>
                </p:nvSpPr>
                <p:spPr>
                  <a:xfrm flipH="1">
                    <a:off x="5460337" y="5045363"/>
                    <a:ext cx="45720" cy="45720"/>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7" name="椭圆 176">
                    <a:extLst>
                      <a:ext uri="{FF2B5EF4-FFF2-40B4-BE49-F238E27FC236}">
                        <a16:creationId xmlns="" xmlns:a14="http://schemas.microsoft.com/office/drawing/2010/main" xmlns:p14="http://schemas.microsoft.com/office/powerpoint/2010/main" xmlns:a16="http://schemas.microsoft.com/office/drawing/2014/main" id="{01C057E9-76C3-4DCD-B579-9BB383218B7D}"/>
                      </a:ext>
                    </a:extLst>
                  </p:cNvPr>
                  <p:cNvSpPr/>
                  <p:nvPr/>
                </p:nvSpPr>
                <p:spPr>
                  <a:xfrm flipH="1">
                    <a:off x="4979129" y="5206931"/>
                    <a:ext cx="45720" cy="45720"/>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8" name="椭圆 177">
                    <a:extLst>
                      <a:ext uri="{FF2B5EF4-FFF2-40B4-BE49-F238E27FC236}">
                        <a16:creationId xmlns="" xmlns:a14="http://schemas.microsoft.com/office/drawing/2010/main" xmlns:p14="http://schemas.microsoft.com/office/powerpoint/2010/main" xmlns:a16="http://schemas.microsoft.com/office/drawing/2014/main" id="{4D360A41-2751-4012-85FB-FB320C5FDC4E}"/>
                      </a:ext>
                    </a:extLst>
                  </p:cNvPr>
                  <p:cNvSpPr/>
                  <p:nvPr/>
                </p:nvSpPr>
                <p:spPr>
                  <a:xfrm flipH="1">
                    <a:off x="5460341" y="5206931"/>
                    <a:ext cx="45720" cy="45720"/>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0" name="椭圆 189">
                    <a:extLst>
                      <a:ext uri="{FF2B5EF4-FFF2-40B4-BE49-F238E27FC236}">
                        <a16:creationId xmlns="" xmlns:a14="http://schemas.microsoft.com/office/drawing/2010/main" xmlns:p14="http://schemas.microsoft.com/office/powerpoint/2010/main" xmlns:a16="http://schemas.microsoft.com/office/drawing/2014/main" id="{98AAFF81-4D05-4193-AD73-8D53438272E5}"/>
                      </a:ext>
                    </a:extLst>
                  </p:cNvPr>
                  <p:cNvSpPr/>
                  <p:nvPr/>
                </p:nvSpPr>
                <p:spPr>
                  <a:xfrm flipH="1">
                    <a:off x="4979129" y="5368200"/>
                    <a:ext cx="45720" cy="45720"/>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1" name="椭圆 190">
                    <a:extLst>
                      <a:ext uri="{FF2B5EF4-FFF2-40B4-BE49-F238E27FC236}">
                        <a16:creationId xmlns="" xmlns:a14="http://schemas.microsoft.com/office/drawing/2010/main" xmlns:p14="http://schemas.microsoft.com/office/powerpoint/2010/main" xmlns:a16="http://schemas.microsoft.com/office/drawing/2014/main" id="{51B80C2F-8B0A-4B59-A45E-11544A481C29}"/>
                      </a:ext>
                    </a:extLst>
                  </p:cNvPr>
                  <p:cNvSpPr/>
                  <p:nvPr/>
                </p:nvSpPr>
                <p:spPr>
                  <a:xfrm flipH="1">
                    <a:off x="5219995" y="5368198"/>
                    <a:ext cx="45720" cy="45720"/>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2" name="椭圆 191">
                    <a:extLst>
                      <a:ext uri="{FF2B5EF4-FFF2-40B4-BE49-F238E27FC236}">
                        <a16:creationId xmlns="" xmlns:a14="http://schemas.microsoft.com/office/drawing/2010/main" xmlns:p14="http://schemas.microsoft.com/office/powerpoint/2010/main" xmlns:a16="http://schemas.microsoft.com/office/drawing/2014/main" id="{2D68CCDA-A842-4953-913F-5D57DD0DA445}"/>
                      </a:ext>
                    </a:extLst>
                  </p:cNvPr>
                  <p:cNvSpPr/>
                  <p:nvPr/>
                </p:nvSpPr>
                <p:spPr>
                  <a:xfrm flipH="1">
                    <a:off x="5460337" y="5368198"/>
                    <a:ext cx="45720" cy="45720"/>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grpSp>
      <p:sp>
        <p:nvSpPr>
          <p:cNvPr id="211" name="矩形 210">
            <a:extLst>
              <a:ext uri="{FF2B5EF4-FFF2-40B4-BE49-F238E27FC236}">
                <a16:creationId xmlns="" xmlns:a14="http://schemas.microsoft.com/office/drawing/2010/main" xmlns:p14="http://schemas.microsoft.com/office/powerpoint/2010/main" xmlns:a16="http://schemas.microsoft.com/office/drawing/2014/main" id="{0510714D-1063-4116-9681-56D6C11586DB}"/>
              </a:ext>
            </a:extLst>
          </p:cNvPr>
          <p:cNvSpPr/>
          <p:nvPr/>
        </p:nvSpPr>
        <p:spPr>
          <a:xfrm>
            <a:off x="9010199" y="3180644"/>
            <a:ext cx="2142449" cy="1097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1" name="组合 10">
            <a:extLst>
              <a:ext uri="{FF2B5EF4-FFF2-40B4-BE49-F238E27FC236}">
                <a16:creationId xmlns="" xmlns:a14="http://schemas.microsoft.com/office/drawing/2010/main" xmlns:p14="http://schemas.microsoft.com/office/powerpoint/2010/main" xmlns:a16="http://schemas.microsoft.com/office/drawing/2014/main" id="{956C0B5D-F5F6-4391-BA8D-37F22BE68FDA}"/>
              </a:ext>
            </a:extLst>
          </p:cNvPr>
          <p:cNvGrpSpPr/>
          <p:nvPr/>
        </p:nvGrpSpPr>
        <p:grpSpPr>
          <a:xfrm>
            <a:off x="8024987" y="1959178"/>
            <a:ext cx="3493913" cy="2403813"/>
            <a:chOff x="8024986" y="1959176"/>
            <a:chExt cx="3493913" cy="2403813"/>
          </a:xfrm>
        </p:grpSpPr>
        <p:grpSp>
          <p:nvGrpSpPr>
            <p:cNvPr id="608" name="组合 607">
              <a:extLst>
                <a:ext uri="{FF2B5EF4-FFF2-40B4-BE49-F238E27FC236}">
                  <a16:creationId xmlns="" xmlns:a14="http://schemas.microsoft.com/office/drawing/2010/main" xmlns:p14="http://schemas.microsoft.com/office/powerpoint/2010/main" xmlns:a16="http://schemas.microsoft.com/office/drawing/2014/main" id="{DCCD8EAC-8413-4950-94D6-6E1EB4F34DD5}"/>
                </a:ext>
              </a:extLst>
            </p:cNvPr>
            <p:cNvGrpSpPr/>
            <p:nvPr/>
          </p:nvGrpSpPr>
          <p:grpSpPr>
            <a:xfrm>
              <a:off x="8024986" y="1959176"/>
              <a:ext cx="3493913" cy="2403813"/>
              <a:chOff x="8024986" y="1959176"/>
              <a:chExt cx="3493913" cy="2403813"/>
            </a:xfrm>
          </p:grpSpPr>
          <p:sp>
            <p:nvSpPr>
              <p:cNvPr id="609" name="Freeform 6">
                <a:extLst>
                  <a:ext uri="{FF2B5EF4-FFF2-40B4-BE49-F238E27FC236}">
                    <a16:creationId xmlns="" xmlns:a14="http://schemas.microsoft.com/office/drawing/2010/main" xmlns:p14="http://schemas.microsoft.com/office/powerpoint/2010/main" xmlns:a16="http://schemas.microsoft.com/office/drawing/2014/main" id="{FF69F6C2-47FC-4959-84F0-F8BCB61C572F}"/>
                  </a:ext>
                </a:extLst>
              </p:cNvPr>
              <p:cNvSpPr>
                <a:spLocks/>
              </p:cNvSpPr>
              <p:nvPr/>
            </p:nvSpPr>
            <p:spPr bwMode="auto">
              <a:xfrm>
                <a:off x="8024986" y="1959176"/>
                <a:ext cx="3493913" cy="2403813"/>
              </a:xfrm>
              <a:prstGeom prst="rect">
                <a:avLst/>
              </a:prstGeom>
              <a:gradFill>
                <a:gsLst>
                  <a:gs pos="83000">
                    <a:schemeClr val="bg1"/>
                  </a:gs>
                  <a:gs pos="100000">
                    <a:schemeClr val="bg1">
                      <a:alpha val="0"/>
                    </a:schemeClr>
                  </a:gs>
                </a:gsLst>
                <a:lin ang="5400000" scaled="1"/>
              </a:gradFill>
              <a:ln w="9525">
                <a:noFill/>
                <a:round/>
                <a:headEnd/>
                <a:tailEnd/>
              </a:ln>
              <a:effectLst>
                <a:outerShdw blurRad="63500" sx="102000" sy="102000" algn="ctr" rotWithShape="0">
                  <a:srgbClr val="E7E5EA">
                    <a:alpha val="50000"/>
                  </a:srgbClr>
                </a:outerShdw>
              </a:effec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610" name="矩形: 圆角 609">
                <a:extLst>
                  <a:ext uri="{FF2B5EF4-FFF2-40B4-BE49-F238E27FC236}">
                    <a16:creationId xmlns="" xmlns:a14="http://schemas.microsoft.com/office/drawing/2010/main" xmlns:p14="http://schemas.microsoft.com/office/powerpoint/2010/main" xmlns:a16="http://schemas.microsoft.com/office/drawing/2014/main" id="{6C5B2963-ECA9-4700-AEF1-D4F9D0446EAE}"/>
                  </a:ext>
                </a:extLst>
              </p:cNvPr>
              <p:cNvSpPr>
                <a:spLocks noChangeAspect="1"/>
              </p:cNvSpPr>
              <p:nvPr/>
            </p:nvSpPr>
            <p:spPr>
              <a:xfrm>
                <a:off x="8162338" y="2742993"/>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11" name="Rectangle 8">
                <a:extLst>
                  <a:ext uri="{FF2B5EF4-FFF2-40B4-BE49-F238E27FC236}">
                    <a16:creationId xmlns="" xmlns:a14="http://schemas.microsoft.com/office/drawing/2010/main" xmlns:p14="http://schemas.microsoft.com/office/powerpoint/2010/main" xmlns:a16="http://schemas.microsoft.com/office/drawing/2014/main" id="{FC9BDBEC-A273-4FEB-892A-E0B9D85FAD0F}"/>
                  </a:ext>
                </a:extLst>
              </p:cNvPr>
              <p:cNvSpPr>
                <a:spLocks noChangeArrowheads="1"/>
              </p:cNvSpPr>
              <p:nvPr/>
            </p:nvSpPr>
            <p:spPr bwMode="auto">
              <a:xfrm>
                <a:off x="8162340" y="2228518"/>
                <a:ext cx="3240163" cy="311711"/>
              </a:xfrm>
              <a:prstGeom prst="rect">
                <a:avLst/>
              </a:prstGeom>
              <a:solidFill>
                <a:srgbClr val="F0EE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612" name="Rectangle 9">
                <a:extLst>
                  <a:ext uri="{FF2B5EF4-FFF2-40B4-BE49-F238E27FC236}">
                    <a16:creationId xmlns="" xmlns:a14="http://schemas.microsoft.com/office/drawing/2010/main" xmlns:p14="http://schemas.microsoft.com/office/powerpoint/2010/main" xmlns:a16="http://schemas.microsoft.com/office/drawing/2014/main" id="{9A98051B-AB98-43BD-8039-1C62FB08D8B8}"/>
                  </a:ext>
                </a:extLst>
              </p:cNvPr>
              <p:cNvSpPr>
                <a:spLocks noChangeArrowheads="1"/>
              </p:cNvSpPr>
              <p:nvPr/>
            </p:nvSpPr>
            <p:spPr bwMode="auto">
              <a:xfrm>
                <a:off x="8162340" y="2228518"/>
                <a:ext cx="3240163" cy="181579"/>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15" name="Oval 14">
                <a:extLst>
                  <a:ext uri="{FF2B5EF4-FFF2-40B4-BE49-F238E27FC236}">
                    <a16:creationId xmlns="" xmlns:a14="http://schemas.microsoft.com/office/drawing/2010/main" xmlns:p14="http://schemas.microsoft.com/office/powerpoint/2010/main" xmlns:a16="http://schemas.microsoft.com/office/drawing/2014/main" id="{471121A1-F8F1-44CB-8F2F-C0D1C37860A8}"/>
                  </a:ext>
                </a:extLst>
              </p:cNvPr>
              <p:cNvSpPr>
                <a:spLocks noChangeArrowheads="1"/>
              </p:cNvSpPr>
              <p:nvPr/>
            </p:nvSpPr>
            <p:spPr bwMode="auto">
              <a:xfrm>
                <a:off x="8523496" y="2098386"/>
                <a:ext cx="59552"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616" name="Oval 15">
                <a:extLst>
                  <a:ext uri="{FF2B5EF4-FFF2-40B4-BE49-F238E27FC236}">
                    <a16:creationId xmlns="" xmlns:a14="http://schemas.microsoft.com/office/drawing/2010/main" xmlns:p14="http://schemas.microsoft.com/office/powerpoint/2010/main" xmlns:a16="http://schemas.microsoft.com/office/drawing/2014/main" id="{A40A8446-7E8E-4B21-9495-3CF22B7C42C3}"/>
                  </a:ext>
                </a:extLst>
              </p:cNvPr>
              <p:cNvSpPr>
                <a:spLocks noChangeArrowheads="1"/>
              </p:cNvSpPr>
              <p:nvPr/>
            </p:nvSpPr>
            <p:spPr bwMode="auto">
              <a:xfrm>
                <a:off x="8628193"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617" name="Oval 16">
                <a:extLst>
                  <a:ext uri="{FF2B5EF4-FFF2-40B4-BE49-F238E27FC236}">
                    <a16:creationId xmlns="" xmlns:a14="http://schemas.microsoft.com/office/drawing/2010/main" xmlns:p14="http://schemas.microsoft.com/office/powerpoint/2010/main" xmlns:a16="http://schemas.microsoft.com/office/drawing/2014/main" id="{BE987962-30BE-4B9B-9CA4-6D7883091721}"/>
                  </a:ext>
                </a:extLst>
              </p:cNvPr>
              <p:cNvSpPr>
                <a:spLocks noChangeArrowheads="1"/>
              </p:cNvSpPr>
              <p:nvPr/>
            </p:nvSpPr>
            <p:spPr bwMode="auto">
              <a:xfrm>
                <a:off x="8732889"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619" name="Freeform 18">
                <a:extLst>
                  <a:ext uri="{FF2B5EF4-FFF2-40B4-BE49-F238E27FC236}">
                    <a16:creationId xmlns="" xmlns:a14="http://schemas.microsoft.com/office/drawing/2010/main" xmlns:p14="http://schemas.microsoft.com/office/powerpoint/2010/main" xmlns:a16="http://schemas.microsoft.com/office/drawing/2014/main" id="{30E2C5FC-33B1-47E5-AD36-4E6B4FAEBBCC}"/>
                  </a:ext>
                </a:extLst>
              </p:cNvPr>
              <p:cNvSpPr>
                <a:spLocks/>
              </p:cNvSpPr>
              <p:nvPr/>
            </p:nvSpPr>
            <p:spPr bwMode="auto">
              <a:xfrm>
                <a:off x="8967257" y="2262817"/>
                <a:ext cx="505234" cy="164430"/>
              </a:xfrm>
              <a:custGeom>
                <a:avLst/>
                <a:gdLst>
                  <a:gd name="T0" fmla="*/ 520 w 547"/>
                  <a:gd name="T1" fmla="*/ 170 h 170"/>
                  <a:gd name="T2" fmla="*/ 27 w 547"/>
                  <a:gd name="T3" fmla="*/ 170 h 170"/>
                  <a:gd name="T4" fmla="*/ 0 w 547"/>
                  <a:gd name="T5" fmla="*/ 143 h 170"/>
                  <a:gd name="T6" fmla="*/ 0 w 547"/>
                  <a:gd name="T7" fmla="*/ 27 h 170"/>
                  <a:gd name="T8" fmla="*/ 27 w 547"/>
                  <a:gd name="T9" fmla="*/ 0 h 170"/>
                  <a:gd name="T10" fmla="*/ 520 w 547"/>
                  <a:gd name="T11" fmla="*/ 0 h 170"/>
                  <a:gd name="T12" fmla="*/ 547 w 547"/>
                  <a:gd name="T13" fmla="*/ 27 h 170"/>
                  <a:gd name="T14" fmla="*/ 547 w 547"/>
                  <a:gd name="T15" fmla="*/ 143 h 170"/>
                  <a:gd name="T16" fmla="*/ 520 w 547"/>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7" h="170">
                    <a:moveTo>
                      <a:pt x="520" y="170"/>
                    </a:moveTo>
                    <a:cubicBezTo>
                      <a:pt x="27" y="170"/>
                      <a:pt x="27" y="170"/>
                      <a:pt x="27" y="170"/>
                    </a:cubicBezTo>
                    <a:cubicBezTo>
                      <a:pt x="12" y="170"/>
                      <a:pt x="0" y="158"/>
                      <a:pt x="0" y="143"/>
                    </a:cubicBezTo>
                    <a:cubicBezTo>
                      <a:pt x="0" y="27"/>
                      <a:pt x="0" y="27"/>
                      <a:pt x="0" y="27"/>
                    </a:cubicBezTo>
                    <a:cubicBezTo>
                      <a:pt x="0" y="12"/>
                      <a:pt x="12" y="0"/>
                      <a:pt x="27" y="0"/>
                    </a:cubicBezTo>
                    <a:cubicBezTo>
                      <a:pt x="520" y="0"/>
                      <a:pt x="520" y="0"/>
                      <a:pt x="520" y="0"/>
                    </a:cubicBezTo>
                    <a:cubicBezTo>
                      <a:pt x="535" y="0"/>
                      <a:pt x="547" y="12"/>
                      <a:pt x="547" y="27"/>
                    </a:cubicBezTo>
                    <a:cubicBezTo>
                      <a:pt x="547" y="143"/>
                      <a:pt x="547" y="143"/>
                      <a:pt x="547" y="143"/>
                    </a:cubicBezTo>
                    <a:cubicBezTo>
                      <a:pt x="547" y="158"/>
                      <a:pt x="535" y="170"/>
                      <a:pt x="520" y="170"/>
                    </a:cubicBezTo>
                    <a:close/>
                  </a:path>
                </a:pathLst>
              </a:cu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620" name="Rectangle 19">
                <a:extLst>
                  <a:ext uri="{FF2B5EF4-FFF2-40B4-BE49-F238E27FC236}">
                    <a16:creationId xmlns="" xmlns:a14="http://schemas.microsoft.com/office/drawing/2010/main" xmlns:p14="http://schemas.microsoft.com/office/powerpoint/2010/main" xmlns:a16="http://schemas.microsoft.com/office/drawing/2014/main" id="{28F7A2CC-66F3-42CD-9732-C1AA1859EC83}"/>
                  </a:ext>
                </a:extLst>
              </p:cNvPr>
              <p:cNvSpPr>
                <a:spLocks noChangeArrowheads="1"/>
              </p:cNvSpPr>
              <p:nvPr/>
            </p:nvSpPr>
            <p:spPr bwMode="auto">
              <a:xfrm>
                <a:off x="9089243" y="2320316"/>
                <a:ext cx="243973" cy="49430"/>
              </a:xfrm>
              <a:prstGeom prst="rect">
                <a:avLst/>
              </a:prstGeom>
              <a:solidFill>
                <a:srgbClr val="CFCB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621" name="Freeform 20">
                <a:extLst>
                  <a:ext uri="{FF2B5EF4-FFF2-40B4-BE49-F238E27FC236}">
                    <a16:creationId xmlns="" xmlns:a14="http://schemas.microsoft.com/office/drawing/2010/main" xmlns:p14="http://schemas.microsoft.com/office/powerpoint/2010/main" xmlns:a16="http://schemas.microsoft.com/office/drawing/2014/main" id="{4DD48F52-1F9A-476B-8A9A-20C8F508B49F}"/>
                  </a:ext>
                </a:extLst>
              </p:cNvPr>
              <p:cNvSpPr>
                <a:spLocks/>
              </p:cNvSpPr>
              <p:nvPr/>
            </p:nvSpPr>
            <p:spPr bwMode="auto">
              <a:xfrm>
                <a:off x="8491798" y="2306193"/>
                <a:ext cx="232445" cy="49430"/>
              </a:xfrm>
              <a:custGeom>
                <a:avLst/>
                <a:gdLst>
                  <a:gd name="T0" fmla="*/ 227 w 251"/>
                  <a:gd name="T1" fmla="*/ 0 h 51"/>
                  <a:gd name="T2" fmla="*/ 24 w 251"/>
                  <a:gd name="T3" fmla="*/ 0 h 51"/>
                  <a:gd name="T4" fmla="*/ 0 w 251"/>
                  <a:gd name="T5" fmla="*/ 24 h 51"/>
                  <a:gd name="T6" fmla="*/ 0 w 251"/>
                  <a:gd name="T7" fmla="*/ 27 h 51"/>
                  <a:gd name="T8" fmla="*/ 24 w 251"/>
                  <a:gd name="T9" fmla="*/ 51 h 51"/>
                  <a:gd name="T10" fmla="*/ 227 w 251"/>
                  <a:gd name="T11" fmla="*/ 51 h 51"/>
                  <a:gd name="T12" fmla="*/ 251 w 251"/>
                  <a:gd name="T13" fmla="*/ 27 h 51"/>
                  <a:gd name="T14" fmla="*/ 251 w 251"/>
                  <a:gd name="T15" fmla="*/ 24 h 51"/>
                  <a:gd name="T16" fmla="*/ 227 w 25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1" y="41"/>
                      <a:pt x="251" y="27"/>
                    </a:cubicBezTo>
                    <a:cubicBezTo>
                      <a:pt x="251" y="24"/>
                      <a:pt x="251" y="24"/>
                      <a:pt x="251" y="24"/>
                    </a:cubicBezTo>
                    <a:cubicBezTo>
                      <a:pt x="251"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2" name="Freeform 21">
                <a:extLst>
                  <a:ext uri="{FF2B5EF4-FFF2-40B4-BE49-F238E27FC236}">
                    <a16:creationId xmlns="" xmlns:a14="http://schemas.microsoft.com/office/drawing/2010/main" xmlns:p14="http://schemas.microsoft.com/office/powerpoint/2010/main" xmlns:a16="http://schemas.microsoft.com/office/drawing/2014/main" id="{472B9D02-8F50-440D-9F55-2E34EDD06C26}"/>
                  </a:ext>
                </a:extLst>
              </p:cNvPr>
              <p:cNvSpPr>
                <a:spLocks/>
              </p:cNvSpPr>
              <p:nvPr/>
            </p:nvSpPr>
            <p:spPr bwMode="auto">
              <a:xfrm>
                <a:off x="9669398"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0" y="0"/>
                      <a:pt x="0" y="11"/>
                      <a:pt x="0" y="24"/>
                    </a:cubicBezTo>
                    <a:cubicBezTo>
                      <a:pt x="0" y="27"/>
                      <a:pt x="0" y="27"/>
                      <a:pt x="0" y="27"/>
                    </a:cubicBezTo>
                    <a:cubicBezTo>
                      <a:pt x="0" y="41"/>
                      <a:pt x="10" y="51"/>
                      <a:pt x="24" y="51"/>
                    </a:cubicBezTo>
                    <a:cubicBezTo>
                      <a:pt x="226" y="51"/>
                      <a:pt x="226" y="51"/>
                      <a:pt x="226" y="51"/>
                    </a:cubicBezTo>
                    <a:cubicBezTo>
                      <a:pt x="239" y="51"/>
                      <a:pt x="250" y="41"/>
                      <a:pt x="250" y="27"/>
                    </a:cubicBezTo>
                    <a:cubicBezTo>
                      <a:pt x="250" y="24"/>
                      <a:pt x="250" y="24"/>
                      <a:pt x="250" y="24"/>
                    </a:cubicBezTo>
                    <a:cubicBezTo>
                      <a:pt x="250" y="11"/>
                      <a:pt x="239"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3" name="Freeform 22">
                <a:extLst>
                  <a:ext uri="{FF2B5EF4-FFF2-40B4-BE49-F238E27FC236}">
                    <a16:creationId xmlns="" xmlns:a14="http://schemas.microsoft.com/office/drawing/2010/main" xmlns:p14="http://schemas.microsoft.com/office/powerpoint/2010/main" xmlns:a16="http://schemas.microsoft.com/office/drawing/2014/main" id="{A5F8C765-92B7-41C1-87CB-C17E9F46333C}"/>
                  </a:ext>
                </a:extLst>
              </p:cNvPr>
              <p:cNvSpPr>
                <a:spLocks/>
              </p:cNvSpPr>
              <p:nvPr/>
            </p:nvSpPr>
            <p:spPr bwMode="auto">
              <a:xfrm>
                <a:off x="10109316"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1" y="0"/>
                      <a:pt x="0" y="11"/>
                      <a:pt x="0" y="24"/>
                    </a:cubicBezTo>
                    <a:cubicBezTo>
                      <a:pt x="0" y="27"/>
                      <a:pt x="0" y="27"/>
                      <a:pt x="0" y="27"/>
                    </a:cubicBezTo>
                    <a:cubicBezTo>
                      <a:pt x="0" y="41"/>
                      <a:pt x="11" y="51"/>
                      <a:pt x="24" y="51"/>
                    </a:cubicBezTo>
                    <a:cubicBezTo>
                      <a:pt x="226" y="51"/>
                      <a:pt x="226" y="51"/>
                      <a:pt x="226" y="51"/>
                    </a:cubicBezTo>
                    <a:cubicBezTo>
                      <a:pt x="240" y="51"/>
                      <a:pt x="250" y="41"/>
                      <a:pt x="250" y="27"/>
                    </a:cubicBezTo>
                    <a:cubicBezTo>
                      <a:pt x="250" y="24"/>
                      <a:pt x="250" y="24"/>
                      <a:pt x="250" y="24"/>
                    </a:cubicBezTo>
                    <a:cubicBezTo>
                      <a:pt x="250" y="11"/>
                      <a:pt x="240"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4" name="Freeform 23">
                <a:extLst>
                  <a:ext uri="{FF2B5EF4-FFF2-40B4-BE49-F238E27FC236}">
                    <a16:creationId xmlns="" xmlns:a14="http://schemas.microsoft.com/office/drawing/2010/main" xmlns:p14="http://schemas.microsoft.com/office/powerpoint/2010/main" xmlns:a16="http://schemas.microsoft.com/office/drawing/2014/main" id="{0BA9A71E-D138-4574-8EE0-19A441C6AF2A}"/>
                  </a:ext>
                </a:extLst>
              </p:cNvPr>
              <p:cNvSpPr>
                <a:spLocks/>
              </p:cNvSpPr>
              <p:nvPr/>
            </p:nvSpPr>
            <p:spPr bwMode="auto">
              <a:xfrm>
                <a:off x="10549235" y="2306193"/>
                <a:ext cx="231486" cy="49430"/>
              </a:xfrm>
              <a:custGeom>
                <a:avLst/>
                <a:gdLst>
                  <a:gd name="T0" fmla="*/ 227 w 250"/>
                  <a:gd name="T1" fmla="*/ 0 h 51"/>
                  <a:gd name="T2" fmla="*/ 24 w 250"/>
                  <a:gd name="T3" fmla="*/ 0 h 51"/>
                  <a:gd name="T4" fmla="*/ 0 w 250"/>
                  <a:gd name="T5" fmla="*/ 24 h 51"/>
                  <a:gd name="T6" fmla="*/ 0 w 250"/>
                  <a:gd name="T7" fmla="*/ 27 h 51"/>
                  <a:gd name="T8" fmla="*/ 24 w 250"/>
                  <a:gd name="T9" fmla="*/ 51 h 51"/>
                  <a:gd name="T10" fmla="*/ 227 w 250"/>
                  <a:gd name="T11" fmla="*/ 51 h 51"/>
                  <a:gd name="T12" fmla="*/ 250 w 250"/>
                  <a:gd name="T13" fmla="*/ 27 h 51"/>
                  <a:gd name="T14" fmla="*/ 250 w 250"/>
                  <a:gd name="T15" fmla="*/ 24 h 51"/>
                  <a:gd name="T16" fmla="*/ 227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0" y="41"/>
                      <a:pt x="250" y="27"/>
                    </a:cubicBezTo>
                    <a:cubicBezTo>
                      <a:pt x="250" y="24"/>
                      <a:pt x="250" y="24"/>
                      <a:pt x="250" y="24"/>
                    </a:cubicBezTo>
                    <a:cubicBezTo>
                      <a:pt x="250"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5" name="矩形: 圆角 624">
                <a:extLst>
                  <a:ext uri="{FF2B5EF4-FFF2-40B4-BE49-F238E27FC236}">
                    <a16:creationId xmlns="" xmlns:a14="http://schemas.microsoft.com/office/drawing/2010/main" xmlns:p14="http://schemas.microsoft.com/office/powerpoint/2010/main" xmlns:a16="http://schemas.microsoft.com/office/drawing/2014/main" id="{92E768DA-EF1D-42C2-9B38-20445A9E3BC3}"/>
                  </a:ext>
                </a:extLst>
              </p:cNvPr>
              <p:cNvSpPr>
                <a:spLocks noChangeAspect="1"/>
              </p:cNvSpPr>
              <p:nvPr/>
            </p:nvSpPr>
            <p:spPr>
              <a:xfrm>
                <a:off x="8162338" y="3480441"/>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26" name="矩形: 圆角 625">
                <a:extLst>
                  <a:ext uri="{FF2B5EF4-FFF2-40B4-BE49-F238E27FC236}">
                    <a16:creationId xmlns="" xmlns:a14="http://schemas.microsoft.com/office/drawing/2010/main" xmlns:p14="http://schemas.microsoft.com/office/powerpoint/2010/main" xmlns:a16="http://schemas.microsoft.com/office/drawing/2014/main" id="{7AFD250F-B882-418A-B79A-AE329F8692B0}"/>
                  </a:ext>
                </a:extLst>
              </p:cNvPr>
              <p:cNvSpPr>
                <a:spLocks noChangeAspect="1"/>
              </p:cNvSpPr>
              <p:nvPr/>
            </p:nvSpPr>
            <p:spPr>
              <a:xfrm>
                <a:off x="8162338" y="3849165"/>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27" name="矩形: 圆角 626">
                <a:extLst>
                  <a:ext uri="{FF2B5EF4-FFF2-40B4-BE49-F238E27FC236}">
                    <a16:creationId xmlns="" xmlns:a14="http://schemas.microsoft.com/office/drawing/2010/main" xmlns:p14="http://schemas.microsoft.com/office/powerpoint/2010/main" xmlns:a16="http://schemas.microsoft.com/office/drawing/2014/main" id="{3CA75934-C292-46AD-9325-128D972B839C}"/>
                  </a:ext>
                </a:extLst>
              </p:cNvPr>
              <p:cNvSpPr>
                <a:spLocks noChangeAspect="1"/>
              </p:cNvSpPr>
              <p:nvPr/>
            </p:nvSpPr>
            <p:spPr>
              <a:xfrm>
                <a:off x="8162338" y="4216750"/>
                <a:ext cx="526366" cy="127814"/>
              </a:xfrm>
              <a:prstGeom prst="roundRect">
                <a:avLst>
                  <a:gd name="adj" fmla="val 14540"/>
                </a:avLst>
              </a:prstGeom>
              <a:gradFill>
                <a:gsLst>
                  <a:gs pos="8000">
                    <a:srgbClr val="F0EEF2"/>
                  </a:gs>
                  <a:gs pos="100000">
                    <a:srgbClr val="F0EEF2">
                      <a:alpha val="0"/>
                    </a:srgbClr>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28" name="矩形: 圆角 627">
                <a:extLst>
                  <a:ext uri="{FF2B5EF4-FFF2-40B4-BE49-F238E27FC236}">
                    <a16:creationId xmlns="" xmlns:a14="http://schemas.microsoft.com/office/drawing/2010/main" xmlns:p14="http://schemas.microsoft.com/office/powerpoint/2010/main" xmlns:a16="http://schemas.microsoft.com/office/drawing/2014/main" id="{5E37EE48-49D9-4743-98F1-815E336336AA}"/>
                  </a:ext>
                </a:extLst>
              </p:cNvPr>
              <p:cNvSpPr>
                <a:spLocks noChangeAspect="1"/>
              </p:cNvSpPr>
              <p:nvPr/>
            </p:nvSpPr>
            <p:spPr>
              <a:xfrm>
                <a:off x="8800745" y="2742992"/>
                <a:ext cx="2578310" cy="1523165"/>
              </a:xfrm>
              <a:prstGeom prst="roundRect">
                <a:avLst>
                  <a:gd name="adj" fmla="val 2829"/>
                </a:avLst>
              </a:prstGeom>
              <a:noFill/>
              <a:ln w="25400">
                <a:gradFill>
                  <a:gsLst>
                    <a:gs pos="62000">
                      <a:srgbClr val="F0EEF2"/>
                    </a:gs>
                    <a:gs pos="100000">
                      <a:srgbClr val="F0EEF2">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29" name="矩形: 圆角 628">
                <a:extLst>
                  <a:ext uri="{FF2B5EF4-FFF2-40B4-BE49-F238E27FC236}">
                    <a16:creationId xmlns="" xmlns:a14="http://schemas.microsoft.com/office/drawing/2010/main" xmlns:p14="http://schemas.microsoft.com/office/powerpoint/2010/main" xmlns:a16="http://schemas.microsoft.com/office/drawing/2014/main" id="{7396136D-056B-45EB-853B-366205E7375D}"/>
                  </a:ext>
                </a:extLst>
              </p:cNvPr>
              <p:cNvSpPr>
                <a:spLocks noChangeAspect="1"/>
              </p:cNvSpPr>
              <p:nvPr/>
            </p:nvSpPr>
            <p:spPr>
              <a:xfrm>
                <a:off x="8162338" y="3111717"/>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214" name="组合 213">
              <a:extLst>
                <a:ext uri="{FF2B5EF4-FFF2-40B4-BE49-F238E27FC236}">
                  <a16:creationId xmlns="" xmlns:a14="http://schemas.microsoft.com/office/drawing/2010/main" xmlns:p14="http://schemas.microsoft.com/office/powerpoint/2010/main" xmlns:a16="http://schemas.microsoft.com/office/drawing/2014/main" id="{7FEAF294-79A2-4F9A-89C4-B17D5389BFEF}"/>
                </a:ext>
              </a:extLst>
            </p:cNvPr>
            <p:cNvGrpSpPr/>
            <p:nvPr/>
          </p:nvGrpSpPr>
          <p:grpSpPr>
            <a:xfrm>
              <a:off x="9039034" y="3211004"/>
              <a:ext cx="2101734" cy="587141"/>
              <a:chOff x="1633218" y="3294045"/>
              <a:chExt cx="2101734" cy="587141"/>
            </a:xfrm>
          </p:grpSpPr>
          <p:sp>
            <p:nvSpPr>
              <p:cNvPr id="231" name="圆角矩形 13">
                <a:extLst>
                  <a:ext uri="{FF2B5EF4-FFF2-40B4-BE49-F238E27FC236}">
                    <a16:creationId xmlns="" xmlns:a14="http://schemas.microsoft.com/office/drawing/2010/main" xmlns:p14="http://schemas.microsoft.com/office/powerpoint/2010/main" xmlns:a16="http://schemas.microsoft.com/office/drawing/2014/main" id="{9491DAE1-4CEA-4AFC-A030-4E6E6F3F2EDA}"/>
                  </a:ext>
                </a:extLst>
              </p:cNvPr>
              <p:cNvSpPr/>
              <p:nvPr/>
            </p:nvSpPr>
            <p:spPr>
              <a:xfrm>
                <a:off x="1633218" y="3294045"/>
                <a:ext cx="875309" cy="587141"/>
              </a:xfrm>
              <a:prstGeom prst="roundRect">
                <a:avLst>
                  <a:gd name="adj" fmla="val 8038"/>
                </a:avLst>
              </a:prstGeom>
              <a:blipFill>
                <a:blip r:embed="rId3"/>
                <a:srcRect/>
                <a:stretch>
                  <a:fillRect l="-9443" r="-9443"/>
                </a:stretch>
              </a:blipFill>
              <a:ln w="3175">
                <a:noFill/>
                <a:prstDash val="solid"/>
                <a:miter lim="800000"/>
                <a:headEnd/>
                <a:tailEnd/>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endParaRPr lang="zh-CN" altLang="en-US" kern="0" dirty="0">
                  <a:solidFill>
                    <a:srgbClr val="44546A">
                      <a:lumMod val="60000"/>
                      <a:lumOff val="40000"/>
                    </a:srgbClr>
                  </a:solidFill>
                </a:endParaRPr>
              </a:p>
            </p:txBody>
          </p:sp>
          <p:grpSp>
            <p:nvGrpSpPr>
              <p:cNvPr id="232" name="组合 231">
                <a:extLst>
                  <a:ext uri="{FF2B5EF4-FFF2-40B4-BE49-F238E27FC236}">
                    <a16:creationId xmlns="" xmlns:a14="http://schemas.microsoft.com/office/drawing/2010/main" xmlns:p14="http://schemas.microsoft.com/office/powerpoint/2010/main" xmlns:a16="http://schemas.microsoft.com/office/drawing/2014/main" id="{E2391124-F265-4DB1-8229-74D602D19143}"/>
                  </a:ext>
                </a:extLst>
              </p:cNvPr>
              <p:cNvGrpSpPr/>
              <p:nvPr/>
            </p:nvGrpSpPr>
            <p:grpSpPr>
              <a:xfrm>
                <a:off x="2634832" y="3294045"/>
                <a:ext cx="1100120" cy="587141"/>
                <a:chOff x="1703214" y="3185928"/>
                <a:chExt cx="582258" cy="521425"/>
              </a:xfrm>
            </p:grpSpPr>
            <p:sp>
              <p:nvSpPr>
                <p:cNvPr id="233" name="矩形 232">
                  <a:extLst>
                    <a:ext uri="{FF2B5EF4-FFF2-40B4-BE49-F238E27FC236}">
                      <a16:creationId xmlns="" xmlns:a14="http://schemas.microsoft.com/office/drawing/2010/main" xmlns:p14="http://schemas.microsoft.com/office/powerpoint/2010/main" xmlns:a16="http://schemas.microsoft.com/office/drawing/2014/main" id="{C24C1FF5-F911-419A-917D-EE3BC6FF1575}"/>
                    </a:ext>
                  </a:extLst>
                </p:cNvPr>
                <p:cNvSpPr/>
                <p:nvPr/>
              </p:nvSpPr>
              <p:spPr>
                <a:xfrm>
                  <a:off x="1703214" y="3185928"/>
                  <a:ext cx="582258"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4" name="矩形 233">
                  <a:extLst>
                    <a:ext uri="{FF2B5EF4-FFF2-40B4-BE49-F238E27FC236}">
                      <a16:creationId xmlns="" xmlns:a14="http://schemas.microsoft.com/office/drawing/2010/main" xmlns:p14="http://schemas.microsoft.com/office/powerpoint/2010/main" xmlns:a16="http://schemas.microsoft.com/office/drawing/2014/main" id="{B1784DD8-9CF9-4CAD-AAE1-28E2859DB9ED}"/>
                    </a:ext>
                  </a:extLst>
                </p:cNvPr>
                <p:cNvSpPr/>
                <p:nvPr/>
              </p:nvSpPr>
              <p:spPr>
                <a:xfrm>
                  <a:off x="1703214" y="3388853"/>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5" name="矩形 234">
                  <a:extLst>
                    <a:ext uri="{FF2B5EF4-FFF2-40B4-BE49-F238E27FC236}">
                      <a16:creationId xmlns="" xmlns:a14="http://schemas.microsoft.com/office/drawing/2010/main" xmlns:p14="http://schemas.microsoft.com/office/powerpoint/2010/main" xmlns:a16="http://schemas.microsoft.com/office/drawing/2014/main" id="{FFF26157-FF7D-42F5-8741-B0B5675BACE1}"/>
                    </a:ext>
                  </a:extLst>
                </p:cNvPr>
                <p:cNvSpPr/>
                <p:nvPr/>
              </p:nvSpPr>
              <p:spPr>
                <a:xfrm>
                  <a:off x="1703214" y="3602089"/>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grpSp>
      <p:sp>
        <p:nvSpPr>
          <p:cNvPr id="2" name="标题 1">
            <a:extLst>
              <a:ext uri="{FF2B5EF4-FFF2-40B4-BE49-F238E27FC236}">
                <a16:creationId xmlns="" xmlns:a14="http://schemas.microsoft.com/office/drawing/2010/main" xmlns:p14="http://schemas.microsoft.com/office/powerpoint/2010/main" xmlns:a16="http://schemas.microsoft.com/office/drawing/2014/main" id="{02F5592C-255D-433F-8125-698E99B5A828}"/>
              </a:ext>
            </a:extLst>
          </p:cNvPr>
          <p:cNvSpPr txBox="1">
            <a:spLocks/>
          </p:cNvSpPr>
          <p:nvPr/>
        </p:nvSpPr>
        <p:spPr>
          <a:xfrm>
            <a:off x="660400" y="0"/>
            <a:ext cx="10858500" cy="1028700"/>
          </a:xfrm>
          <a:prstGeom prst="rect">
            <a:avLst/>
          </a:prstGeom>
        </p:spPr>
        <p:txBody>
          <a:bodyPr vert="horz" lIns="91440" tIns="45720" rIns="91440" bIns="45720" rtlCol="0" anchor="b">
            <a:normAutofit/>
          </a:bodyPr>
          <a:lstStyle>
            <a:lvl1pPr algn="l" defTabSz="914354" rtl="0" eaLnBrk="1" latinLnBrk="0" hangingPunct="1">
              <a:lnSpc>
                <a:spcPct val="90000"/>
              </a:lnSpc>
              <a:spcBef>
                <a:spcPct val="0"/>
              </a:spcBef>
              <a:buNone/>
              <a:defRPr sz="4400" kern="1200">
                <a:solidFill>
                  <a:schemeClr val="tx1"/>
                </a:solidFill>
                <a:latin typeface="+mj-lt"/>
                <a:ea typeface="+mj-ea"/>
                <a:cs typeface="+mj-cs"/>
              </a:defRPr>
            </a:lvl1pPr>
          </a:lstStyle>
          <a:p>
            <a:pPr defTabSz="914309"/>
            <a:r>
              <a:rPr lang="zh-CN" altLang="en-US" sz="2800" b="1" dirty="0"/>
              <a:t>填充图示</a:t>
            </a:r>
            <a:r>
              <a:rPr lang="zh-CN" altLang="en-US" sz="2800" b="1"/>
              <a:t>中的</a:t>
            </a:r>
            <a:r>
              <a:rPr lang="zh-CN" altLang="en-US" sz="2800" b="1" smtClean="0"/>
              <a:t>图</a:t>
            </a:r>
            <a:r>
              <a:rPr lang="zh-CN" altLang="en-US" sz="100" b="1" smtClean="0"/>
              <a:t> </a:t>
            </a:r>
            <a:r>
              <a:rPr lang="zh-CN" altLang="en-US" sz="2800" b="1" smtClean="0"/>
              <a:t>片  </a:t>
            </a:r>
            <a:r>
              <a:rPr lang="en-US" altLang="zh-CN" sz="2800" b="1" dirty="0"/>
              <a:t>Fill Pictures in Diagram</a:t>
            </a:r>
            <a:endParaRPr lang="zh-CN" altLang="en-US" sz="2800" b="1" dirty="0"/>
          </a:p>
        </p:txBody>
      </p:sp>
      <p:sp>
        <p:nvSpPr>
          <p:cNvPr id="4" name="矩形 3">
            <a:extLst>
              <a:ext uri="{FF2B5EF4-FFF2-40B4-BE49-F238E27FC236}">
                <a16:creationId xmlns="" xmlns:a14="http://schemas.microsoft.com/office/drawing/2010/main" xmlns:p14="http://schemas.microsoft.com/office/powerpoint/2010/main" xmlns:a16="http://schemas.microsoft.com/office/drawing/2014/main" id="{E43AC282-26A4-4B89-9254-20067634254A}"/>
              </a:ext>
            </a:extLst>
          </p:cNvPr>
          <p:cNvSpPr/>
          <p:nvPr/>
        </p:nvSpPr>
        <p:spPr>
          <a:xfrm>
            <a:off x="8978025" y="128575"/>
            <a:ext cx="2540875" cy="771556"/>
          </a:xfrm>
          <a:prstGeom prst="rect">
            <a:avLst/>
          </a:prstGeom>
          <a:solidFill>
            <a:srgbClr val="F73434"/>
          </a:solidFill>
          <a:ln w="12700">
            <a:noFill/>
            <a:prstDash val="sysDash"/>
          </a:ln>
        </p:spPr>
        <p:txBody>
          <a:bodyPr wrap="square" lIns="91440" tIns="91440" rIns="91440" bIns="91440" rtlCol="0" anchor="ctr">
            <a:noAutofit/>
          </a:bodyPr>
          <a:lstStyle/>
          <a:p>
            <a:pPr>
              <a:lnSpc>
                <a:spcPct val="120000"/>
              </a:lnSpc>
            </a:pPr>
            <a:r>
              <a:rPr lang="en-US" altLang="zh-CN" sz="800" b="1" dirty="0">
                <a:solidFill>
                  <a:schemeClr val="bg1"/>
                </a:solidFill>
              </a:rPr>
              <a:t>Note:</a:t>
            </a:r>
          </a:p>
          <a:p>
            <a:pPr>
              <a:lnSpc>
                <a:spcPct val="120000"/>
              </a:lnSpc>
            </a:pPr>
            <a:r>
              <a:rPr lang="zh-CN" altLang="en-US" sz="800" dirty="0">
                <a:solidFill>
                  <a:schemeClr val="bg1"/>
                </a:solidFill>
              </a:rPr>
              <a:t>本页为说明页，使用时请删除本页</a:t>
            </a:r>
            <a:r>
              <a:rPr lang="zh-CN" altLang="en-US" sz="800">
                <a:solidFill>
                  <a:schemeClr val="bg1"/>
                </a:solidFill>
              </a:rPr>
              <a:t>内</a:t>
            </a:r>
            <a:r>
              <a:rPr lang="zh-CN" altLang="en-US" sz="800" smtClean="0">
                <a:solidFill>
                  <a:schemeClr val="bg1"/>
                </a:solidFill>
              </a:rPr>
              <a:t>容</a:t>
            </a:r>
            <a:r>
              <a:rPr lang="zh-CN" altLang="en-US" sz="100" smtClean="0">
                <a:solidFill>
                  <a:schemeClr val="bg1"/>
                </a:solidFill>
              </a:rPr>
              <a:t> </a:t>
            </a:r>
            <a:r>
              <a:rPr lang="zh-CN" altLang="en-US" sz="800" smtClean="0">
                <a:solidFill>
                  <a:schemeClr val="bg1"/>
                </a:solidFill>
              </a:rPr>
              <a:t>。</a:t>
            </a:r>
            <a:endParaRPr lang="zh-CN" altLang="en-US" sz="800" dirty="0">
              <a:solidFill>
                <a:schemeClr val="bg1"/>
              </a:solidFill>
            </a:endParaRPr>
          </a:p>
          <a:p>
            <a:pPr>
              <a:lnSpc>
                <a:spcPct val="120000"/>
              </a:lnSpc>
            </a:pPr>
            <a:r>
              <a:rPr lang="en-US" altLang="zh-CN" sz="800" dirty="0">
                <a:solidFill>
                  <a:schemeClr val="bg1"/>
                </a:solidFill>
              </a:rPr>
              <a:t>This slide is an instruction. Please delete this slide before using it for presentation.</a:t>
            </a:r>
          </a:p>
        </p:txBody>
      </p:sp>
    </p:spTree>
    <p:custDataLst>
      <p:tags r:id="rId1"/>
    </p:custDataLst>
    <p:extLst>
      <p:ext uri="{BB962C8B-B14F-4D97-AF65-F5344CB8AC3E}">
        <p14:creationId xmlns:p14="http://schemas.microsoft.com/office/powerpoint/2010/main" val="3299890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2" name="组合 11">
            <a:extLst>
              <a:ext uri="{FF2B5EF4-FFF2-40B4-BE49-F238E27FC236}">
                <a16:creationId xmlns="" xmlns:a14="http://schemas.microsoft.com/office/drawing/2010/main" xmlns:p14="http://schemas.microsoft.com/office/powerpoint/2010/main" xmlns:a16="http://schemas.microsoft.com/office/drawing/2014/main" id="{5F6B81AB-CE69-4C9D-8320-3B89A6421073}"/>
              </a:ext>
            </a:extLst>
          </p:cNvPr>
          <p:cNvGrpSpPr/>
          <p:nvPr/>
        </p:nvGrpSpPr>
        <p:grpSpPr>
          <a:xfrm>
            <a:off x="660400" y="5387492"/>
            <a:ext cx="3493913" cy="553998"/>
            <a:chOff x="673100" y="5387492"/>
            <a:chExt cx="3493913" cy="553998"/>
          </a:xfrm>
        </p:grpSpPr>
        <p:sp>
          <p:nvSpPr>
            <p:cNvPr id="351" name="文本框 350"/>
            <p:cNvSpPr txBox="1"/>
            <p:nvPr/>
          </p:nvSpPr>
          <p:spPr>
            <a:xfrm>
              <a:off x="994562" y="5387492"/>
              <a:ext cx="3172451" cy="553998"/>
            </a:xfrm>
            <a:prstGeom prst="rect">
              <a:avLst/>
            </a:prstGeom>
            <a:noFill/>
          </p:spPr>
          <p:txBody>
            <a:bodyPr wrap="square" rtlCol="0" anchor="ctr">
              <a:spAutoFit/>
            </a:bodyPr>
            <a:lstStyle/>
            <a:p>
              <a:r>
                <a:rPr lang="zh-CN" altLang="en-US" sz="1000" dirty="0">
                  <a:solidFill>
                    <a:srgbClr val="2F2F2F"/>
                  </a:solidFill>
                </a:rPr>
                <a:t>解除组合，选中图示中的插图</a:t>
              </a:r>
              <a:endParaRPr lang="en-US" altLang="zh-CN" sz="1000" dirty="0">
                <a:solidFill>
                  <a:srgbClr val="2F2F2F"/>
                </a:solidFill>
              </a:endParaRPr>
            </a:p>
            <a:p>
              <a:r>
                <a:rPr lang="en-US" altLang="zh-CN" sz="1000" smtClean="0">
                  <a:solidFill>
                    <a:srgbClr val="2F2F2F"/>
                  </a:solidFill>
                </a:rPr>
                <a:t>Un</a:t>
              </a:r>
              <a:r>
                <a:rPr lang="en-US" altLang="zh-CN" sz="100" smtClean="0">
                  <a:solidFill>
                    <a:srgbClr val="2F2F2F"/>
                  </a:solidFill>
                </a:rPr>
                <a:t> </a:t>
              </a:r>
              <a:r>
                <a:rPr lang="en-US" altLang="zh-CN" sz="1000" smtClean="0">
                  <a:solidFill>
                    <a:srgbClr val="2F2F2F"/>
                  </a:solidFill>
                </a:rPr>
                <a:t>group </a:t>
              </a:r>
              <a:r>
                <a:rPr lang="en-US" altLang="zh-CN" sz="1000" dirty="0">
                  <a:solidFill>
                    <a:srgbClr val="2F2F2F"/>
                  </a:solidFill>
                </a:rPr>
                <a:t>the diagram and select the shape that needs to be replaced</a:t>
              </a:r>
              <a:endParaRPr lang="zh-CN" altLang="en-US" sz="1000" dirty="0">
                <a:solidFill>
                  <a:srgbClr val="2F2F2F"/>
                </a:solidFill>
              </a:endParaRPr>
            </a:p>
          </p:txBody>
        </p:sp>
        <p:sp>
          <p:nvSpPr>
            <p:cNvPr id="350" name="椭圆 349"/>
            <p:cNvSpPr/>
            <p:nvPr/>
          </p:nvSpPr>
          <p:spPr>
            <a:xfrm>
              <a:off x="673100" y="5526315"/>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1</a:t>
              </a:r>
              <a:endParaRPr lang="zh-CN" altLang="en-US" sz="1200" dirty="0"/>
            </a:p>
          </p:txBody>
        </p:sp>
      </p:grpSp>
      <p:sp>
        <p:nvSpPr>
          <p:cNvPr id="890" name="Right Arrow 16">
            <a:extLst>
              <a:ext uri="{FF2B5EF4-FFF2-40B4-BE49-F238E27FC236}">
                <a16:creationId xmlns="" xmlns:a14="http://schemas.microsoft.com/office/drawing/2010/main" xmlns:p14="http://schemas.microsoft.com/office/powerpoint/2010/main" xmlns:a16="http://schemas.microsoft.com/office/drawing/2014/main" id="{C18997BC-8A46-4480-BDE2-8A42CE9D6E96}"/>
              </a:ext>
            </a:extLst>
          </p:cNvPr>
          <p:cNvSpPr/>
          <p:nvPr/>
        </p:nvSpPr>
        <p:spPr>
          <a:xfrm>
            <a:off x="4284308" y="3338119"/>
            <a:ext cx="174147" cy="156344"/>
          </a:xfrm>
          <a:custGeom>
            <a:avLst/>
            <a:gdLst>
              <a:gd name="T0" fmla="*/ 4048 w 6714"/>
              <a:gd name="T1" fmla="*/ 194 h 6036"/>
              <a:gd name="T2" fmla="*/ 3696 w 6714"/>
              <a:gd name="T3" fmla="*/ 340 h 6036"/>
              <a:gd name="T4" fmla="*/ 3696 w 6714"/>
              <a:gd name="T5" fmla="*/ 1283 h 6036"/>
              <a:gd name="T6" fmla="*/ 199 w 6714"/>
              <a:gd name="T7" fmla="*/ 1283 h 6036"/>
              <a:gd name="T8" fmla="*/ 0 w 6714"/>
              <a:gd name="T9" fmla="*/ 1482 h 6036"/>
              <a:gd name="T10" fmla="*/ 0 w 6714"/>
              <a:gd name="T11" fmla="*/ 4553 h 6036"/>
              <a:gd name="T12" fmla="*/ 199 w 6714"/>
              <a:gd name="T13" fmla="*/ 4752 h 6036"/>
              <a:gd name="T14" fmla="*/ 3696 w 6714"/>
              <a:gd name="T15" fmla="*/ 4752 h 6036"/>
              <a:gd name="T16" fmla="*/ 3696 w 6714"/>
              <a:gd name="T17" fmla="*/ 5696 h 6036"/>
              <a:gd name="T18" fmla="*/ 4048 w 6714"/>
              <a:gd name="T19" fmla="*/ 5842 h 6036"/>
              <a:gd name="T20" fmla="*/ 6520 w 6714"/>
              <a:gd name="T21" fmla="*/ 3369 h 6036"/>
              <a:gd name="T22" fmla="*/ 6520 w 6714"/>
              <a:gd name="T23" fmla="*/ 2666 h 6036"/>
              <a:gd name="T24" fmla="*/ 4048 w 6714"/>
              <a:gd name="T25" fmla="*/ 194 h 6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14" h="6036">
                <a:moveTo>
                  <a:pt x="4048" y="194"/>
                </a:moveTo>
                <a:cubicBezTo>
                  <a:pt x="3853" y="0"/>
                  <a:pt x="3696" y="65"/>
                  <a:pt x="3696" y="340"/>
                </a:cubicBezTo>
                <a:lnTo>
                  <a:pt x="3696" y="1283"/>
                </a:lnTo>
                <a:lnTo>
                  <a:pt x="199" y="1283"/>
                </a:lnTo>
                <a:cubicBezTo>
                  <a:pt x="89" y="1283"/>
                  <a:pt x="0" y="1372"/>
                  <a:pt x="0" y="1482"/>
                </a:cubicBezTo>
                <a:lnTo>
                  <a:pt x="0" y="4553"/>
                </a:lnTo>
                <a:cubicBezTo>
                  <a:pt x="0" y="4663"/>
                  <a:pt x="89" y="4752"/>
                  <a:pt x="199" y="4752"/>
                </a:cubicBezTo>
                <a:lnTo>
                  <a:pt x="3696" y="4752"/>
                </a:lnTo>
                <a:lnTo>
                  <a:pt x="3696" y="5696"/>
                </a:lnTo>
                <a:cubicBezTo>
                  <a:pt x="3696" y="5971"/>
                  <a:pt x="3853" y="6036"/>
                  <a:pt x="4048" y="5842"/>
                </a:cubicBezTo>
                <a:lnTo>
                  <a:pt x="6520" y="3369"/>
                </a:lnTo>
                <a:cubicBezTo>
                  <a:pt x="6714" y="3175"/>
                  <a:pt x="6714" y="2860"/>
                  <a:pt x="6520" y="2666"/>
                </a:cubicBezTo>
                <a:lnTo>
                  <a:pt x="4048" y="194"/>
                </a:lnTo>
                <a:close/>
              </a:path>
            </a:pathLst>
          </a:custGeom>
          <a:solidFill>
            <a:srgbClr val="867B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613" name="文本框 612">
            <a:extLst>
              <a:ext uri="{FF2B5EF4-FFF2-40B4-BE49-F238E27FC236}">
                <a16:creationId xmlns="" xmlns:a14="http://schemas.microsoft.com/office/drawing/2010/main" xmlns:p14="http://schemas.microsoft.com/office/powerpoint/2010/main" xmlns:a16="http://schemas.microsoft.com/office/drawing/2014/main" id="{8AD2200D-CA44-4767-84EF-C1856654B4FA}"/>
              </a:ext>
            </a:extLst>
          </p:cNvPr>
          <p:cNvSpPr txBox="1"/>
          <p:nvPr/>
        </p:nvSpPr>
        <p:spPr>
          <a:xfrm>
            <a:off x="4916703" y="5387482"/>
            <a:ext cx="2558947" cy="553998"/>
          </a:xfrm>
          <a:prstGeom prst="rect">
            <a:avLst/>
          </a:prstGeom>
          <a:noFill/>
        </p:spPr>
        <p:txBody>
          <a:bodyPr wrap="square" rtlCol="0" anchor="ctr">
            <a:spAutoFit/>
          </a:bodyPr>
          <a:lstStyle/>
          <a:p>
            <a:r>
              <a:rPr lang="zh-CN" altLang="en-US" sz="1000" dirty="0">
                <a:solidFill>
                  <a:srgbClr val="2F2F2F"/>
                </a:solidFill>
              </a:rPr>
              <a:t>点击 </a:t>
            </a:r>
            <a:r>
              <a:rPr lang="en-US" altLang="zh-CN" sz="1000" dirty="0">
                <a:solidFill>
                  <a:srgbClr val="2F2F2F"/>
                </a:solidFill>
              </a:rPr>
              <a:t>iSlide【</a:t>
            </a:r>
            <a:r>
              <a:rPr lang="zh-CN" altLang="en-US" sz="1000" dirty="0">
                <a:solidFill>
                  <a:srgbClr val="2F2F2F"/>
                </a:solidFill>
              </a:rPr>
              <a:t>插图库</a:t>
            </a:r>
            <a:r>
              <a:rPr lang="en-US" altLang="zh-CN" sz="1000" dirty="0">
                <a:solidFill>
                  <a:srgbClr val="2F2F2F"/>
                </a:solidFill>
              </a:rPr>
              <a:t>】</a:t>
            </a:r>
            <a:r>
              <a:rPr lang="zh-CN" altLang="en-US" sz="1000" dirty="0">
                <a:solidFill>
                  <a:srgbClr val="2F2F2F"/>
                </a:solidFill>
              </a:rPr>
              <a:t>中的插图</a:t>
            </a:r>
            <a:r>
              <a:rPr lang="zh-CN" altLang="en-US" sz="1000">
                <a:solidFill>
                  <a:srgbClr val="2F2F2F"/>
                </a:solidFill>
              </a:rPr>
              <a:t>替</a:t>
            </a:r>
            <a:r>
              <a:rPr lang="zh-CN" altLang="en-US" sz="1000" smtClean="0">
                <a:solidFill>
                  <a:srgbClr val="2F2F2F"/>
                </a:solidFill>
              </a:rPr>
              <a:t>换</a:t>
            </a:r>
            <a:r>
              <a:rPr lang="zh-CN" altLang="en-US" sz="100" smtClean="0">
                <a:solidFill>
                  <a:srgbClr val="2F2F2F"/>
                </a:solidFill>
              </a:rPr>
              <a:t> </a:t>
            </a:r>
            <a:endParaRPr lang="en-US" altLang="zh-CN" sz="100" dirty="0">
              <a:solidFill>
                <a:srgbClr val="2F2F2F"/>
              </a:solidFill>
            </a:endParaRPr>
          </a:p>
          <a:p>
            <a:r>
              <a:rPr lang="en-US" altLang="zh-CN" sz="1000" dirty="0">
                <a:solidFill>
                  <a:srgbClr val="2F2F2F"/>
                </a:solidFill>
              </a:rPr>
              <a:t>Click the target vector in iSlide “Vector Library” to insert it into the diagram</a:t>
            </a:r>
            <a:endParaRPr lang="zh-CN" altLang="en-US" sz="1000" dirty="0">
              <a:solidFill>
                <a:srgbClr val="2F2F2F"/>
              </a:solidFill>
            </a:endParaRPr>
          </a:p>
        </p:txBody>
      </p:sp>
      <p:sp>
        <p:nvSpPr>
          <p:cNvPr id="614" name="椭圆 613">
            <a:extLst>
              <a:ext uri="{FF2B5EF4-FFF2-40B4-BE49-F238E27FC236}">
                <a16:creationId xmlns="" xmlns:a14="http://schemas.microsoft.com/office/drawing/2010/main" xmlns:p14="http://schemas.microsoft.com/office/powerpoint/2010/main" xmlns:a16="http://schemas.microsoft.com/office/drawing/2014/main" id="{0EF98DBB-FD28-4F75-8C30-91D37F4F411F}"/>
              </a:ext>
            </a:extLst>
          </p:cNvPr>
          <p:cNvSpPr/>
          <p:nvPr/>
        </p:nvSpPr>
        <p:spPr>
          <a:xfrm>
            <a:off x="4595244" y="5526315"/>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2</a:t>
            </a:r>
            <a:endParaRPr lang="zh-CN" altLang="en-US" sz="1200" dirty="0"/>
          </a:p>
        </p:txBody>
      </p:sp>
      <p:sp>
        <p:nvSpPr>
          <p:cNvPr id="891" name="Right Arrow 751">
            <a:extLst>
              <a:ext uri="{FF2B5EF4-FFF2-40B4-BE49-F238E27FC236}">
                <a16:creationId xmlns="" xmlns:a14="http://schemas.microsoft.com/office/drawing/2010/main" xmlns:p14="http://schemas.microsoft.com/office/powerpoint/2010/main" xmlns:a16="http://schemas.microsoft.com/office/drawing/2014/main" id="{262E38B2-0226-44BA-9105-CB532FA15FCA}"/>
              </a:ext>
            </a:extLst>
          </p:cNvPr>
          <p:cNvSpPr/>
          <p:nvPr/>
        </p:nvSpPr>
        <p:spPr>
          <a:xfrm>
            <a:off x="7720845" y="3338119"/>
            <a:ext cx="174147" cy="156344"/>
          </a:xfrm>
          <a:custGeom>
            <a:avLst/>
            <a:gdLst>
              <a:gd name="T0" fmla="*/ 4048 w 6714"/>
              <a:gd name="T1" fmla="*/ 194 h 6036"/>
              <a:gd name="T2" fmla="*/ 3696 w 6714"/>
              <a:gd name="T3" fmla="*/ 340 h 6036"/>
              <a:gd name="T4" fmla="*/ 3696 w 6714"/>
              <a:gd name="T5" fmla="*/ 1283 h 6036"/>
              <a:gd name="T6" fmla="*/ 199 w 6714"/>
              <a:gd name="T7" fmla="*/ 1283 h 6036"/>
              <a:gd name="T8" fmla="*/ 0 w 6714"/>
              <a:gd name="T9" fmla="*/ 1482 h 6036"/>
              <a:gd name="T10" fmla="*/ 0 w 6714"/>
              <a:gd name="T11" fmla="*/ 4553 h 6036"/>
              <a:gd name="T12" fmla="*/ 199 w 6714"/>
              <a:gd name="T13" fmla="*/ 4752 h 6036"/>
              <a:gd name="T14" fmla="*/ 3696 w 6714"/>
              <a:gd name="T15" fmla="*/ 4752 h 6036"/>
              <a:gd name="T16" fmla="*/ 3696 w 6714"/>
              <a:gd name="T17" fmla="*/ 5696 h 6036"/>
              <a:gd name="T18" fmla="*/ 4048 w 6714"/>
              <a:gd name="T19" fmla="*/ 5842 h 6036"/>
              <a:gd name="T20" fmla="*/ 6520 w 6714"/>
              <a:gd name="T21" fmla="*/ 3369 h 6036"/>
              <a:gd name="T22" fmla="*/ 6520 w 6714"/>
              <a:gd name="T23" fmla="*/ 2666 h 6036"/>
              <a:gd name="T24" fmla="*/ 4048 w 6714"/>
              <a:gd name="T25" fmla="*/ 194 h 6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14" h="6036">
                <a:moveTo>
                  <a:pt x="4048" y="194"/>
                </a:moveTo>
                <a:cubicBezTo>
                  <a:pt x="3853" y="0"/>
                  <a:pt x="3696" y="65"/>
                  <a:pt x="3696" y="340"/>
                </a:cubicBezTo>
                <a:lnTo>
                  <a:pt x="3696" y="1283"/>
                </a:lnTo>
                <a:lnTo>
                  <a:pt x="199" y="1283"/>
                </a:lnTo>
                <a:cubicBezTo>
                  <a:pt x="89" y="1283"/>
                  <a:pt x="0" y="1372"/>
                  <a:pt x="0" y="1482"/>
                </a:cubicBezTo>
                <a:lnTo>
                  <a:pt x="0" y="4553"/>
                </a:lnTo>
                <a:cubicBezTo>
                  <a:pt x="0" y="4663"/>
                  <a:pt x="89" y="4752"/>
                  <a:pt x="199" y="4752"/>
                </a:cubicBezTo>
                <a:lnTo>
                  <a:pt x="3696" y="4752"/>
                </a:lnTo>
                <a:lnTo>
                  <a:pt x="3696" y="5696"/>
                </a:lnTo>
                <a:cubicBezTo>
                  <a:pt x="3696" y="5971"/>
                  <a:pt x="3853" y="6036"/>
                  <a:pt x="4048" y="5842"/>
                </a:cubicBezTo>
                <a:lnTo>
                  <a:pt x="6520" y="3369"/>
                </a:lnTo>
                <a:cubicBezTo>
                  <a:pt x="6714" y="3175"/>
                  <a:pt x="6714" y="2860"/>
                  <a:pt x="6520" y="2666"/>
                </a:cubicBezTo>
                <a:lnTo>
                  <a:pt x="4048" y="194"/>
                </a:lnTo>
                <a:close/>
              </a:path>
            </a:pathLst>
          </a:custGeom>
          <a:solidFill>
            <a:srgbClr val="867B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753" name="文本框 752">
            <a:extLst>
              <a:ext uri="{FF2B5EF4-FFF2-40B4-BE49-F238E27FC236}">
                <a16:creationId xmlns="" xmlns:a14="http://schemas.microsoft.com/office/drawing/2010/main" xmlns:p14="http://schemas.microsoft.com/office/powerpoint/2010/main" xmlns:a16="http://schemas.microsoft.com/office/drawing/2014/main" id="{64E2827D-DD54-493E-8009-F97E8BD7C996}"/>
              </a:ext>
            </a:extLst>
          </p:cNvPr>
          <p:cNvSpPr txBox="1"/>
          <p:nvPr/>
        </p:nvSpPr>
        <p:spPr>
          <a:xfrm>
            <a:off x="8346455" y="5464436"/>
            <a:ext cx="3174039" cy="400110"/>
          </a:xfrm>
          <a:prstGeom prst="rect">
            <a:avLst/>
          </a:prstGeom>
          <a:noFill/>
        </p:spPr>
        <p:txBody>
          <a:bodyPr wrap="square" rtlCol="0" anchor="ctr">
            <a:spAutoFit/>
          </a:bodyPr>
          <a:lstStyle/>
          <a:p>
            <a:r>
              <a:rPr lang="zh-CN" altLang="en-US" sz="1000">
                <a:solidFill>
                  <a:srgbClr val="2F2F2F"/>
                </a:solidFill>
              </a:rPr>
              <a:t>替</a:t>
            </a:r>
            <a:r>
              <a:rPr lang="zh-CN" altLang="en-US" sz="1000" smtClean="0">
                <a:solidFill>
                  <a:srgbClr val="2F2F2F"/>
                </a:solidFill>
              </a:rPr>
              <a:t>换</a:t>
            </a:r>
            <a:r>
              <a:rPr lang="zh-CN" altLang="en-US" sz="100" smtClean="0">
                <a:solidFill>
                  <a:srgbClr val="2F2F2F"/>
                </a:solidFill>
              </a:rPr>
              <a:t> </a:t>
            </a:r>
            <a:r>
              <a:rPr lang="zh-CN" altLang="en-US" sz="1000" smtClean="0">
                <a:solidFill>
                  <a:srgbClr val="2F2F2F"/>
                </a:solidFill>
              </a:rPr>
              <a:t>成功</a:t>
            </a:r>
            <a:endParaRPr lang="en-US" altLang="zh-CN" sz="1000" dirty="0">
              <a:solidFill>
                <a:srgbClr val="2F2F2F"/>
              </a:solidFill>
            </a:endParaRPr>
          </a:p>
          <a:p>
            <a:r>
              <a:rPr lang="en-US" altLang="zh-CN" sz="1000" dirty="0">
                <a:solidFill>
                  <a:srgbClr val="2F2F2F"/>
                </a:solidFill>
              </a:rPr>
              <a:t>Done</a:t>
            </a:r>
            <a:endParaRPr lang="zh-CN" altLang="en-US" sz="1000" dirty="0">
              <a:solidFill>
                <a:srgbClr val="2F2F2F"/>
              </a:solidFill>
            </a:endParaRPr>
          </a:p>
        </p:txBody>
      </p:sp>
      <p:sp>
        <p:nvSpPr>
          <p:cNvPr id="754" name="椭圆 753">
            <a:extLst>
              <a:ext uri="{FF2B5EF4-FFF2-40B4-BE49-F238E27FC236}">
                <a16:creationId xmlns="" xmlns:a14="http://schemas.microsoft.com/office/drawing/2010/main" xmlns:p14="http://schemas.microsoft.com/office/powerpoint/2010/main" xmlns:a16="http://schemas.microsoft.com/office/drawing/2014/main" id="{2CAE1083-0567-4F35-9DA3-912D7BA86E08}"/>
              </a:ext>
            </a:extLst>
          </p:cNvPr>
          <p:cNvSpPr/>
          <p:nvPr/>
        </p:nvSpPr>
        <p:spPr>
          <a:xfrm>
            <a:off x="8024992" y="5526321"/>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3</a:t>
            </a:r>
            <a:endParaRPr lang="zh-CN" altLang="en-US" sz="1200" dirty="0"/>
          </a:p>
        </p:txBody>
      </p:sp>
      <p:grpSp>
        <p:nvGrpSpPr>
          <p:cNvPr id="13" name="组合 12">
            <a:extLst>
              <a:ext uri="{FF2B5EF4-FFF2-40B4-BE49-F238E27FC236}">
                <a16:creationId xmlns="" xmlns:a14="http://schemas.microsoft.com/office/drawing/2010/main" xmlns:p14="http://schemas.microsoft.com/office/powerpoint/2010/main" xmlns:a16="http://schemas.microsoft.com/office/drawing/2014/main" id="{D81B7CF2-C7AA-46F9-ACA8-EBB3BF1C5334}"/>
              </a:ext>
            </a:extLst>
          </p:cNvPr>
          <p:cNvGrpSpPr/>
          <p:nvPr/>
        </p:nvGrpSpPr>
        <p:grpSpPr>
          <a:xfrm>
            <a:off x="4588450" y="1963867"/>
            <a:ext cx="3002400" cy="3200416"/>
            <a:chOff x="4595239" y="1963866"/>
            <a:chExt cx="3002400" cy="3200416"/>
          </a:xfrm>
        </p:grpSpPr>
        <p:sp>
          <p:nvSpPr>
            <p:cNvPr id="302" name="矩形 301">
              <a:extLst>
                <a:ext uri="{FF2B5EF4-FFF2-40B4-BE49-F238E27FC236}">
                  <a16:creationId xmlns="" xmlns:a14="http://schemas.microsoft.com/office/drawing/2010/main" xmlns:p14="http://schemas.microsoft.com/office/powerpoint/2010/main" xmlns:a16="http://schemas.microsoft.com/office/drawing/2014/main" id="{EB95F60D-A0A5-4CA6-84FF-3A5E2CC59F42}"/>
                </a:ext>
              </a:extLst>
            </p:cNvPr>
            <p:cNvSpPr/>
            <p:nvPr/>
          </p:nvSpPr>
          <p:spPr>
            <a:xfrm>
              <a:off x="4595239" y="1963866"/>
              <a:ext cx="3002400" cy="3002400"/>
            </a:xfrm>
            <a:prstGeom prst="rect">
              <a:avLst/>
            </a:prstGeom>
            <a:gradFill>
              <a:gsLst>
                <a:gs pos="80000">
                  <a:schemeClr val="bg1"/>
                </a:gs>
                <a:gs pos="100000">
                  <a:schemeClr val="bg1">
                    <a:alpha val="0"/>
                  </a:schemeClr>
                </a:gs>
              </a:gsLst>
              <a:lin ang="5400000" scaled="1"/>
            </a:gradFill>
            <a:ln w="9525">
              <a:noFill/>
            </a:ln>
            <a:effectLst>
              <a:outerShdw blurRad="63500" sx="102000" sy="102000" algn="ctr" rotWithShape="0">
                <a:srgbClr val="E7E5EA">
                  <a:alpha val="5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153" name="组合 152">
              <a:extLst>
                <a:ext uri="{FF2B5EF4-FFF2-40B4-BE49-F238E27FC236}">
                  <a16:creationId xmlns="" xmlns:a14="http://schemas.microsoft.com/office/drawing/2010/main" xmlns:p14="http://schemas.microsoft.com/office/powerpoint/2010/main" xmlns:a16="http://schemas.microsoft.com/office/drawing/2014/main" id="{A63C04F4-C358-4500-9952-9EF5BBBE121E}"/>
                </a:ext>
              </a:extLst>
            </p:cNvPr>
            <p:cNvGrpSpPr/>
            <p:nvPr/>
          </p:nvGrpSpPr>
          <p:grpSpPr>
            <a:xfrm>
              <a:off x="4706067" y="2686508"/>
              <a:ext cx="2780745" cy="2477774"/>
              <a:chOff x="5543523" y="3950927"/>
              <a:chExt cx="2485245" cy="2214470"/>
            </a:xfrm>
            <a:solidFill>
              <a:srgbClr val="E7E5EA"/>
            </a:solidFill>
          </p:grpSpPr>
          <p:sp>
            <p:nvSpPr>
              <p:cNvPr id="154" name="矩形: 圆角 153">
                <a:extLst>
                  <a:ext uri="{FF2B5EF4-FFF2-40B4-BE49-F238E27FC236}">
                    <a16:creationId xmlns="" xmlns:a14="http://schemas.microsoft.com/office/drawing/2010/main" xmlns:p14="http://schemas.microsoft.com/office/powerpoint/2010/main" xmlns:a16="http://schemas.microsoft.com/office/drawing/2014/main" id="{F6ABABC0-F43F-4F7C-A81E-B32B79EAE147}"/>
                  </a:ext>
                </a:extLst>
              </p:cNvPr>
              <p:cNvSpPr>
                <a:spLocks noChangeAspect="1"/>
              </p:cNvSpPr>
              <p:nvPr/>
            </p:nvSpPr>
            <p:spPr>
              <a:xfrm>
                <a:off x="5543523" y="3950927"/>
                <a:ext cx="1189177" cy="668912"/>
              </a:xfrm>
              <a:prstGeom prst="roundRect">
                <a:avLst>
                  <a:gd name="adj" fmla="val 4418"/>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55" name="矩形: 圆角 154">
                <a:extLst>
                  <a:ext uri="{FF2B5EF4-FFF2-40B4-BE49-F238E27FC236}">
                    <a16:creationId xmlns="" xmlns:a14="http://schemas.microsoft.com/office/drawing/2010/main" xmlns:p14="http://schemas.microsoft.com/office/powerpoint/2010/main" xmlns:a16="http://schemas.microsoft.com/office/drawing/2014/main" id="{EF1FB13C-2546-480B-A3F8-637DD57A2E9A}"/>
                  </a:ext>
                </a:extLst>
              </p:cNvPr>
              <p:cNvSpPr>
                <a:spLocks noChangeAspect="1"/>
              </p:cNvSpPr>
              <p:nvPr/>
            </p:nvSpPr>
            <p:spPr>
              <a:xfrm>
                <a:off x="5543523" y="4723706"/>
                <a:ext cx="1189177" cy="668912"/>
              </a:xfrm>
              <a:prstGeom prst="roundRect">
                <a:avLst>
                  <a:gd name="adj" fmla="val 4418"/>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56" name="矩形: 圆角 155">
                <a:extLst>
                  <a:ext uri="{FF2B5EF4-FFF2-40B4-BE49-F238E27FC236}">
                    <a16:creationId xmlns="" xmlns:a14="http://schemas.microsoft.com/office/drawing/2010/main" xmlns:p14="http://schemas.microsoft.com/office/powerpoint/2010/main" xmlns:a16="http://schemas.microsoft.com/office/drawing/2014/main" id="{BC5AD51A-7A84-49B0-B8D0-BFC3CEC38872}"/>
                  </a:ext>
                </a:extLst>
              </p:cNvPr>
              <p:cNvSpPr>
                <a:spLocks noChangeAspect="1"/>
              </p:cNvSpPr>
              <p:nvPr/>
            </p:nvSpPr>
            <p:spPr>
              <a:xfrm>
                <a:off x="5543523" y="5496485"/>
                <a:ext cx="1189177" cy="668912"/>
              </a:xfrm>
              <a:prstGeom prst="roundRect">
                <a:avLst>
                  <a:gd name="adj" fmla="val 4418"/>
                </a:avLst>
              </a:prstGeom>
              <a:gradFill>
                <a:gsLst>
                  <a:gs pos="0">
                    <a:srgbClr val="E7E5EA"/>
                  </a:gs>
                  <a:gs pos="62000">
                    <a:srgbClr val="E7E5EA">
                      <a:alpha val="0"/>
                    </a:srgbClr>
                  </a:gs>
                </a:gsLst>
                <a:lin ang="54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57" name="矩形: 圆角 156">
                <a:extLst>
                  <a:ext uri="{FF2B5EF4-FFF2-40B4-BE49-F238E27FC236}">
                    <a16:creationId xmlns="" xmlns:a14="http://schemas.microsoft.com/office/drawing/2010/main" xmlns:p14="http://schemas.microsoft.com/office/powerpoint/2010/main" xmlns:a16="http://schemas.microsoft.com/office/drawing/2014/main" id="{20717845-5E08-43BB-B73D-0D6866386EE2}"/>
                  </a:ext>
                </a:extLst>
              </p:cNvPr>
              <p:cNvSpPr>
                <a:spLocks noChangeAspect="1"/>
              </p:cNvSpPr>
              <p:nvPr/>
            </p:nvSpPr>
            <p:spPr>
              <a:xfrm>
                <a:off x="6839591" y="5496485"/>
                <a:ext cx="1189177" cy="668912"/>
              </a:xfrm>
              <a:prstGeom prst="roundRect">
                <a:avLst>
                  <a:gd name="adj" fmla="val 4418"/>
                </a:avLst>
              </a:prstGeom>
              <a:gradFill>
                <a:gsLst>
                  <a:gs pos="0">
                    <a:srgbClr val="E7E5EA"/>
                  </a:gs>
                  <a:gs pos="62000">
                    <a:srgbClr val="E7E5EA">
                      <a:alpha val="0"/>
                    </a:srgbClr>
                  </a:gs>
                </a:gsLst>
                <a:lin ang="54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58" name="矩形: 圆角 157">
                <a:extLst>
                  <a:ext uri="{FF2B5EF4-FFF2-40B4-BE49-F238E27FC236}">
                    <a16:creationId xmlns="" xmlns:a14="http://schemas.microsoft.com/office/drawing/2010/main" xmlns:p14="http://schemas.microsoft.com/office/powerpoint/2010/main" xmlns:a16="http://schemas.microsoft.com/office/drawing/2014/main" id="{04273410-3874-4C71-9C4E-4D25FA658C6F}"/>
                  </a:ext>
                </a:extLst>
              </p:cNvPr>
              <p:cNvSpPr>
                <a:spLocks noChangeAspect="1"/>
              </p:cNvSpPr>
              <p:nvPr/>
            </p:nvSpPr>
            <p:spPr>
              <a:xfrm>
                <a:off x="6839591" y="4723706"/>
                <a:ext cx="1189177" cy="668912"/>
              </a:xfrm>
              <a:prstGeom prst="roundRect">
                <a:avLst>
                  <a:gd name="adj" fmla="val 4418"/>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60" name="矩形: 圆角 159">
                <a:extLst>
                  <a:ext uri="{FF2B5EF4-FFF2-40B4-BE49-F238E27FC236}">
                    <a16:creationId xmlns="" xmlns:a14="http://schemas.microsoft.com/office/drawing/2010/main" xmlns:p14="http://schemas.microsoft.com/office/powerpoint/2010/main" xmlns:a16="http://schemas.microsoft.com/office/drawing/2014/main" id="{4491213B-312B-4965-A8AF-91558B9C4872}"/>
                  </a:ext>
                </a:extLst>
              </p:cNvPr>
              <p:cNvSpPr>
                <a:spLocks noChangeAspect="1"/>
              </p:cNvSpPr>
              <p:nvPr/>
            </p:nvSpPr>
            <p:spPr>
              <a:xfrm>
                <a:off x="6839591" y="3950927"/>
                <a:ext cx="1189177" cy="668912"/>
              </a:xfrm>
              <a:prstGeom prst="roundRect">
                <a:avLst>
                  <a:gd name="adj" fmla="val 4418"/>
                </a:avLst>
              </a:prstGeom>
              <a:noFill/>
              <a:ln w="19050">
                <a:solidFill>
                  <a:srgbClr val="F734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5" name="组合 4">
              <a:extLst>
                <a:ext uri="{FF2B5EF4-FFF2-40B4-BE49-F238E27FC236}">
                  <a16:creationId xmlns="" xmlns:a14="http://schemas.microsoft.com/office/drawing/2010/main" xmlns:p14="http://schemas.microsoft.com/office/powerpoint/2010/main" xmlns:a16="http://schemas.microsoft.com/office/drawing/2014/main" id="{6771DD05-1958-4BBA-A29F-081CA2709801}"/>
                </a:ext>
              </a:extLst>
            </p:cNvPr>
            <p:cNvGrpSpPr/>
            <p:nvPr/>
          </p:nvGrpSpPr>
          <p:grpSpPr>
            <a:xfrm>
              <a:off x="4595239" y="1963866"/>
              <a:ext cx="3002400" cy="320240"/>
              <a:chOff x="8616223" y="1963866"/>
              <a:chExt cx="3002400" cy="320240"/>
            </a:xfrm>
          </p:grpSpPr>
          <p:sp>
            <p:nvSpPr>
              <p:cNvPr id="304" name="矩形 303">
                <a:extLst>
                  <a:ext uri="{FF2B5EF4-FFF2-40B4-BE49-F238E27FC236}">
                    <a16:creationId xmlns="" xmlns:a14="http://schemas.microsoft.com/office/drawing/2010/main" xmlns:p14="http://schemas.microsoft.com/office/powerpoint/2010/main" xmlns:a16="http://schemas.microsoft.com/office/drawing/2014/main" id="{7398D68E-9E0E-4C67-8760-46BFB1A0317C}"/>
                  </a:ext>
                </a:extLst>
              </p:cNvPr>
              <p:cNvSpPr/>
              <p:nvPr/>
            </p:nvSpPr>
            <p:spPr>
              <a:xfrm>
                <a:off x="8616223" y="1963866"/>
                <a:ext cx="3002400" cy="320240"/>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dirty="0"/>
              </a:p>
            </p:txBody>
          </p:sp>
          <p:sp>
            <p:nvSpPr>
              <p:cNvPr id="306" name="Multiply 213">
                <a:extLst>
                  <a:ext uri="{FF2B5EF4-FFF2-40B4-BE49-F238E27FC236}">
                    <a16:creationId xmlns="" xmlns:a14="http://schemas.microsoft.com/office/drawing/2010/main" xmlns:p14="http://schemas.microsoft.com/office/powerpoint/2010/main" xmlns:a16="http://schemas.microsoft.com/office/drawing/2014/main" id="{43E705A9-8DE1-4719-A1A7-37B0C64B2F5A}"/>
                  </a:ext>
                </a:extLst>
              </p:cNvPr>
              <p:cNvSpPr>
                <a:spLocks noChangeAspect="1"/>
              </p:cNvSpPr>
              <p:nvPr/>
            </p:nvSpPr>
            <p:spPr>
              <a:xfrm>
                <a:off x="11404732" y="2067944"/>
                <a:ext cx="112084" cy="112084"/>
              </a:xfrm>
              <a:custGeom>
                <a:avLst/>
                <a:gdLst>
                  <a:gd name="T0" fmla="*/ 11040 w 11360"/>
                  <a:gd name="T1" fmla="*/ 320 h 11360"/>
                  <a:gd name="T2" fmla="*/ 11040 w 11360"/>
                  <a:gd name="T3" fmla="*/ 1360 h 11360"/>
                  <a:gd name="T4" fmla="*/ 6720 w 11360"/>
                  <a:gd name="T5" fmla="*/ 5680 h 11360"/>
                  <a:gd name="T6" fmla="*/ 11040 w 11360"/>
                  <a:gd name="T7" fmla="*/ 10000 h 11360"/>
                  <a:gd name="T8" fmla="*/ 11040 w 11360"/>
                  <a:gd name="T9" fmla="*/ 11040 h 11360"/>
                  <a:gd name="T10" fmla="*/ 10000 w 11360"/>
                  <a:gd name="T11" fmla="*/ 11040 h 11360"/>
                  <a:gd name="T12" fmla="*/ 5680 w 11360"/>
                  <a:gd name="T13" fmla="*/ 6720 h 11360"/>
                  <a:gd name="T14" fmla="*/ 1360 w 11360"/>
                  <a:gd name="T15" fmla="*/ 11040 h 11360"/>
                  <a:gd name="T16" fmla="*/ 320 w 11360"/>
                  <a:gd name="T17" fmla="*/ 11040 h 11360"/>
                  <a:gd name="T18" fmla="*/ 320 w 11360"/>
                  <a:gd name="T19" fmla="*/ 10000 h 11360"/>
                  <a:gd name="T20" fmla="*/ 4640 w 11360"/>
                  <a:gd name="T21" fmla="*/ 5680 h 11360"/>
                  <a:gd name="T22" fmla="*/ 320 w 11360"/>
                  <a:gd name="T23" fmla="*/ 1360 h 11360"/>
                  <a:gd name="T24" fmla="*/ 320 w 11360"/>
                  <a:gd name="T25" fmla="*/ 320 h 11360"/>
                  <a:gd name="T26" fmla="*/ 1360 w 11360"/>
                  <a:gd name="T27" fmla="*/ 320 h 11360"/>
                  <a:gd name="T28" fmla="*/ 5680 w 11360"/>
                  <a:gd name="T29" fmla="*/ 4640 h 11360"/>
                  <a:gd name="T30" fmla="*/ 10000 w 11360"/>
                  <a:gd name="T31" fmla="*/ 320 h 11360"/>
                  <a:gd name="T32" fmla="*/ 11040 w 11360"/>
                  <a:gd name="T33" fmla="*/ 320 h 1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60" h="11360">
                    <a:moveTo>
                      <a:pt x="11040" y="320"/>
                    </a:moveTo>
                    <a:cubicBezTo>
                      <a:pt x="11360" y="640"/>
                      <a:pt x="11360" y="1120"/>
                      <a:pt x="11040" y="1360"/>
                    </a:cubicBezTo>
                    <a:lnTo>
                      <a:pt x="6720" y="5680"/>
                    </a:lnTo>
                    <a:lnTo>
                      <a:pt x="11040" y="10000"/>
                    </a:lnTo>
                    <a:cubicBezTo>
                      <a:pt x="11360" y="10320"/>
                      <a:pt x="11360" y="10800"/>
                      <a:pt x="11040" y="11040"/>
                    </a:cubicBezTo>
                    <a:cubicBezTo>
                      <a:pt x="10720" y="11360"/>
                      <a:pt x="10240" y="11360"/>
                      <a:pt x="10000" y="11040"/>
                    </a:cubicBezTo>
                    <a:lnTo>
                      <a:pt x="5680" y="6720"/>
                    </a:lnTo>
                    <a:lnTo>
                      <a:pt x="1360" y="11040"/>
                    </a:lnTo>
                    <a:cubicBezTo>
                      <a:pt x="1040" y="11360"/>
                      <a:pt x="560" y="11360"/>
                      <a:pt x="320" y="11040"/>
                    </a:cubicBezTo>
                    <a:cubicBezTo>
                      <a:pt x="0" y="10720"/>
                      <a:pt x="0" y="10240"/>
                      <a:pt x="320" y="10000"/>
                    </a:cubicBezTo>
                    <a:lnTo>
                      <a:pt x="4640" y="5680"/>
                    </a:lnTo>
                    <a:lnTo>
                      <a:pt x="320" y="1360"/>
                    </a:lnTo>
                    <a:cubicBezTo>
                      <a:pt x="0" y="1040"/>
                      <a:pt x="0" y="560"/>
                      <a:pt x="320" y="320"/>
                    </a:cubicBezTo>
                    <a:cubicBezTo>
                      <a:pt x="640" y="80"/>
                      <a:pt x="1120" y="0"/>
                      <a:pt x="1360" y="320"/>
                    </a:cubicBezTo>
                    <a:lnTo>
                      <a:pt x="5680" y="4640"/>
                    </a:lnTo>
                    <a:lnTo>
                      <a:pt x="10000" y="320"/>
                    </a:lnTo>
                    <a:cubicBezTo>
                      <a:pt x="10240" y="0"/>
                      <a:pt x="10800" y="0"/>
                      <a:pt x="11040" y="320"/>
                    </a:cubicBezTo>
                    <a:close/>
                  </a:path>
                </a:pathLst>
              </a:custGeom>
              <a:solidFill>
                <a:schemeClr val="bg1"/>
              </a:solidFill>
              <a:ln w="127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54">
                  <a:defRPr/>
                </a:pPr>
                <a:endParaRPr lang="zh-CN" altLang="en-US" kern="0">
                  <a:solidFill>
                    <a:srgbClr val="FFFFFF"/>
                  </a:solidFill>
                  <a:latin typeface="Arial"/>
                  <a:ea typeface="微软雅黑"/>
                </a:endParaRPr>
              </a:p>
            </p:txBody>
          </p:sp>
        </p:grpSp>
        <p:sp>
          <p:nvSpPr>
            <p:cNvPr id="332" name="矩形 331">
              <a:extLst>
                <a:ext uri="{FF2B5EF4-FFF2-40B4-BE49-F238E27FC236}">
                  <a16:creationId xmlns="" xmlns:a14="http://schemas.microsoft.com/office/drawing/2010/main" xmlns:p14="http://schemas.microsoft.com/office/powerpoint/2010/main" xmlns:a16="http://schemas.microsoft.com/office/drawing/2014/main" id="{45B452B5-600E-402C-A6E0-97D72A78CA3F}"/>
                </a:ext>
              </a:extLst>
            </p:cNvPr>
            <p:cNvSpPr/>
            <p:nvPr/>
          </p:nvSpPr>
          <p:spPr>
            <a:xfrm>
              <a:off x="4715292" y="2038873"/>
              <a:ext cx="1548011" cy="153888"/>
            </a:xfrm>
            <a:prstGeom prst="rect">
              <a:avLst/>
            </a:prstGeom>
          </p:spPr>
          <p:txBody>
            <a:bodyPr wrap="square" lIns="0" tIns="0" rIns="0" bIns="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r>
                <a:rPr lang="zh-CN" altLang="en-US" sz="1000" kern="0" dirty="0">
                  <a:solidFill>
                    <a:srgbClr val="FFFFFF"/>
                  </a:solidFill>
                </a:rPr>
                <a:t>插图</a:t>
              </a:r>
              <a:r>
                <a:rPr lang="zh-CN" altLang="en-US" sz="1000" kern="0">
                  <a:solidFill>
                    <a:srgbClr val="FFFFFF"/>
                  </a:solidFill>
                </a:rPr>
                <a:t>库 </a:t>
              </a:r>
              <a:r>
                <a:rPr lang="zh-CN" altLang="en-US" sz="100" kern="0" smtClean="0">
                  <a:solidFill>
                    <a:srgbClr val="FFFFFF"/>
                  </a:solidFill>
                </a:rPr>
                <a:t> </a:t>
              </a:r>
              <a:r>
                <a:rPr lang="en-US" altLang="zh-CN" sz="1000" kern="0" smtClean="0">
                  <a:solidFill>
                    <a:srgbClr val="FFFFFF"/>
                  </a:solidFill>
                </a:rPr>
                <a:t>/ </a:t>
              </a:r>
              <a:r>
                <a:rPr lang="en-US" altLang="zh-CN" sz="1000" kern="0" dirty="0">
                  <a:solidFill>
                    <a:srgbClr val="FFFFFF"/>
                  </a:solidFill>
                </a:rPr>
                <a:t>Vector Library</a:t>
              </a:r>
              <a:endParaRPr lang="zh-CN" altLang="en-US" sz="1000" kern="0" dirty="0">
                <a:solidFill>
                  <a:srgbClr val="FFFFFF"/>
                </a:solidFill>
              </a:endParaRPr>
            </a:p>
          </p:txBody>
        </p:sp>
        <p:grpSp>
          <p:nvGrpSpPr>
            <p:cNvPr id="335" name="组合 334">
              <a:extLst>
                <a:ext uri="{FF2B5EF4-FFF2-40B4-BE49-F238E27FC236}">
                  <a16:creationId xmlns="" xmlns:a14="http://schemas.microsoft.com/office/drawing/2010/main" xmlns:p14="http://schemas.microsoft.com/office/powerpoint/2010/main" xmlns:a16="http://schemas.microsoft.com/office/drawing/2014/main" id="{CEBCA69B-D1BD-4ED3-8A2A-EB25AD703A2E}"/>
                </a:ext>
              </a:extLst>
            </p:cNvPr>
            <p:cNvGrpSpPr/>
            <p:nvPr/>
          </p:nvGrpSpPr>
          <p:grpSpPr>
            <a:xfrm>
              <a:off x="4715293" y="2404041"/>
              <a:ext cx="1638861" cy="160073"/>
              <a:chOff x="4248155" y="2141651"/>
              <a:chExt cx="1474301" cy="144000"/>
            </a:xfrm>
            <a:solidFill>
              <a:srgbClr val="E7E5EA"/>
            </a:solidFill>
          </p:grpSpPr>
          <p:sp>
            <p:nvSpPr>
              <p:cNvPr id="489" name="矩形 488">
                <a:extLst>
                  <a:ext uri="{FF2B5EF4-FFF2-40B4-BE49-F238E27FC236}">
                    <a16:creationId xmlns="" xmlns:a14="http://schemas.microsoft.com/office/drawing/2010/main" xmlns:p14="http://schemas.microsoft.com/office/powerpoint/2010/main" xmlns:a16="http://schemas.microsoft.com/office/drawing/2014/main" id="{0F78271F-C2BF-49C2-BC46-681981BE5043}"/>
                  </a:ext>
                </a:extLst>
              </p:cNvPr>
              <p:cNvSpPr>
                <a:spLocks/>
              </p:cNvSpPr>
              <p:nvPr/>
            </p:nvSpPr>
            <p:spPr>
              <a:xfrm>
                <a:off x="424815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90" name="矩形 489">
                <a:extLst>
                  <a:ext uri="{FF2B5EF4-FFF2-40B4-BE49-F238E27FC236}">
                    <a16:creationId xmlns="" xmlns:a14="http://schemas.microsoft.com/office/drawing/2010/main" xmlns:p14="http://schemas.microsoft.com/office/powerpoint/2010/main" xmlns:a16="http://schemas.microsoft.com/office/drawing/2014/main" id="{A3015197-78E9-42A1-B8A4-70DAA4C54124}"/>
                  </a:ext>
                </a:extLst>
              </p:cNvPr>
              <p:cNvSpPr>
                <a:spLocks/>
              </p:cNvSpPr>
              <p:nvPr/>
            </p:nvSpPr>
            <p:spPr>
              <a:xfrm>
                <a:off x="464824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91" name="矩形 490">
                <a:extLst>
                  <a:ext uri="{FF2B5EF4-FFF2-40B4-BE49-F238E27FC236}">
                    <a16:creationId xmlns="" xmlns:a14="http://schemas.microsoft.com/office/drawing/2010/main" xmlns:p14="http://schemas.microsoft.com/office/powerpoint/2010/main" xmlns:a16="http://schemas.microsoft.com/office/drawing/2014/main" id="{BBC16AC2-873F-45AE-B3C1-DA18A14F30AD}"/>
                  </a:ext>
                </a:extLst>
              </p:cNvPr>
              <p:cNvSpPr>
                <a:spLocks/>
              </p:cNvSpPr>
              <p:nvPr/>
            </p:nvSpPr>
            <p:spPr>
              <a:xfrm>
                <a:off x="504424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sp>
            <p:nvSpPr>
              <p:cNvPr id="495" name="矩形 494">
                <a:extLst>
                  <a:ext uri="{FF2B5EF4-FFF2-40B4-BE49-F238E27FC236}">
                    <a16:creationId xmlns="" xmlns:a14="http://schemas.microsoft.com/office/drawing/2010/main" xmlns:p14="http://schemas.microsoft.com/office/powerpoint/2010/main" xmlns:a16="http://schemas.microsoft.com/office/drawing/2014/main" id="{9C5D8EE9-3878-48C8-9E66-C90EC64D4EC8}"/>
                  </a:ext>
                </a:extLst>
              </p:cNvPr>
              <p:cNvSpPr>
                <a:spLocks/>
              </p:cNvSpPr>
              <p:nvPr/>
            </p:nvSpPr>
            <p:spPr>
              <a:xfrm>
                <a:off x="5434456"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grpSp>
        <p:grpSp>
          <p:nvGrpSpPr>
            <p:cNvPr id="336" name="组合 335">
              <a:extLst>
                <a:ext uri="{FF2B5EF4-FFF2-40B4-BE49-F238E27FC236}">
                  <a16:creationId xmlns="" xmlns:a14="http://schemas.microsoft.com/office/drawing/2010/main" xmlns:p14="http://schemas.microsoft.com/office/powerpoint/2010/main" xmlns:a16="http://schemas.microsoft.com/office/drawing/2014/main" id="{9E841455-3E39-47E0-89F1-4A6589854638}"/>
                </a:ext>
              </a:extLst>
            </p:cNvPr>
            <p:cNvGrpSpPr/>
            <p:nvPr/>
          </p:nvGrpSpPr>
          <p:grpSpPr>
            <a:xfrm>
              <a:off x="6715511" y="2404041"/>
              <a:ext cx="761195" cy="160073"/>
              <a:chOff x="6047529" y="2141651"/>
              <a:chExt cx="684762" cy="144000"/>
            </a:xfrm>
            <a:solidFill>
              <a:srgbClr val="E7E5EA"/>
            </a:solidFill>
          </p:grpSpPr>
          <p:sp>
            <p:nvSpPr>
              <p:cNvPr id="487" name="矩形 486">
                <a:extLst>
                  <a:ext uri="{FF2B5EF4-FFF2-40B4-BE49-F238E27FC236}">
                    <a16:creationId xmlns="" xmlns:a14="http://schemas.microsoft.com/office/drawing/2010/main" xmlns:p14="http://schemas.microsoft.com/office/powerpoint/2010/main" xmlns:a16="http://schemas.microsoft.com/office/drawing/2014/main" id="{AAE592BD-4F78-41C6-A563-482A2416386F}"/>
                  </a:ext>
                </a:extLst>
              </p:cNvPr>
              <p:cNvSpPr>
                <a:spLocks/>
              </p:cNvSpPr>
              <p:nvPr/>
            </p:nvSpPr>
            <p:spPr>
              <a:xfrm>
                <a:off x="6047529"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88" name="矩形 487">
                <a:extLst>
                  <a:ext uri="{FF2B5EF4-FFF2-40B4-BE49-F238E27FC236}">
                    <a16:creationId xmlns="" xmlns:a14="http://schemas.microsoft.com/office/drawing/2010/main" xmlns:p14="http://schemas.microsoft.com/office/powerpoint/2010/main" xmlns:a16="http://schemas.microsoft.com/office/drawing/2014/main" id="{42C3DBA0-3D8A-43C4-BDE9-15381F8C0043}"/>
                  </a:ext>
                </a:extLst>
              </p:cNvPr>
              <p:cNvSpPr>
                <a:spLocks/>
              </p:cNvSpPr>
              <p:nvPr/>
            </p:nvSpPr>
            <p:spPr>
              <a:xfrm>
                <a:off x="6444291"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pic>
          <p:nvPicPr>
            <p:cNvPr id="3" name="图形 2">
              <a:extLst>
                <a:ext uri="{FF2B5EF4-FFF2-40B4-BE49-F238E27FC236}">
                  <a16:creationId xmlns="" xmlns:a14="http://schemas.microsoft.com/office/drawing/2010/main" xmlns:p14="http://schemas.microsoft.com/office/powerpoint/2010/main" xmlns:a16="http://schemas.microsoft.com/office/drawing/2014/main" id="{FB29E73C-E73F-4438-A526-FE94FF16031F}"/>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6354959" y="2791001"/>
              <a:ext cx="921528" cy="557932"/>
            </a:xfrm>
            <a:prstGeom prst="rect">
              <a:avLst/>
            </a:prstGeom>
          </p:spPr>
        </p:pic>
      </p:grpSp>
      <p:grpSp>
        <p:nvGrpSpPr>
          <p:cNvPr id="7" name="组合 6">
            <a:extLst>
              <a:ext uri="{FF2B5EF4-FFF2-40B4-BE49-F238E27FC236}">
                <a16:creationId xmlns="" xmlns:a14="http://schemas.microsoft.com/office/drawing/2010/main" xmlns:p14="http://schemas.microsoft.com/office/powerpoint/2010/main" xmlns:a16="http://schemas.microsoft.com/office/drawing/2014/main" id="{09D0D9AA-EB60-4923-BEF0-22333512DE9F}"/>
              </a:ext>
            </a:extLst>
          </p:cNvPr>
          <p:cNvGrpSpPr/>
          <p:nvPr/>
        </p:nvGrpSpPr>
        <p:grpSpPr>
          <a:xfrm>
            <a:off x="8024987" y="1959178"/>
            <a:ext cx="3493913" cy="2403813"/>
            <a:chOff x="8024986" y="1959176"/>
            <a:chExt cx="3493913" cy="2403813"/>
          </a:xfrm>
        </p:grpSpPr>
        <p:grpSp>
          <p:nvGrpSpPr>
            <p:cNvPr id="228" name="组合 227">
              <a:extLst>
                <a:ext uri="{FF2B5EF4-FFF2-40B4-BE49-F238E27FC236}">
                  <a16:creationId xmlns="" xmlns:a14="http://schemas.microsoft.com/office/drawing/2010/main" xmlns:p14="http://schemas.microsoft.com/office/powerpoint/2010/main" xmlns:a16="http://schemas.microsoft.com/office/drawing/2014/main" id="{F07805C6-3B6B-4AF9-9448-282317B3FEB6}"/>
                </a:ext>
              </a:extLst>
            </p:cNvPr>
            <p:cNvGrpSpPr/>
            <p:nvPr/>
          </p:nvGrpSpPr>
          <p:grpSpPr>
            <a:xfrm>
              <a:off x="8024986" y="1959176"/>
              <a:ext cx="3493913" cy="2403813"/>
              <a:chOff x="8024986" y="1959176"/>
              <a:chExt cx="3493913" cy="2403813"/>
            </a:xfrm>
          </p:grpSpPr>
          <p:sp>
            <p:nvSpPr>
              <p:cNvPr id="229" name="Freeform 6">
                <a:extLst>
                  <a:ext uri="{FF2B5EF4-FFF2-40B4-BE49-F238E27FC236}">
                    <a16:creationId xmlns="" xmlns:a14="http://schemas.microsoft.com/office/drawing/2010/main" xmlns:p14="http://schemas.microsoft.com/office/powerpoint/2010/main" xmlns:a16="http://schemas.microsoft.com/office/drawing/2014/main" id="{79502B8B-CFDB-43D8-A905-DFE5C5BD4280}"/>
                  </a:ext>
                </a:extLst>
              </p:cNvPr>
              <p:cNvSpPr>
                <a:spLocks/>
              </p:cNvSpPr>
              <p:nvPr/>
            </p:nvSpPr>
            <p:spPr bwMode="auto">
              <a:xfrm>
                <a:off x="8024986" y="1959176"/>
                <a:ext cx="3493913" cy="2403813"/>
              </a:xfrm>
              <a:prstGeom prst="rect">
                <a:avLst/>
              </a:prstGeom>
              <a:gradFill>
                <a:gsLst>
                  <a:gs pos="83000">
                    <a:schemeClr val="bg1"/>
                  </a:gs>
                  <a:gs pos="100000">
                    <a:schemeClr val="bg1">
                      <a:alpha val="0"/>
                    </a:schemeClr>
                  </a:gs>
                </a:gsLst>
                <a:lin ang="5400000" scaled="1"/>
              </a:gradFill>
              <a:ln w="9525">
                <a:noFill/>
                <a:round/>
                <a:headEnd/>
                <a:tailEnd/>
              </a:ln>
              <a:effectLst>
                <a:outerShdw blurRad="63500" sx="102000" sy="102000" algn="ctr" rotWithShape="0">
                  <a:srgbClr val="E7E5EA">
                    <a:alpha val="50000"/>
                  </a:srgbClr>
                </a:outerShdw>
              </a:effec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230" name="矩形: 圆角 229">
                <a:extLst>
                  <a:ext uri="{FF2B5EF4-FFF2-40B4-BE49-F238E27FC236}">
                    <a16:creationId xmlns="" xmlns:a14="http://schemas.microsoft.com/office/drawing/2010/main" xmlns:p14="http://schemas.microsoft.com/office/powerpoint/2010/main" xmlns:a16="http://schemas.microsoft.com/office/drawing/2014/main" id="{752F09D3-948F-4292-8DE2-B8068FAE905E}"/>
                  </a:ext>
                </a:extLst>
              </p:cNvPr>
              <p:cNvSpPr>
                <a:spLocks noChangeAspect="1"/>
              </p:cNvSpPr>
              <p:nvPr/>
            </p:nvSpPr>
            <p:spPr>
              <a:xfrm>
                <a:off x="8162338" y="2742993"/>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31" name="Rectangle 8">
                <a:extLst>
                  <a:ext uri="{FF2B5EF4-FFF2-40B4-BE49-F238E27FC236}">
                    <a16:creationId xmlns="" xmlns:a14="http://schemas.microsoft.com/office/drawing/2010/main" xmlns:p14="http://schemas.microsoft.com/office/powerpoint/2010/main" xmlns:a16="http://schemas.microsoft.com/office/drawing/2014/main" id="{9E424521-AF73-4143-B27F-AB4CA52F8AC5}"/>
                  </a:ext>
                </a:extLst>
              </p:cNvPr>
              <p:cNvSpPr>
                <a:spLocks noChangeArrowheads="1"/>
              </p:cNvSpPr>
              <p:nvPr/>
            </p:nvSpPr>
            <p:spPr bwMode="auto">
              <a:xfrm>
                <a:off x="8162340" y="2228518"/>
                <a:ext cx="3240163" cy="311711"/>
              </a:xfrm>
              <a:prstGeom prst="rect">
                <a:avLst/>
              </a:prstGeom>
              <a:solidFill>
                <a:srgbClr val="F0EE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232" name="Rectangle 9">
                <a:extLst>
                  <a:ext uri="{FF2B5EF4-FFF2-40B4-BE49-F238E27FC236}">
                    <a16:creationId xmlns="" xmlns:a14="http://schemas.microsoft.com/office/drawing/2010/main" xmlns:p14="http://schemas.microsoft.com/office/powerpoint/2010/main" xmlns:a16="http://schemas.microsoft.com/office/drawing/2014/main" id="{0A670824-3D53-4F25-9305-B5E61610ACEF}"/>
                  </a:ext>
                </a:extLst>
              </p:cNvPr>
              <p:cNvSpPr>
                <a:spLocks noChangeArrowheads="1"/>
              </p:cNvSpPr>
              <p:nvPr/>
            </p:nvSpPr>
            <p:spPr bwMode="auto">
              <a:xfrm>
                <a:off x="8162340" y="2228518"/>
                <a:ext cx="3240163" cy="181579"/>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dirty="0"/>
              </a:p>
            </p:txBody>
          </p:sp>
          <p:sp>
            <p:nvSpPr>
              <p:cNvPr id="233" name="Oval 14">
                <a:extLst>
                  <a:ext uri="{FF2B5EF4-FFF2-40B4-BE49-F238E27FC236}">
                    <a16:creationId xmlns="" xmlns:a14="http://schemas.microsoft.com/office/drawing/2010/main" xmlns:p14="http://schemas.microsoft.com/office/powerpoint/2010/main" xmlns:a16="http://schemas.microsoft.com/office/drawing/2014/main" id="{3000338F-035C-4A39-8F0D-0B0F4BF1FBC6}"/>
                  </a:ext>
                </a:extLst>
              </p:cNvPr>
              <p:cNvSpPr>
                <a:spLocks noChangeArrowheads="1"/>
              </p:cNvSpPr>
              <p:nvPr/>
            </p:nvSpPr>
            <p:spPr bwMode="auto">
              <a:xfrm>
                <a:off x="8523496" y="2098386"/>
                <a:ext cx="59552"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234" name="Oval 15">
                <a:extLst>
                  <a:ext uri="{FF2B5EF4-FFF2-40B4-BE49-F238E27FC236}">
                    <a16:creationId xmlns="" xmlns:a14="http://schemas.microsoft.com/office/drawing/2010/main" xmlns:p14="http://schemas.microsoft.com/office/powerpoint/2010/main" xmlns:a16="http://schemas.microsoft.com/office/drawing/2014/main" id="{C35FFD29-58F4-44EE-BF85-050C901FFFC2}"/>
                  </a:ext>
                </a:extLst>
              </p:cNvPr>
              <p:cNvSpPr>
                <a:spLocks noChangeArrowheads="1"/>
              </p:cNvSpPr>
              <p:nvPr/>
            </p:nvSpPr>
            <p:spPr bwMode="auto">
              <a:xfrm>
                <a:off x="8628193"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235" name="Oval 16">
                <a:extLst>
                  <a:ext uri="{FF2B5EF4-FFF2-40B4-BE49-F238E27FC236}">
                    <a16:creationId xmlns="" xmlns:a14="http://schemas.microsoft.com/office/drawing/2010/main" xmlns:p14="http://schemas.microsoft.com/office/powerpoint/2010/main" xmlns:a16="http://schemas.microsoft.com/office/drawing/2014/main" id="{97F69D09-85DB-44A5-A24E-80C55BD5603A}"/>
                  </a:ext>
                </a:extLst>
              </p:cNvPr>
              <p:cNvSpPr>
                <a:spLocks noChangeArrowheads="1"/>
              </p:cNvSpPr>
              <p:nvPr/>
            </p:nvSpPr>
            <p:spPr bwMode="auto">
              <a:xfrm>
                <a:off x="8732889"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237" name="Freeform 18">
                <a:extLst>
                  <a:ext uri="{FF2B5EF4-FFF2-40B4-BE49-F238E27FC236}">
                    <a16:creationId xmlns="" xmlns:a14="http://schemas.microsoft.com/office/drawing/2010/main" xmlns:p14="http://schemas.microsoft.com/office/powerpoint/2010/main" xmlns:a16="http://schemas.microsoft.com/office/drawing/2014/main" id="{90231FE4-5E4A-45A4-90B3-6CE270211D8F}"/>
                  </a:ext>
                </a:extLst>
              </p:cNvPr>
              <p:cNvSpPr>
                <a:spLocks/>
              </p:cNvSpPr>
              <p:nvPr/>
            </p:nvSpPr>
            <p:spPr bwMode="auto">
              <a:xfrm>
                <a:off x="8967257" y="2262817"/>
                <a:ext cx="505234" cy="164430"/>
              </a:xfrm>
              <a:custGeom>
                <a:avLst/>
                <a:gdLst>
                  <a:gd name="T0" fmla="*/ 520 w 547"/>
                  <a:gd name="T1" fmla="*/ 170 h 170"/>
                  <a:gd name="T2" fmla="*/ 27 w 547"/>
                  <a:gd name="T3" fmla="*/ 170 h 170"/>
                  <a:gd name="T4" fmla="*/ 0 w 547"/>
                  <a:gd name="T5" fmla="*/ 143 h 170"/>
                  <a:gd name="T6" fmla="*/ 0 w 547"/>
                  <a:gd name="T7" fmla="*/ 27 h 170"/>
                  <a:gd name="T8" fmla="*/ 27 w 547"/>
                  <a:gd name="T9" fmla="*/ 0 h 170"/>
                  <a:gd name="T10" fmla="*/ 520 w 547"/>
                  <a:gd name="T11" fmla="*/ 0 h 170"/>
                  <a:gd name="T12" fmla="*/ 547 w 547"/>
                  <a:gd name="T13" fmla="*/ 27 h 170"/>
                  <a:gd name="T14" fmla="*/ 547 w 547"/>
                  <a:gd name="T15" fmla="*/ 143 h 170"/>
                  <a:gd name="T16" fmla="*/ 520 w 547"/>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7" h="170">
                    <a:moveTo>
                      <a:pt x="520" y="170"/>
                    </a:moveTo>
                    <a:cubicBezTo>
                      <a:pt x="27" y="170"/>
                      <a:pt x="27" y="170"/>
                      <a:pt x="27" y="170"/>
                    </a:cubicBezTo>
                    <a:cubicBezTo>
                      <a:pt x="12" y="170"/>
                      <a:pt x="0" y="158"/>
                      <a:pt x="0" y="143"/>
                    </a:cubicBezTo>
                    <a:cubicBezTo>
                      <a:pt x="0" y="27"/>
                      <a:pt x="0" y="27"/>
                      <a:pt x="0" y="27"/>
                    </a:cubicBezTo>
                    <a:cubicBezTo>
                      <a:pt x="0" y="12"/>
                      <a:pt x="12" y="0"/>
                      <a:pt x="27" y="0"/>
                    </a:cubicBezTo>
                    <a:cubicBezTo>
                      <a:pt x="520" y="0"/>
                      <a:pt x="520" y="0"/>
                      <a:pt x="520" y="0"/>
                    </a:cubicBezTo>
                    <a:cubicBezTo>
                      <a:pt x="535" y="0"/>
                      <a:pt x="547" y="12"/>
                      <a:pt x="547" y="27"/>
                    </a:cubicBezTo>
                    <a:cubicBezTo>
                      <a:pt x="547" y="143"/>
                      <a:pt x="547" y="143"/>
                      <a:pt x="547" y="143"/>
                    </a:cubicBezTo>
                    <a:cubicBezTo>
                      <a:pt x="547" y="158"/>
                      <a:pt x="535" y="170"/>
                      <a:pt x="520" y="170"/>
                    </a:cubicBezTo>
                    <a:close/>
                  </a:path>
                </a:pathLst>
              </a:cu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238" name="Rectangle 19">
                <a:extLst>
                  <a:ext uri="{FF2B5EF4-FFF2-40B4-BE49-F238E27FC236}">
                    <a16:creationId xmlns="" xmlns:a14="http://schemas.microsoft.com/office/drawing/2010/main" xmlns:p14="http://schemas.microsoft.com/office/powerpoint/2010/main" xmlns:a16="http://schemas.microsoft.com/office/drawing/2014/main" id="{F5CB09CD-EA7B-4323-98CD-E0818B8A5E5C}"/>
                  </a:ext>
                </a:extLst>
              </p:cNvPr>
              <p:cNvSpPr>
                <a:spLocks noChangeArrowheads="1"/>
              </p:cNvSpPr>
              <p:nvPr/>
            </p:nvSpPr>
            <p:spPr bwMode="auto">
              <a:xfrm>
                <a:off x="9089243" y="2320316"/>
                <a:ext cx="243973" cy="49430"/>
              </a:xfrm>
              <a:prstGeom prst="rect">
                <a:avLst/>
              </a:prstGeom>
              <a:solidFill>
                <a:srgbClr val="CFCB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239" name="Freeform 20">
                <a:extLst>
                  <a:ext uri="{FF2B5EF4-FFF2-40B4-BE49-F238E27FC236}">
                    <a16:creationId xmlns="" xmlns:a14="http://schemas.microsoft.com/office/drawing/2010/main" xmlns:p14="http://schemas.microsoft.com/office/powerpoint/2010/main" xmlns:a16="http://schemas.microsoft.com/office/drawing/2014/main" id="{9E308F54-DF39-45B6-81B7-DB95BBBDC8EB}"/>
                  </a:ext>
                </a:extLst>
              </p:cNvPr>
              <p:cNvSpPr>
                <a:spLocks/>
              </p:cNvSpPr>
              <p:nvPr/>
            </p:nvSpPr>
            <p:spPr bwMode="auto">
              <a:xfrm>
                <a:off x="8491798" y="2306193"/>
                <a:ext cx="232445" cy="49430"/>
              </a:xfrm>
              <a:custGeom>
                <a:avLst/>
                <a:gdLst>
                  <a:gd name="T0" fmla="*/ 227 w 251"/>
                  <a:gd name="T1" fmla="*/ 0 h 51"/>
                  <a:gd name="T2" fmla="*/ 24 w 251"/>
                  <a:gd name="T3" fmla="*/ 0 h 51"/>
                  <a:gd name="T4" fmla="*/ 0 w 251"/>
                  <a:gd name="T5" fmla="*/ 24 h 51"/>
                  <a:gd name="T6" fmla="*/ 0 w 251"/>
                  <a:gd name="T7" fmla="*/ 27 h 51"/>
                  <a:gd name="T8" fmla="*/ 24 w 251"/>
                  <a:gd name="T9" fmla="*/ 51 h 51"/>
                  <a:gd name="T10" fmla="*/ 227 w 251"/>
                  <a:gd name="T11" fmla="*/ 51 h 51"/>
                  <a:gd name="T12" fmla="*/ 251 w 251"/>
                  <a:gd name="T13" fmla="*/ 27 h 51"/>
                  <a:gd name="T14" fmla="*/ 251 w 251"/>
                  <a:gd name="T15" fmla="*/ 24 h 51"/>
                  <a:gd name="T16" fmla="*/ 227 w 25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1" y="41"/>
                      <a:pt x="251" y="27"/>
                    </a:cubicBezTo>
                    <a:cubicBezTo>
                      <a:pt x="251" y="24"/>
                      <a:pt x="251" y="24"/>
                      <a:pt x="251" y="24"/>
                    </a:cubicBezTo>
                    <a:cubicBezTo>
                      <a:pt x="251"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0" name="Freeform 21">
                <a:extLst>
                  <a:ext uri="{FF2B5EF4-FFF2-40B4-BE49-F238E27FC236}">
                    <a16:creationId xmlns="" xmlns:a14="http://schemas.microsoft.com/office/drawing/2010/main" xmlns:p14="http://schemas.microsoft.com/office/powerpoint/2010/main" xmlns:a16="http://schemas.microsoft.com/office/drawing/2014/main" id="{AACED065-E1E1-4CB9-A30A-E07933F7ACB6}"/>
                  </a:ext>
                </a:extLst>
              </p:cNvPr>
              <p:cNvSpPr>
                <a:spLocks/>
              </p:cNvSpPr>
              <p:nvPr/>
            </p:nvSpPr>
            <p:spPr bwMode="auto">
              <a:xfrm>
                <a:off x="9669398"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0" y="0"/>
                      <a:pt x="0" y="11"/>
                      <a:pt x="0" y="24"/>
                    </a:cubicBezTo>
                    <a:cubicBezTo>
                      <a:pt x="0" y="27"/>
                      <a:pt x="0" y="27"/>
                      <a:pt x="0" y="27"/>
                    </a:cubicBezTo>
                    <a:cubicBezTo>
                      <a:pt x="0" y="41"/>
                      <a:pt x="10" y="51"/>
                      <a:pt x="24" y="51"/>
                    </a:cubicBezTo>
                    <a:cubicBezTo>
                      <a:pt x="226" y="51"/>
                      <a:pt x="226" y="51"/>
                      <a:pt x="226" y="51"/>
                    </a:cubicBezTo>
                    <a:cubicBezTo>
                      <a:pt x="239" y="51"/>
                      <a:pt x="250" y="41"/>
                      <a:pt x="250" y="27"/>
                    </a:cubicBezTo>
                    <a:cubicBezTo>
                      <a:pt x="250" y="24"/>
                      <a:pt x="250" y="24"/>
                      <a:pt x="250" y="24"/>
                    </a:cubicBezTo>
                    <a:cubicBezTo>
                      <a:pt x="250" y="11"/>
                      <a:pt x="239"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1" name="Freeform 22">
                <a:extLst>
                  <a:ext uri="{FF2B5EF4-FFF2-40B4-BE49-F238E27FC236}">
                    <a16:creationId xmlns="" xmlns:a14="http://schemas.microsoft.com/office/drawing/2010/main" xmlns:p14="http://schemas.microsoft.com/office/powerpoint/2010/main" xmlns:a16="http://schemas.microsoft.com/office/drawing/2014/main" id="{2152015E-3C4D-4CA0-90C5-4D1D7DF55BCD}"/>
                  </a:ext>
                </a:extLst>
              </p:cNvPr>
              <p:cNvSpPr>
                <a:spLocks/>
              </p:cNvSpPr>
              <p:nvPr/>
            </p:nvSpPr>
            <p:spPr bwMode="auto">
              <a:xfrm>
                <a:off x="10109316"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1" y="0"/>
                      <a:pt x="0" y="11"/>
                      <a:pt x="0" y="24"/>
                    </a:cubicBezTo>
                    <a:cubicBezTo>
                      <a:pt x="0" y="27"/>
                      <a:pt x="0" y="27"/>
                      <a:pt x="0" y="27"/>
                    </a:cubicBezTo>
                    <a:cubicBezTo>
                      <a:pt x="0" y="41"/>
                      <a:pt x="11" y="51"/>
                      <a:pt x="24" y="51"/>
                    </a:cubicBezTo>
                    <a:cubicBezTo>
                      <a:pt x="226" y="51"/>
                      <a:pt x="226" y="51"/>
                      <a:pt x="226" y="51"/>
                    </a:cubicBezTo>
                    <a:cubicBezTo>
                      <a:pt x="240" y="51"/>
                      <a:pt x="250" y="41"/>
                      <a:pt x="250" y="27"/>
                    </a:cubicBezTo>
                    <a:cubicBezTo>
                      <a:pt x="250" y="24"/>
                      <a:pt x="250" y="24"/>
                      <a:pt x="250" y="24"/>
                    </a:cubicBezTo>
                    <a:cubicBezTo>
                      <a:pt x="250" y="11"/>
                      <a:pt x="240"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2" name="Freeform 23">
                <a:extLst>
                  <a:ext uri="{FF2B5EF4-FFF2-40B4-BE49-F238E27FC236}">
                    <a16:creationId xmlns="" xmlns:a14="http://schemas.microsoft.com/office/drawing/2010/main" xmlns:p14="http://schemas.microsoft.com/office/powerpoint/2010/main" xmlns:a16="http://schemas.microsoft.com/office/drawing/2014/main" id="{222B65CD-2DCC-4C25-B9F3-88E22F8EFCBF}"/>
                  </a:ext>
                </a:extLst>
              </p:cNvPr>
              <p:cNvSpPr>
                <a:spLocks/>
              </p:cNvSpPr>
              <p:nvPr/>
            </p:nvSpPr>
            <p:spPr bwMode="auto">
              <a:xfrm>
                <a:off x="10549235" y="2306193"/>
                <a:ext cx="231486" cy="49430"/>
              </a:xfrm>
              <a:custGeom>
                <a:avLst/>
                <a:gdLst>
                  <a:gd name="T0" fmla="*/ 227 w 250"/>
                  <a:gd name="T1" fmla="*/ 0 h 51"/>
                  <a:gd name="T2" fmla="*/ 24 w 250"/>
                  <a:gd name="T3" fmla="*/ 0 h 51"/>
                  <a:gd name="T4" fmla="*/ 0 w 250"/>
                  <a:gd name="T5" fmla="*/ 24 h 51"/>
                  <a:gd name="T6" fmla="*/ 0 w 250"/>
                  <a:gd name="T7" fmla="*/ 27 h 51"/>
                  <a:gd name="T8" fmla="*/ 24 w 250"/>
                  <a:gd name="T9" fmla="*/ 51 h 51"/>
                  <a:gd name="T10" fmla="*/ 227 w 250"/>
                  <a:gd name="T11" fmla="*/ 51 h 51"/>
                  <a:gd name="T12" fmla="*/ 250 w 250"/>
                  <a:gd name="T13" fmla="*/ 27 h 51"/>
                  <a:gd name="T14" fmla="*/ 250 w 250"/>
                  <a:gd name="T15" fmla="*/ 24 h 51"/>
                  <a:gd name="T16" fmla="*/ 227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0" y="41"/>
                      <a:pt x="250" y="27"/>
                    </a:cubicBezTo>
                    <a:cubicBezTo>
                      <a:pt x="250" y="24"/>
                      <a:pt x="250" y="24"/>
                      <a:pt x="250" y="24"/>
                    </a:cubicBezTo>
                    <a:cubicBezTo>
                      <a:pt x="250"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3" name="矩形: 圆角 242">
                <a:extLst>
                  <a:ext uri="{FF2B5EF4-FFF2-40B4-BE49-F238E27FC236}">
                    <a16:creationId xmlns="" xmlns:a14="http://schemas.microsoft.com/office/drawing/2010/main" xmlns:p14="http://schemas.microsoft.com/office/powerpoint/2010/main" xmlns:a16="http://schemas.microsoft.com/office/drawing/2014/main" id="{143380E5-1914-4C09-9478-A3B7CC7F2082}"/>
                  </a:ext>
                </a:extLst>
              </p:cNvPr>
              <p:cNvSpPr>
                <a:spLocks noChangeAspect="1"/>
              </p:cNvSpPr>
              <p:nvPr/>
            </p:nvSpPr>
            <p:spPr>
              <a:xfrm>
                <a:off x="8162338" y="3480441"/>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44" name="矩形: 圆角 243">
                <a:extLst>
                  <a:ext uri="{FF2B5EF4-FFF2-40B4-BE49-F238E27FC236}">
                    <a16:creationId xmlns="" xmlns:a14="http://schemas.microsoft.com/office/drawing/2010/main" xmlns:p14="http://schemas.microsoft.com/office/powerpoint/2010/main" xmlns:a16="http://schemas.microsoft.com/office/drawing/2014/main" id="{7D41D53B-93CF-4F50-95E0-532B3A0F489E}"/>
                  </a:ext>
                </a:extLst>
              </p:cNvPr>
              <p:cNvSpPr>
                <a:spLocks noChangeAspect="1"/>
              </p:cNvSpPr>
              <p:nvPr/>
            </p:nvSpPr>
            <p:spPr>
              <a:xfrm>
                <a:off x="8162338" y="3849165"/>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45" name="矩形: 圆角 244">
                <a:extLst>
                  <a:ext uri="{FF2B5EF4-FFF2-40B4-BE49-F238E27FC236}">
                    <a16:creationId xmlns="" xmlns:a14="http://schemas.microsoft.com/office/drawing/2010/main" xmlns:p14="http://schemas.microsoft.com/office/powerpoint/2010/main" xmlns:a16="http://schemas.microsoft.com/office/drawing/2014/main" id="{729EE4D2-12C4-47C9-8526-205B5F461C5E}"/>
                  </a:ext>
                </a:extLst>
              </p:cNvPr>
              <p:cNvSpPr>
                <a:spLocks noChangeAspect="1"/>
              </p:cNvSpPr>
              <p:nvPr/>
            </p:nvSpPr>
            <p:spPr>
              <a:xfrm>
                <a:off x="8162338" y="4216750"/>
                <a:ext cx="526366" cy="127814"/>
              </a:xfrm>
              <a:prstGeom prst="roundRect">
                <a:avLst>
                  <a:gd name="adj" fmla="val 14540"/>
                </a:avLst>
              </a:prstGeom>
              <a:gradFill>
                <a:gsLst>
                  <a:gs pos="8000">
                    <a:srgbClr val="F0EEF2"/>
                  </a:gs>
                  <a:gs pos="100000">
                    <a:srgbClr val="F0EEF2">
                      <a:alpha val="0"/>
                    </a:srgbClr>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46" name="矩形: 圆角 245">
                <a:extLst>
                  <a:ext uri="{FF2B5EF4-FFF2-40B4-BE49-F238E27FC236}">
                    <a16:creationId xmlns="" xmlns:a14="http://schemas.microsoft.com/office/drawing/2010/main" xmlns:p14="http://schemas.microsoft.com/office/powerpoint/2010/main" xmlns:a16="http://schemas.microsoft.com/office/drawing/2014/main" id="{624B437F-52C2-4B5A-A7F7-AB3734317FD7}"/>
                  </a:ext>
                </a:extLst>
              </p:cNvPr>
              <p:cNvSpPr>
                <a:spLocks noChangeAspect="1"/>
              </p:cNvSpPr>
              <p:nvPr/>
            </p:nvSpPr>
            <p:spPr>
              <a:xfrm>
                <a:off x="8800745" y="2742992"/>
                <a:ext cx="2578310" cy="1523165"/>
              </a:xfrm>
              <a:prstGeom prst="roundRect">
                <a:avLst>
                  <a:gd name="adj" fmla="val 2829"/>
                </a:avLst>
              </a:prstGeom>
              <a:noFill/>
              <a:ln w="25400">
                <a:gradFill>
                  <a:gsLst>
                    <a:gs pos="62000">
                      <a:srgbClr val="F0EEF2"/>
                    </a:gs>
                    <a:gs pos="100000">
                      <a:srgbClr val="F0EEF2">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47" name="矩形: 圆角 246">
                <a:extLst>
                  <a:ext uri="{FF2B5EF4-FFF2-40B4-BE49-F238E27FC236}">
                    <a16:creationId xmlns="" xmlns:a14="http://schemas.microsoft.com/office/drawing/2010/main" xmlns:p14="http://schemas.microsoft.com/office/powerpoint/2010/main" xmlns:a16="http://schemas.microsoft.com/office/drawing/2014/main" id="{DBE45890-BEE4-4CC2-954A-359AEB3349DF}"/>
                  </a:ext>
                </a:extLst>
              </p:cNvPr>
              <p:cNvSpPr>
                <a:spLocks noChangeAspect="1"/>
              </p:cNvSpPr>
              <p:nvPr/>
            </p:nvSpPr>
            <p:spPr>
              <a:xfrm>
                <a:off x="8162338" y="3111717"/>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10" name="组合 9">
              <a:extLst>
                <a:ext uri="{FF2B5EF4-FFF2-40B4-BE49-F238E27FC236}">
                  <a16:creationId xmlns="" xmlns:a14="http://schemas.microsoft.com/office/drawing/2010/main" xmlns:p14="http://schemas.microsoft.com/office/powerpoint/2010/main" xmlns:a16="http://schemas.microsoft.com/office/drawing/2014/main" id="{CFA48FDE-21A2-4B5B-A060-950102760C79}"/>
                </a:ext>
              </a:extLst>
            </p:cNvPr>
            <p:cNvGrpSpPr/>
            <p:nvPr/>
          </p:nvGrpSpPr>
          <p:grpSpPr>
            <a:xfrm>
              <a:off x="9010193" y="3211004"/>
              <a:ext cx="2127585" cy="587141"/>
              <a:chOff x="9010193" y="3211004"/>
              <a:chExt cx="2127585" cy="587141"/>
            </a:xfrm>
          </p:grpSpPr>
          <p:grpSp>
            <p:nvGrpSpPr>
              <p:cNvPr id="143" name="组合 142">
                <a:extLst>
                  <a:ext uri="{FF2B5EF4-FFF2-40B4-BE49-F238E27FC236}">
                    <a16:creationId xmlns="" xmlns:a14="http://schemas.microsoft.com/office/drawing/2010/main" xmlns:p14="http://schemas.microsoft.com/office/powerpoint/2010/main" xmlns:a16="http://schemas.microsoft.com/office/drawing/2014/main" id="{009585A0-D562-4C9F-B5A6-071E8AA3C2BA}"/>
                  </a:ext>
                </a:extLst>
              </p:cNvPr>
              <p:cNvGrpSpPr/>
              <p:nvPr/>
            </p:nvGrpSpPr>
            <p:grpSpPr>
              <a:xfrm>
                <a:off x="10629190" y="3211004"/>
                <a:ext cx="508588" cy="587141"/>
                <a:chOff x="1703214" y="3185928"/>
                <a:chExt cx="582258" cy="521425"/>
              </a:xfrm>
            </p:grpSpPr>
            <p:sp>
              <p:nvSpPr>
                <p:cNvPr id="167" name="矩形 166">
                  <a:extLst>
                    <a:ext uri="{FF2B5EF4-FFF2-40B4-BE49-F238E27FC236}">
                      <a16:creationId xmlns="" xmlns:a14="http://schemas.microsoft.com/office/drawing/2010/main" xmlns:p14="http://schemas.microsoft.com/office/powerpoint/2010/main" xmlns:a16="http://schemas.microsoft.com/office/drawing/2014/main" id="{309EB08F-A938-40D0-9A34-596ABEC4C1DD}"/>
                    </a:ext>
                  </a:extLst>
                </p:cNvPr>
                <p:cNvSpPr/>
                <p:nvPr/>
              </p:nvSpPr>
              <p:spPr>
                <a:xfrm>
                  <a:off x="1703214" y="3185928"/>
                  <a:ext cx="582258"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8" name="矩形 167">
                  <a:extLst>
                    <a:ext uri="{FF2B5EF4-FFF2-40B4-BE49-F238E27FC236}">
                      <a16:creationId xmlns="" xmlns:a14="http://schemas.microsoft.com/office/drawing/2010/main" xmlns:p14="http://schemas.microsoft.com/office/powerpoint/2010/main" xmlns:a16="http://schemas.microsoft.com/office/drawing/2014/main" id="{EA556D63-A4AF-466F-9BA4-4A76DE8E7A63}"/>
                    </a:ext>
                  </a:extLst>
                </p:cNvPr>
                <p:cNvSpPr/>
                <p:nvPr/>
              </p:nvSpPr>
              <p:spPr>
                <a:xfrm>
                  <a:off x="1703214" y="3388853"/>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4" name="矩形 173">
                  <a:extLst>
                    <a:ext uri="{FF2B5EF4-FFF2-40B4-BE49-F238E27FC236}">
                      <a16:creationId xmlns="" xmlns:a14="http://schemas.microsoft.com/office/drawing/2010/main" xmlns:p14="http://schemas.microsoft.com/office/powerpoint/2010/main" xmlns:a16="http://schemas.microsoft.com/office/drawing/2014/main" id="{702E4932-2853-468B-8CEE-8E8DEB08335C}"/>
                    </a:ext>
                  </a:extLst>
                </p:cNvPr>
                <p:cNvSpPr/>
                <p:nvPr/>
              </p:nvSpPr>
              <p:spPr>
                <a:xfrm>
                  <a:off x="1703214" y="3602089"/>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47" name="组合 146">
                <a:extLst>
                  <a:ext uri="{FF2B5EF4-FFF2-40B4-BE49-F238E27FC236}">
                    <a16:creationId xmlns="" xmlns:a14="http://schemas.microsoft.com/office/drawing/2010/main" xmlns:p14="http://schemas.microsoft.com/office/powerpoint/2010/main" xmlns:a16="http://schemas.microsoft.com/office/drawing/2014/main" id="{5864092F-3936-4E3B-AC38-C65A1D396CA8}"/>
                  </a:ext>
                </a:extLst>
              </p:cNvPr>
              <p:cNvGrpSpPr/>
              <p:nvPr/>
            </p:nvGrpSpPr>
            <p:grpSpPr>
              <a:xfrm>
                <a:off x="9010193" y="3211004"/>
                <a:ext cx="508588" cy="587141"/>
                <a:chOff x="1703214" y="3185928"/>
                <a:chExt cx="582258" cy="521425"/>
              </a:xfrm>
            </p:grpSpPr>
            <p:sp>
              <p:nvSpPr>
                <p:cNvPr id="149" name="矩形 148">
                  <a:extLst>
                    <a:ext uri="{FF2B5EF4-FFF2-40B4-BE49-F238E27FC236}">
                      <a16:creationId xmlns="" xmlns:a14="http://schemas.microsoft.com/office/drawing/2010/main" xmlns:p14="http://schemas.microsoft.com/office/powerpoint/2010/main" xmlns:a16="http://schemas.microsoft.com/office/drawing/2014/main" id="{F5CE67A9-7F46-47EE-A182-EEDC7671BE84}"/>
                    </a:ext>
                  </a:extLst>
                </p:cNvPr>
                <p:cNvSpPr/>
                <p:nvPr/>
              </p:nvSpPr>
              <p:spPr>
                <a:xfrm>
                  <a:off x="1703214" y="3185928"/>
                  <a:ext cx="582258"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0" name="矩形 149">
                  <a:extLst>
                    <a:ext uri="{FF2B5EF4-FFF2-40B4-BE49-F238E27FC236}">
                      <a16:creationId xmlns="" xmlns:a14="http://schemas.microsoft.com/office/drawing/2010/main" xmlns:p14="http://schemas.microsoft.com/office/powerpoint/2010/main" xmlns:a16="http://schemas.microsoft.com/office/drawing/2014/main" id="{B2641C79-6356-47FF-A04C-975EFC5BC261}"/>
                    </a:ext>
                  </a:extLst>
                </p:cNvPr>
                <p:cNvSpPr/>
                <p:nvPr/>
              </p:nvSpPr>
              <p:spPr>
                <a:xfrm>
                  <a:off x="1755000" y="3388853"/>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2" name="矩形 151">
                  <a:extLst>
                    <a:ext uri="{FF2B5EF4-FFF2-40B4-BE49-F238E27FC236}">
                      <a16:creationId xmlns="" xmlns:a14="http://schemas.microsoft.com/office/drawing/2010/main" xmlns:p14="http://schemas.microsoft.com/office/powerpoint/2010/main" xmlns:a16="http://schemas.microsoft.com/office/drawing/2014/main" id="{C55A7A23-0C58-4770-A615-E9A2CEB20583}"/>
                    </a:ext>
                  </a:extLst>
                </p:cNvPr>
                <p:cNvSpPr/>
                <p:nvPr/>
              </p:nvSpPr>
              <p:spPr>
                <a:xfrm>
                  <a:off x="1755000" y="3602089"/>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76" name="图形 175">
                <a:extLst>
                  <a:ext uri="{FF2B5EF4-FFF2-40B4-BE49-F238E27FC236}">
                    <a16:creationId xmlns="" xmlns:a14="http://schemas.microsoft.com/office/drawing/2010/main" xmlns:p14="http://schemas.microsoft.com/office/powerpoint/2010/main" xmlns:a16="http://schemas.microsoft.com/office/drawing/2014/main" id="{3BCA95A1-5BA3-4682-BB46-744197EA8B37}"/>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9610087" y="3216083"/>
                <a:ext cx="921528" cy="557932"/>
              </a:xfrm>
              <a:prstGeom prst="rect">
                <a:avLst/>
              </a:prstGeom>
            </p:spPr>
          </p:pic>
        </p:grpSp>
      </p:grpSp>
      <p:sp>
        <p:nvSpPr>
          <p:cNvPr id="4" name="标题 1">
            <a:extLst>
              <a:ext uri="{FF2B5EF4-FFF2-40B4-BE49-F238E27FC236}">
                <a16:creationId xmlns="" xmlns:a14="http://schemas.microsoft.com/office/drawing/2010/main" xmlns:p14="http://schemas.microsoft.com/office/powerpoint/2010/main" xmlns:a16="http://schemas.microsoft.com/office/drawing/2014/main" id="{EB39E194-01C4-46CF-B8A6-9AD2197F24D4}"/>
              </a:ext>
            </a:extLst>
          </p:cNvPr>
          <p:cNvSpPr txBox="1">
            <a:spLocks/>
          </p:cNvSpPr>
          <p:nvPr/>
        </p:nvSpPr>
        <p:spPr>
          <a:xfrm>
            <a:off x="660400" y="0"/>
            <a:ext cx="10858500" cy="1028700"/>
          </a:xfrm>
          <a:prstGeom prst="rect">
            <a:avLst/>
          </a:prstGeom>
        </p:spPr>
        <p:txBody>
          <a:bodyPr vert="horz" lIns="91440" tIns="45720" rIns="91440" bIns="45720" rtlCol="0" anchor="b">
            <a:normAutofit/>
          </a:bodyPr>
          <a:lstStyle>
            <a:lvl1pPr algn="l" defTabSz="914354" rtl="0" eaLnBrk="1" latinLnBrk="0" hangingPunct="1">
              <a:lnSpc>
                <a:spcPct val="90000"/>
              </a:lnSpc>
              <a:spcBef>
                <a:spcPct val="0"/>
              </a:spcBef>
              <a:buNone/>
              <a:defRPr sz="4400" kern="1200">
                <a:solidFill>
                  <a:schemeClr val="tx1"/>
                </a:solidFill>
                <a:latin typeface="+mj-lt"/>
                <a:ea typeface="+mj-ea"/>
                <a:cs typeface="+mj-cs"/>
              </a:defRPr>
            </a:lvl1pPr>
          </a:lstStyle>
          <a:p>
            <a:pPr defTabSz="914309"/>
            <a:r>
              <a:rPr lang="zh-CN" altLang="en-US" sz="2800" b="1" dirty="0"/>
              <a:t>更改图示</a:t>
            </a:r>
            <a:r>
              <a:rPr lang="zh-CN" altLang="en-US" sz="2800" b="1"/>
              <a:t>中的</a:t>
            </a:r>
            <a:r>
              <a:rPr lang="zh-CN" altLang="en-US" sz="2800" b="1" smtClean="0"/>
              <a:t>插</a:t>
            </a:r>
            <a:r>
              <a:rPr lang="zh-CN" altLang="en-US" sz="100" b="1" smtClean="0"/>
              <a:t> </a:t>
            </a:r>
            <a:r>
              <a:rPr lang="zh-CN" altLang="en-US" sz="2800" b="1" smtClean="0"/>
              <a:t>图  </a:t>
            </a:r>
            <a:r>
              <a:rPr lang="en-US" altLang="zh-CN" sz="2800" b="1" dirty="0"/>
              <a:t>Replace Vectors in Diagram</a:t>
            </a:r>
            <a:endParaRPr lang="zh-CN" altLang="en-US" sz="2800" b="1" dirty="0"/>
          </a:p>
        </p:txBody>
      </p:sp>
      <p:grpSp>
        <p:nvGrpSpPr>
          <p:cNvPr id="11" name="组合 10">
            <a:extLst>
              <a:ext uri="{FF2B5EF4-FFF2-40B4-BE49-F238E27FC236}">
                <a16:creationId xmlns="" xmlns:a14="http://schemas.microsoft.com/office/drawing/2010/main" xmlns:p14="http://schemas.microsoft.com/office/powerpoint/2010/main" xmlns:a16="http://schemas.microsoft.com/office/drawing/2014/main" id="{41340CDE-3267-4179-B203-21C1D373AC7C}"/>
              </a:ext>
            </a:extLst>
          </p:cNvPr>
          <p:cNvGrpSpPr/>
          <p:nvPr/>
        </p:nvGrpSpPr>
        <p:grpSpPr>
          <a:xfrm>
            <a:off x="660400" y="1959178"/>
            <a:ext cx="3493913" cy="2403813"/>
            <a:chOff x="660400" y="1959178"/>
            <a:chExt cx="3493913" cy="2403813"/>
          </a:xfrm>
        </p:grpSpPr>
        <p:sp>
          <p:nvSpPr>
            <p:cNvPr id="795" name="Rectangle 10">
              <a:extLst>
                <a:ext uri="{FF2B5EF4-FFF2-40B4-BE49-F238E27FC236}">
                  <a16:creationId xmlns="" xmlns:a14="http://schemas.microsoft.com/office/drawing/2010/main" xmlns:p14="http://schemas.microsoft.com/office/powerpoint/2010/main" xmlns:a16="http://schemas.microsoft.com/office/drawing/2014/main" id="{EB08811A-69A0-4B03-AD69-4D4093A4A1A1}"/>
                </a:ext>
              </a:extLst>
            </p:cNvPr>
            <p:cNvSpPr>
              <a:spLocks noChangeArrowheads="1"/>
            </p:cNvSpPr>
            <p:nvPr/>
          </p:nvSpPr>
          <p:spPr bwMode="auto">
            <a:xfrm>
              <a:off x="809622" y="2219171"/>
              <a:ext cx="3240163" cy="17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nvGrpSpPr>
            <p:cNvPr id="9" name="组合 8">
              <a:extLst>
                <a:ext uri="{FF2B5EF4-FFF2-40B4-BE49-F238E27FC236}">
                  <a16:creationId xmlns="" xmlns:a14="http://schemas.microsoft.com/office/drawing/2010/main" xmlns:p14="http://schemas.microsoft.com/office/powerpoint/2010/main" xmlns:a16="http://schemas.microsoft.com/office/drawing/2014/main" id="{57827EC8-4212-4214-BEC6-635EE8E79011}"/>
                </a:ext>
              </a:extLst>
            </p:cNvPr>
            <p:cNvGrpSpPr/>
            <p:nvPr/>
          </p:nvGrpSpPr>
          <p:grpSpPr>
            <a:xfrm>
              <a:off x="660400" y="1959178"/>
              <a:ext cx="3493913" cy="2403813"/>
              <a:chOff x="673100" y="1959176"/>
              <a:chExt cx="3493913" cy="2403813"/>
            </a:xfrm>
          </p:grpSpPr>
          <p:grpSp>
            <p:nvGrpSpPr>
              <p:cNvPr id="248" name="组合 247">
                <a:extLst>
                  <a:ext uri="{FF2B5EF4-FFF2-40B4-BE49-F238E27FC236}">
                    <a16:creationId xmlns="" xmlns:a14="http://schemas.microsoft.com/office/drawing/2010/main" xmlns:p14="http://schemas.microsoft.com/office/powerpoint/2010/main" xmlns:a16="http://schemas.microsoft.com/office/drawing/2014/main" id="{7740B1D8-836E-4790-9DD0-E1EA943A1D9C}"/>
                  </a:ext>
                </a:extLst>
              </p:cNvPr>
              <p:cNvGrpSpPr/>
              <p:nvPr/>
            </p:nvGrpSpPr>
            <p:grpSpPr>
              <a:xfrm>
                <a:off x="673100" y="1959176"/>
                <a:ext cx="3493913" cy="2403813"/>
                <a:chOff x="673100" y="1959176"/>
                <a:chExt cx="3493913" cy="2403813"/>
              </a:xfrm>
            </p:grpSpPr>
            <p:sp>
              <p:nvSpPr>
                <p:cNvPr id="249" name="Freeform 6">
                  <a:extLst>
                    <a:ext uri="{FF2B5EF4-FFF2-40B4-BE49-F238E27FC236}">
                      <a16:creationId xmlns="" xmlns:a14="http://schemas.microsoft.com/office/drawing/2010/main" xmlns:p14="http://schemas.microsoft.com/office/powerpoint/2010/main" xmlns:a16="http://schemas.microsoft.com/office/drawing/2014/main" id="{EF67C987-3113-4318-8AC6-E739BB42568A}"/>
                    </a:ext>
                  </a:extLst>
                </p:cNvPr>
                <p:cNvSpPr>
                  <a:spLocks/>
                </p:cNvSpPr>
                <p:nvPr/>
              </p:nvSpPr>
              <p:spPr bwMode="auto">
                <a:xfrm>
                  <a:off x="673100" y="1959176"/>
                  <a:ext cx="3493913" cy="2403813"/>
                </a:xfrm>
                <a:prstGeom prst="rect">
                  <a:avLst/>
                </a:prstGeom>
                <a:gradFill>
                  <a:gsLst>
                    <a:gs pos="83000">
                      <a:schemeClr val="bg1"/>
                    </a:gs>
                    <a:gs pos="100000">
                      <a:schemeClr val="bg1">
                        <a:alpha val="0"/>
                      </a:schemeClr>
                    </a:gs>
                  </a:gsLst>
                  <a:lin ang="5400000" scaled="1"/>
                </a:gradFill>
                <a:ln w="9525">
                  <a:noFill/>
                  <a:round/>
                  <a:headEnd/>
                  <a:tailEnd/>
                </a:ln>
                <a:effectLst>
                  <a:outerShdw blurRad="63500" sx="102000" sy="102000" algn="ctr" rotWithShape="0">
                    <a:srgbClr val="E7E5EA">
                      <a:alpha val="50000"/>
                    </a:srgbClr>
                  </a:outerShdw>
                </a:effectLst>
              </p:spPr>
              <p:txBody>
                <a:bodyPr vert="horz" wrap="square" lIns="91440" tIns="45720" rIns="91440" bIns="45720" numCol="1" anchor="t" anchorCtr="0" compatLnSpc="1">
                  <a:prstTxWarp prst="textNoShape">
                    <a:avLst/>
                  </a:prstTxWarp>
                </a:bodyPr>
                <a:lstStyle/>
                <a:p>
                  <a:endParaRPr lang="zh-CN" altLang="en-US"/>
                </a:p>
              </p:txBody>
            </p:sp>
            <p:sp>
              <p:nvSpPr>
                <p:cNvPr id="250" name="矩形: 圆角 249">
                  <a:extLst>
                    <a:ext uri="{FF2B5EF4-FFF2-40B4-BE49-F238E27FC236}">
                      <a16:creationId xmlns="" xmlns:a14="http://schemas.microsoft.com/office/drawing/2010/main" xmlns:p14="http://schemas.microsoft.com/office/powerpoint/2010/main" xmlns:a16="http://schemas.microsoft.com/office/drawing/2014/main" id="{A0006912-9DA4-43EF-8BD5-EF546FCE3339}"/>
                    </a:ext>
                  </a:extLst>
                </p:cNvPr>
                <p:cNvSpPr>
                  <a:spLocks noChangeAspect="1"/>
                </p:cNvSpPr>
                <p:nvPr/>
              </p:nvSpPr>
              <p:spPr>
                <a:xfrm>
                  <a:off x="810452" y="2742993"/>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51" name="Rectangle 8">
                  <a:extLst>
                    <a:ext uri="{FF2B5EF4-FFF2-40B4-BE49-F238E27FC236}">
                      <a16:creationId xmlns="" xmlns:a14="http://schemas.microsoft.com/office/drawing/2010/main" xmlns:p14="http://schemas.microsoft.com/office/powerpoint/2010/main" xmlns:a16="http://schemas.microsoft.com/office/drawing/2014/main" id="{556C6F3A-7655-4359-A6CC-0479F824F891}"/>
                    </a:ext>
                  </a:extLst>
                </p:cNvPr>
                <p:cNvSpPr>
                  <a:spLocks noChangeArrowheads="1"/>
                </p:cNvSpPr>
                <p:nvPr/>
              </p:nvSpPr>
              <p:spPr bwMode="auto">
                <a:xfrm>
                  <a:off x="810454" y="2228518"/>
                  <a:ext cx="3240163" cy="311711"/>
                </a:xfrm>
                <a:prstGeom prst="rect">
                  <a:avLst/>
                </a:prstGeom>
                <a:solidFill>
                  <a:srgbClr val="F0EE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2" name="Rectangle 9">
                  <a:extLst>
                    <a:ext uri="{FF2B5EF4-FFF2-40B4-BE49-F238E27FC236}">
                      <a16:creationId xmlns="" xmlns:a14="http://schemas.microsoft.com/office/drawing/2010/main" xmlns:p14="http://schemas.microsoft.com/office/powerpoint/2010/main" xmlns:a16="http://schemas.microsoft.com/office/drawing/2014/main" id="{C6106673-43BC-4DD8-A493-EDA9B6B2D456}"/>
                    </a:ext>
                  </a:extLst>
                </p:cNvPr>
                <p:cNvSpPr>
                  <a:spLocks noChangeArrowheads="1"/>
                </p:cNvSpPr>
                <p:nvPr/>
              </p:nvSpPr>
              <p:spPr bwMode="auto">
                <a:xfrm>
                  <a:off x="810454" y="2228518"/>
                  <a:ext cx="3240163" cy="181579"/>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3" name="Oval 14">
                  <a:extLst>
                    <a:ext uri="{FF2B5EF4-FFF2-40B4-BE49-F238E27FC236}">
                      <a16:creationId xmlns="" xmlns:a14="http://schemas.microsoft.com/office/drawing/2010/main" xmlns:p14="http://schemas.microsoft.com/office/powerpoint/2010/main" xmlns:a16="http://schemas.microsoft.com/office/drawing/2014/main" id="{1B8CD3B4-C3D2-4456-B988-B5F3C2205217}"/>
                    </a:ext>
                  </a:extLst>
                </p:cNvPr>
                <p:cNvSpPr>
                  <a:spLocks noChangeArrowheads="1"/>
                </p:cNvSpPr>
                <p:nvPr/>
              </p:nvSpPr>
              <p:spPr bwMode="auto">
                <a:xfrm>
                  <a:off x="1171610" y="2098386"/>
                  <a:ext cx="59552"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4" name="Oval 15">
                  <a:extLst>
                    <a:ext uri="{FF2B5EF4-FFF2-40B4-BE49-F238E27FC236}">
                      <a16:creationId xmlns="" xmlns:a14="http://schemas.microsoft.com/office/drawing/2010/main" xmlns:p14="http://schemas.microsoft.com/office/powerpoint/2010/main" xmlns:a16="http://schemas.microsoft.com/office/drawing/2014/main" id="{3D1BADA4-D749-46AD-8E50-EEA49550C016}"/>
                    </a:ext>
                  </a:extLst>
                </p:cNvPr>
                <p:cNvSpPr>
                  <a:spLocks noChangeArrowheads="1"/>
                </p:cNvSpPr>
                <p:nvPr/>
              </p:nvSpPr>
              <p:spPr bwMode="auto">
                <a:xfrm>
                  <a:off x="1276307"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5" name="Oval 16">
                  <a:extLst>
                    <a:ext uri="{FF2B5EF4-FFF2-40B4-BE49-F238E27FC236}">
                      <a16:creationId xmlns="" xmlns:a14="http://schemas.microsoft.com/office/drawing/2010/main" xmlns:p14="http://schemas.microsoft.com/office/powerpoint/2010/main" xmlns:a16="http://schemas.microsoft.com/office/drawing/2014/main" id="{C93A76CA-F9DB-4B79-A4FE-0C3902E5B9CF}"/>
                    </a:ext>
                  </a:extLst>
                </p:cNvPr>
                <p:cNvSpPr>
                  <a:spLocks noChangeArrowheads="1"/>
                </p:cNvSpPr>
                <p:nvPr/>
              </p:nvSpPr>
              <p:spPr bwMode="auto">
                <a:xfrm>
                  <a:off x="1381003"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6" name="Freeform 18">
                  <a:extLst>
                    <a:ext uri="{FF2B5EF4-FFF2-40B4-BE49-F238E27FC236}">
                      <a16:creationId xmlns="" xmlns:a14="http://schemas.microsoft.com/office/drawing/2010/main" xmlns:p14="http://schemas.microsoft.com/office/powerpoint/2010/main" xmlns:a16="http://schemas.microsoft.com/office/drawing/2014/main" id="{5F916865-589E-4D0F-BACC-2570FF5D044A}"/>
                    </a:ext>
                  </a:extLst>
                </p:cNvPr>
                <p:cNvSpPr>
                  <a:spLocks/>
                </p:cNvSpPr>
                <p:nvPr/>
              </p:nvSpPr>
              <p:spPr bwMode="auto">
                <a:xfrm>
                  <a:off x="1615371" y="2262817"/>
                  <a:ext cx="505234" cy="164430"/>
                </a:xfrm>
                <a:custGeom>
                  <a:avLst/>
                  <a:gdLst>
                    <a:gd name="T0" fmla="*/ 520 w 547"/>
                    <a:gd name="T1" fmla="*/ 170 h 170"/>
                    <a:gd name="T2" fmla="*/ 27 w 547"/>
                    <a:gd name="T3" fmla="*/ 170 h 170"/>
                    <a:gd name="T4" fmla="*/ 0 w 547"/>
                    <a:gd name="T5" fmla="*/ 143 h 170"/>
                    <a:gd name="T6" fmla="*/ 0 w 547"/>
                    <a:gd name="T7" fmla="*/ 27 h 170"/>
                    <a:gd name="T8" fmla="*/ 27 w 547"/>
                    <a:gd name="T9" fmla="*/ 0 h 170"/>
                    <a:gd name="T10" fmla="*/ 520 w 547"/>
                    <a:gd name="T11" fmla="*/ 0 h 170"/>
                    <a:gd name="T12" fmla="*/ 547 w 547"/>
                    <a:gd name="T13" fmla="*/ 27 h 170"/>
                    <a:gd name="T14" fmla="*/ 547 w 547"/>
                    <a:gd name="T15" fmla="*/ 143 h 170"/>
                    <a:gd name="T16" fmla="*/ 520 w 547"/>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7" h="170">
                      <a:moveTo>
                        <a:pt x="520" y="170"/>
                      </a:moveTo>
                      <a:cubicBezTo>
                        <a:pt x="27" y="170"/>
                        <a:pt x="27" y="170"/>
                        <a:pt x="27" y="170"/>
                      </a:cubicBezTo>
                      <a:cubicBezTo>
                        <a:pt x="12" y="170"/>
                        <a:pt x="0" y="158"/>
                        <a:pt x="0" y="143"/>
                      </a:cubicBezTo>
                      <a:cubicBezTo>
                        <a:pt x="0" y="27"/>
                        <a:pt x="0" y="27"/>
                        <a:pt x="0" y="27"/>
                      </a:cubicBezTo>
                      <a:cubicBezTo>
                        <a:pt x="0" y="12"/>
                        <a:pt x="12" y="0"/>
                        <a:pt x="27" y="0"/>
                      </a:cubicBezTo>
                      <a:cubicBezTo>
                        <a:pt x="520" y="0"/>
                        <a:pt x="520" y="0"/>
                        <a:pt x="520" y="0"/>
                      </a:cubicBezTo>
                      <a:cubicBezTo>
                        <a:pt x="535" y="0"/>
                        <a:pt x="547" y="12"/>
                        <a:pt x="547" y="27"/>
                      </a:cubicBezTo>
                      <a:cubicBezTo>
                        <a:pt x="547" y="143"/>
                        <a:pt x="547" y="143"/>
                        <a:pt x="547" y="143"/>
                      </a:cubicBezTo>
                      <a:cubicBezTo>
                        <a:pt x="547" y="158"/>
                        <a:pt x="535" y="170"/>
                        <a:pt x="520" y="170"/>
                      </a:cubicBezTo>
                      <a:close/>
                    </a:path>
                  </a:pathLst>
                </a:cu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7" name="Rectangle 19">
                  <a:extLst>
                    <a:ext uri="{FF2B5EF4-FFF2-40B4-BE49-F238E27FC236}">
                      <a16:creationId xmlns="" xmlns:a14="http://schemas.microsoft.com/office/drawing/2010/main" xmlns:p14="http://schemas.microsoft.com/office/powerpoint/2010/main" xmlns:a16="http://schemas.microsoft.com/office/drawing/2014/main" id="{65AB37D2-4B39-47BE-A62E-7B7BF58E328E}"/>
                    </a:ext>
                  </a:extLst>
                </p:cNvPr>
                <p:cNvSpPr>
                  <a:spLocks noChangeArrowheads="1"/>
                </p:cNvSpPr>
                <p:nvPr/>
              </p:nvSpPr>
              <p:spPr bwMode="auto">
                <a:xfrm>
                  <a:off x="1737357" y="2320316"/>
                  <a:ext cx="243973" cy="49430"/>
                </a:xfrm>
                <a:prstGeom prst="rect">
                  <a:avLst/>
                </a:prstGeom>
                <a:solidFill>
                  <a:srgbClr val="CFCB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8" name="Freeform 20">
                  <a:extLst>
                    <a:ext uri="{FF2B5EF4-FFF2-40B4-BE49-F238E27FC236}">
                      <a16:creationId xmlns="" xmlns:a14="http://schemas.microsoft.com/office/drawing/2010/main" xmlns:p14="http://schemas.microsoft.com/office/powerpoint/2010/main" xmlns:a16="http://schemas.microsoft.com/office/drawing/2014/main" id="{BB9DC8A1-3C26-407A-A297-CFB927165CC7}"/>
                    </a:ext>
                  </a:extLst>
                </p:cNvPr>
                <p:cNvSpPr>
                  <a:spLocks/>
                </p:cNvSpPr>
                <p:nvPr/>
              </p:nvSpPr>
              <p:spPr bwMode="auto">
                <a:xfrm>
                  <a:off x="1139912" y="2306193"/>
                  <a:ext cx="232445" cy="49430"/>
                </a:xfrm>
                <a:custGeom>
                  <a:avLst/>
                  <a:gdLst>
                    <a:gd name="T0" fmla="*/ 227 w 251"/>
                    <a:gd name="T1" fmla="*/ 0 h 51"/>
                    <a:gd name="T2" fmla="*/ 24 w 251"/>
                    <a:gd name="T3" fmla="*/ 0 h 51"/>
                    <a:gd name="T4" fmla="*/ 0 w 251"/>
                    <a:gd name="T5" fmla="*/ 24 h 51"/>
                    <a:gd name="T6" fmla="*/ 0 w 251"/>
                    <a:gd name="T7" fmla="*/ 27 h 51"/>
                    <a:gd name="T8" fmla="*/ 24 w 251"/>
                    <a:gd name="T9" fmla="*/ 51 h 51"/>
                    <a:gd name="T10" fmla="*/ 227 w 251"/>
                    <a:gd name="T11" fmla="*/ 51 h 51"/>
                    <a:gd name="T12" fmla="*/ 251 w 251"/>
                    <a:gd name="T13" fmla="*/ 27 h 51"/>
                    <a:gd name="T14" fmla="*/ 251 w 251"/>
                    <a:gd name="T15" fmla="*/ 24 h 51"/>
                    <a:gd name="T16" fmla="*/ 227 w 25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1" y="41"/>
                        <a:pt x="251" y="27"/>
                      </a:cubicBezTo>
                      <a:cubicBezTo>
                        <a:pt x="251" y="24"/>
                        <a:pt x="251" y="24"/>
                        <a:pt x="251" y="24"/>
                      </a:cubicBezTo>
                      <a:cubicBezTo>
                        <a:pt x="251"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9" name="Freeform 21">
                  <a:extLst>
                    <a:ext uri="{FF2B5EF4-FFF2-40B4-BE49-F238E27FC236}">
                      <a16:creationId xmlns="" xmlns:a14="http://schemas.microsoft.com/office/drawing/2010/main" xmlns:p14="http://schemas.microsoft.com/office/powerpoint/2010/main" xmlns:a16="http://schemas.microsoft.com/office/drawing/2014/main" id="{CBCB1766-A52D-4E2C-9918-788DA4E64C75}"/>
                    </a:ext>
                  </a:extLst>
                </p:cNvPr>
                <p:cNvSpPr>
                  <a:spLocks/>
                </p:cNvSpPr>
                <p:nvPr/>
              </p:nvSpPr>
              <p:spPr bwMode="auto">
                <a:xfrm>
                  <a:off x="2317512"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0" y="0"/>
                        <a:pt x="0" y="11"/>
                        <a:pt x="0" y="24"/>
                      </a:cubicBezTo>
                      <a:cubicBezTo>
                        <a:pt x="0" y="27"/>
                        <a:pt x="0" y="27"/>
                        <a:pt x="0" y="27"/>
                      </a:cubicBezTo>
                      <a:cubicBezTo>
                        <a:pt x="0" y="41"/>
                        <a:pt x="10" y="51"/>
                        <a:pt x="24" y="51"/>
                      </a:cubicBezTo>
                      <a:cubicBezTo>
                        <a:pt x="226" y="51"/>
                        <a:pt x="226" y="51"/>
                        <a:pt x="226" y="51"/>
                      </a:cubicBezTo>
                      <a:cubicBezTo>
                        <a:pt x="239" y="51"/>
                        <a:pt x="250" y="41"/>
                        <a:pt x="250" y="27"/>
                      </a:cubicBezTo>
                      <a:cubicBezTo>
                        <a:pt x="250" y="24"/>
                        <a:pt x="250" y="24"/>
                        <a:pt x="250" y="24"/>
                      </a:cubicBezTo>
                      <a:cubicBezTo>
                        <a:pt x="250" y="11"/>
                        <a:pt x="239"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0" name="Freeform 22">
                  <a:extLst>
                    <a:ext uri="{FF2B5EF4-FFF2-40B4-BE49-F238E27FC236}">
                      <a16:creationId xmlns="" xmlns:a14="http://schemas.microsoft.com/office/drawing/2010/main" xmlns:p14="http://schemas.microsoft.com/office/powerpoint/2010/main" xmlns:a16="http://schemas.microsoft.com/office/drawing/2014/main" id="{5DD5BED3-191E-4BD6-9FE9-141C415A5202}"/>
                    </a:ext>
                  </a:extLst>
                </p:cNvPr>
                <p:cNvSpPr>
                  <a:spLocks/>
                </p:cNvSpPr>
                <p:nvPr/>
              </p:nvSpPr>
              <p:spPr bwMode="auto">
                <a:xfrm>
                  <a:off x="2757430"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1" y="0"/>
                        <a:pt x="0" y="11"/>
                        <a:pt x="0" y="24"/>
                      </a:cubicBezTo>
                      <a:cubicBezTo>
                        <a:pt x="0" y="27"/>
                        <a:pt x="0" y="27"/>
                        <a:pt x="0" y="27"/>
                      </a:cubicBezTo>
                      <a:cubicBezTo>
                        <a:pt x="0" y="41"/>
                        <a:pt x="11" y="51"/>
                        <a:pt x="24" y="51"/>
                      </a:cubicBezTo>
                      <a:cubicBezTo>
                        <a:pt x="226" y="51"/>
                        <a:pt x="226" y="51"/>
                        <a:pt x="226" y="51"/>
                      </a:cubicBezTo>
                      <a:cubicBezTo>
                        <a:pt x="240" y="51"/>
                        <a:pt x="250" y="41"/>
                        <a:pt x="250" y="27"/>
                      </a:cubicBezTo>
                      <a:cubicBezTo>
                        <a:pt x="250" y="24"/>
                        <a:pt x="250" y="24"/>
                        <a:pt x="250" y="24"/>
                      </a:cubicBezTo>
                      <a:cubicBezTo>
                        <a:pt x="250" y="11"/>
                        <a:pt x="240"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1" name="Freeform 23">
                  <a:extLst>
                    <a:ext uri="{FF2B5EF4-FFF2-40B4-BE49-F238E27FC236}">
                      <a16:creationId xmlns="" xmlns:a14="http://schemas.microsoft.com/office/drawing/2010/main" xmlns:p14="http://schemas.microsoft.com/office/powerpoint/2010/main" xmlns:a16="http://schemas.microsoft.com/office/drawing/2014/main" id="{61B3D93D-CA1C-4835-8048-01774ABDA816}"/>
                    </a:ext>
                  </a:extLst>
                </p:cNvPr>
                <p:cNvSpPr>
                  <a:spLocks/>
                </p:cNvSpPr>
                <p:nvPr/>
              </p:nvSpPr>
              <p:spPr bwMode="auto">
                <a:xfrm>
                  <a:off x="3197349" y="2306193"/>
                  <a:ext cx="231486" cy="49430"/>
                </a:xfrm>
                <a:custGeom>
                  <a:avLst/>
                  <a:gdLst>
                    <a:gd name="T0" fmla="*/ 227 w 250"/>
                    <a:gd name="T1" fmla="*/ 0 h 51"/>
                    <a:gd name="T2" fmla="*/ 24 w 250"/>
                    <a:gd name="T3" fmla="*/ 0 h 51"/>
                    <a:gd name="T4" fmla="*/ 0 w 250"/>
                    <a:gd name="T5" fmla="*/ 24 h 51"/>
                    <a:gd name="T6" fmla="*/ 0 w 250"/>
                    <a:gd name="T7" fmla="*/ 27 h 51"/>
                    <a:gd name="T8" fmla="*/ 24 w 250"/>
                    <a:gd name="T9" fmla="*/ 51 h 51"/>
                    <a:gd name="T10" fmla="*/ 227 w 250"/>
                    <a:gd name="T11" fmla="*/ 51 h 51"/>
                    <a:gd name="T12" fmla="*/ 250 w 250"/>
                    <a:gd name="T13" fmla="*/ 27 h 51"/>
                    <a:gd name="T14" fmla="*/ 250 w 250"/>
                    <a:gd name="T15" fmla="*/ 24 h 51"/>
                    <a:gd name="T16" fmla="*/ 227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0" y="41"/>
                        <a:pt x="250" y="27"/>
                      </a:cubicBezTo>
                      <a:cubicBezTo>
                        <a:pt x="250" y="24"/>
                        <a:pt x="250" y="24"/>
                        <a:pt x="250" y="24"/>
                      </a:cubicBezTo>
                      <a:cubicBezTo>
                        <a:pt x="250"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2" name="矩形: 圆角 261">
                  <a:extLst>
                    <a:ext uri="{FF2B5EF4-FFF2-40B4-BE49-F238E27FC236}">
                      <a16:creationId xmlns="" xmlns:a14="http://schemas.microsoft.com/office/drawing/2010/main" xmlns:p14="http://schemas.microsoft.com/office/powerpoint/2010/main" xmlns:a16="http://schemas.microsoft.com/office/drawing/2014/main" id="{41055386-139A-442D-91A8-1B5CD97B491E}"/>
                    </a:ext>
                  </a:extLst>
                </p:cNvPr>
                <p:cNvSpPr>
                  <a:spLocks noChangeAspect="1"/>
                </p:cNvSpPr>
                <p:nvPr/>
              </p:nvSpPr>
              <p:spPr>
                <a:xfrm>
                  <a:off x="810452" y="3480441"/>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63" name="矩形: 圆角 262">
                  <a:extLst>
                    <a:ext uri="{FF2B5EF4-FFF2-40B4-BE49-F238E27FC236}">
                      <a16:creationId xmlns="" xmlns:a14="http://schemas.microsoft.com/office/drawing/2010/main" xmlns:p14="http://schemas.microsoft.com/office/powerpoint/2010/main" xmlns:a16="http://schemas.microsoft.com/office/drawing/2014/main" id="{F5DC8E02-0625-4CA9-A210-3FA760F32058}"/>
                    </a:ext>
                  </a:extLst>
                </p:cNvPr>
                <p:cNvSpPr>
                  <a:spLocks noChangeAspect="1"/>
                </p:cNvSpPr>
                <p:nvPr/>
              </p:nvSpPr>
              <p:spPr>
                <a:xfrm>
                  <a:off x="810452" y="3849165"/>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64" name="矩形: 圆角 263">
                  <a:extLst>
                    <a:ext uri="{FF2B5EF4-FFF2-40B4-BE49-F238E27FC236}">
                      <a16:creationId xmlns="" xmlns:a14="http://schemas.microsoft.com/office/drawing/2010/main" xmlns:p14="http://schemas.microsoft.com/office/powerpoint/2010/main" xmlns:a16="http://schemas.microsoft.com/office/drawing/2014/main" id="{174F4A25-7A8F-4CA3-A664-254C0F10638E}"/>
                    </a:ext>
                  </a:extLst>
                </p:cNvPr>
                <p:cNvSpPr>
                  <a:spLocks noChangeAspect="1"/>
                </p:cNvSpPr>
                <p:nvPr/>
              </p:nvSpPr>
              <p:spPr>
                <a:xfrm>
                  <a:off x="810452" y="4216750"/>
                  <a:ext cx="526366" cy="127814"/>
                </a:xfrm>
                <a:prstGeom prst="roundRect">
                  <a:avLst>
                    <a:gd name="adj" fmla="val 14540"/>
                  </a:avLst>
                </a:prstGeom>
                <a:gradFill>
                  <a:gsLst>
                    <a:gs pos="8000">
                      <a:srgbClr val="F0EEF2"/>
                    </a:gs>
                    <a:gs pos="100000">
                      <a:srgbClr val="F0EEF2">
                        <a:alpha val="0"/>
                      </a:srgbClr>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65" name="矩形: 圆角 264">
                  <a:extLst>
                    <a:ext uri="{FF2B5EF4-FFF2-40B4-BE49-F238E27FC236}">
                      <a16:creationId xmlns="" xmlns:a14="http://schemas.microsoft.com/office/drawing/2010/main" xmlns:p14="http://schemas.microsoft.com/office/powerpoint/2010/main" xmlns:a16="http://schemas.microsoft.com/office/drawing/2014/main" id="{41F79B51-FB01-48E2-B2CF-C41B66B2F234}"/>
                    </a:ext>
                  </a:extLst>
                </p:cNvPr>
                <p:cNvSpPr>
                  <a:spLocks noChangeAspect="1"/>
                </p:cNvSpPr>
                <p:nvPr/>
              </p:nvSpPr>
              <p:spPr>
                <a:xfrm>
                  <a:off x="1448859" y="2742992"/>
                  <a:ext cx="2578310" cy="1523165"/>
                </a:xfrm>
                <a:prstGeom prst="roundRect">
                  <a:avLst>
                    <a:gd name="adj" fmla="val 2829"/>
                  </a:avLst>
                </a:prstGeom>
                <a:noFill/>
                <a:ln w="25400">
                  <a:gradFill>
                    <a:gsLst>
                      <a:gs pos="62000">
                        <a:srgbClr val="F0EEF2"/>
                      </a:gs>
                      <a:gs pos="100000">
                        <a:srgbClr val="F0EEF2">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66" name="矩形: 圆角 265">
                  <a:extLst>
                    <a:ext uri="{FF2B5EF4-FFF2-40B4-BE49-F238E27FC236}">
                      <a16:creationId xmlns="" xmlns:a14="http://schemas.microsoft.com/office/drawing/2010/main" xmlns:p14="http://schemas.microsoft.com/office/powerpoint/2010/main" xmlns:a16="http://schemas.microsoft.com/office/drawing/2014/main" id="{E3E0C10E-F4B3-4762-8F9D-7B6A06EDF4DF}"/>
                    </a:ext>
                  </a:extLst>
                </p:cNvPr>
                <p:cNvSpPr>
                  <a:spLocks noChangeAspect="1"/>
                </p:cNvSpPr>
                <p:nvPr/>
              </p:nvSpPr>
              <p:spPr>
                <a:xfrm>
                  <a:off x="810452" y="3111717"/>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8" name="组合 7">
                <a:extLst>
                  <a:ext uri="{FF2B5EF4-FFF2-40B4-BE49-F238E27FC236}">
                    <a16:creationId xmlns="" xmlns:a14="http://schemas.microsoft.com/office/drawing/2010/main" xmlns:p14="http://schemas.microsoft.com/office/powerpoint/2010/main" xmlns:a16="http://schemas.microsoft.com/office/drawing/2014/main" id="{ABD70613-6096-41EC-8B8D-800DD72A4ADC}"/>
                  </a:ext>
                </a:extLst>
              </p:cNvPr>
              <p:cNvGrpSpPr/>
              <p:nvPr/>
            </p:nvGrpSpPr>
            <p:grpSpPr>
              <a:xfrm>
                <a:off x="1658305" y="3112822"/>
                <a:ext cx="2142449" cy="735267"/>
                <a:chOff x="1658305" y="3112822"/>
                <a:chExt cx="2142449" cy="735267"/>
              </a:xfrm>
            </p:grpSpPr>
            <p:grpSp>
              <p:nvGrpSpPr>
                <p:cNvPr id="6" name="组合 5">
                  <a:extLst>
                    <a:ext uri="{FF2B5EF4-FFF2-40B4-BE49-F238E27FC236}">
                      <a16:creationId xmlns="" xmlns:a14="http://schemas.microsoft.com/office/drawing/2010/main" xmlns:p14="http://schemas.microsoft.com/office/powerpoint/2010/main" xmlns:a16="http://schemas.microsoft.com/office/drawing/2014/main" id="{8930CAB5-8483-4337-9A7A-AF126B78CB83}"/>
                    </a:ext>
                  </a:extLst>
                </p:cNvPr>
                <p:cNvGrpSpPr/>
                <p:nvPr/>
              </p:nvGrpSpPr>
              <p:grpSpPr>
                <a:xfrm>
                  <a:off x="1658305" y="3180638"/>
                  <a:ext cx="2142449" cy="617507"/>
                  <a:chOff x="1658305" y="3180638"/>
                  <a:chExt cx="2142449" cy="617507"/>
                </a:xfrm>
              </p:grpSpPr>
              <p:sp>
                <p:nvSpPr>
                  <p:cNvPr id="420" name="矩形 419">
                    <a:extLst>
                      <a:ext uri="{FF2B5EF4-FFF2-40B4-BE49-F238E27FC236}">
                        <a16:creationId xmlns="" xmlns:a14="http://schemas.microsoft.com/office/drawing/2010/main" xmlns:p14="http://schemas.microsoft.com/office/powerpoint/2010/main" xmlns:a16="http://schemas.microsoft.com/office/drawing/2014/main" id="{B63E4F93-58FC-4CD9-A34C-1104C0B05951}"/>
                      </a:ext>
                    </a:extLst>
                  </p:cNvPr>
                  <p:cNvSpPr/>
                  <p:nvPr/>
                </p:nvSpPr>
                <p:spPr>
                  <a:xfrm>
                    <a:off x="1658305" y="3180638"/>
                    <a:ext cx="2142449" cy="1097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44" name="组合 143">
                    <a:extLst>
                      <a:ext uri="{FF2B5EF4-FFF2-40B4-BE49-F238E27FC236}">
                        <a16:creationId xmlns="" xmlns:a14="http://schemas.microsoft.com/office/drawing/2010/main" xmlns:p14="http://schemas.microsoft.com/office/powerpoint/2010/main" xmlns:a16="http://schemas.microsoft.com/office/drawing/2014/main" id="{428E477C-F4CA-49FF-BCAA-14A401D6124F}"/>
                      </a:ext>
                    </a:extLst>
                  </p:cNvPr>
                  <p:cNvGrpSpPr/>
                  <p:nvPr/>
                </p:nvGrpSpPr>
                <p:grpSpPr>
                  <a:xfrm>
                    <a:off x="3277302" y="3211004"/>
                    <a:ext cx="508588" cy="587141"/>
                    <a:chOff x="1703214" y="3185928"/>
                    <a:chExt cx="582258" cy="521425"/>
                  </a:xfrm>
                </p:grpSpPr>
                <p:sp>
                  <p:nvSpPr>
                    <p:cNvPr id="145" name="矩形 144">
                      <a:extLst>
                        <a:ext uri="{FF2B5EF4-FFF2-40B4-BE49-F238E27FC236}">
                          <a16:creationId xmlns="" xmlns:a14="http://schemas.microsoft.com/office/drawing/2010/main" xmlns:p14="http://schemas.microsoft.com/office/powerpoint/2010/main" xmlns:a16="http://schemas.microsoft.com/office/drawing/2014/main" id="{249614F1-31F8-42D0-BCAF-3758E46C4D47}"/>
                        </a:ext>
                      </a:extLst>
                    </p:cNvPr>
                    <p:cNvSpPr/>
                    <p:nvPr/>
                  </p:nvSpPr>
                  <p:spPr>
                    <a:xfrm>
                      <a:off x="1703214" y="3185928"/>
                      <a:ext cx="582258"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6" name="矩形 145">
                      <a:extLst>
                        <a:ext uri="{FF2B5EF4-FFF2-40B4-BE49-F238E27FC236}">
                          <a16:creationId xmlns="" xmlns:a14="http://schemas.microsoft.com/office/drawing/2010/main" xmlns:p14="http://schemas.microsoft.com/office/powerpoint/2010/main" xmlns:a16="http://schemas.microsoft.com/office/drawing/2014/main" id="{184CA460-5482-4CA9-949D-41F2E9F5C978}"/>
                        </a:ext>
                      </a:extLst>
                    </p:cNvPr>
                    <p:cNvSpPr/>
                    <p:nvPr/>
                  </p:nvSpPr>
                  <p:spPr>
                    <a:xfrm>
                      <a:off x="1703214" y="3388853"/>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1" name="矩形 150">
                      <a:extLst>
                        <a:ext uri="{FF2B5EF4-FFF2-40B4-BE49-F238E27FC236}">
                          <a16:creationId xmlns="" xmlns:a14="http://schemas.microsoft.com/office/drawing/2010/main" xmlns:p14="http://schemas.microsoft.com/office/powerpoint/2010/main" xmlns:a16="http://schemas.microsoft.com/office/drawing/2014/main" id="{8F9D1724-52B7-4FFD-845E-8DBA04B24E52}"/>
                        </a:ext>
                      </a:extLst>
                    </p:cNvPr>
                    <p:cNvSpPr/>
                    <p:nvPr/>
                  </p:nvSpPr>
                  <p:spPr>
                    <a:xfrm>
                      <a:off x="1703214" y="3602089"/>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15" name="组合 114">
                    <a:extLst>
                      <a:ext uri="{FF2B5EF4-FFF2-40B4-BE49-F238E27FC236}">
                        <a16:creationId xmlns="" xmlns:a14="http://schemas.microsoft.com/office/drawing/2010/main" xmlns:p14="http://schemas.microsoft.com/office/powerpoint/2010/main" xmlns:a16="http://schemas.microsoft.com/office/drawing/2014/main" id="{6FCD523C-D437-4D55-B9CC-5D9A81B8C342}"/>
                      </a:ext>
                    </a:extLst>
                  </p:cNvPr>
                  <p:cNvGrpSpPr/>
                  <p:nvPr/>
                </p:nvGrpSpPr>
                <p:grpSpPr>
                  <a:xfrm>
                    <a:off x="1658305" y="3211004"/>
                    <a:ext cx="508588" cy="587141"/>
                    <a:chOff x="1703214" y="3185928"/>
                    <a:chExt cx="582258" cy="521425"/>
                  </a:xfrm>
                </p:grpSpPr>
                <p:sp>
                  <p:nvSpPr>
                    <p:cNvPr id="116" name="矩形 115">
                      <a:extLst>
                        <a:ext uri="{FF2B5EF4-FFF2-40B4-BE49-F238E27FC236}">
                          <a16:creationId xmlns="" xmlns:a14="http://schemas.microsoft.com/office/drawing/2010/main" xmlns:p14="http://schemas.microsoft.com/office/powerpoint/2010/main" xmlns:a16="http://schemas.microsoft.com/office/drawing/2014/main" id="{B5D3C64A-AEE1-4FD6-9C15-31AA498B0F1B}"/>
                        </a:ext>
                      </a:extLst>
                    </p:cNvPr>
                    <p:cNvSpPr/>
                    <p:nvPr/>
                  </p:nvSpPr>
                  <p:spPr>
                    <a:xfrm>
                      <a:off x="1703214" y="3185928"/>
                      <a:ext cx="582258"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7" name="矩形 116">
                      <a:extLst>
                        <a:ext uri="{FF2B5EF4-FFF2-40B4-BE49-F238E27FC236}">
                          <a16:creationId xmlns="" xmlns:a14="http://schemas.microsoft.com/office/drawing/2010/main" xmlns:p14="http://schemas.microsoft.com/office/powerpoint/2010/main" xmlns:a16="http://schemas.microsoft.com/office/drawing/2014/main" id="{B2E1FCBE-42A4-437B-8553-EAB3B53856F9}"/>
                        </a:ext>
                      </a:extLst>
                    </p:cNvPr>
                    <p:cNvSpPr/>
                    <p:nvPr/>
                  </p:nvSpPr>
                  <p:spPr>
                    <a:xfrm>
                      <a:off x="1755000" y="3388853"/>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8" name="矩形 117">
                      <a:extLst>
                        <a:ext uri="{FF2B5EF4-FFF2-40B4-BE49-F238E27FC236}">
                          <a16:creationId xmlns="" xmlns:a14="http://schemas.microsoft.com/office/drawing/2010/main" xmlns:p14="http://schemas.microsoft.com/office/powerpoint/2010/main" xmlns:a16="http://schemas.microsoft.com/office/drawing/2014/main" id="{7474610A-07F9-4CF1-BC40-89C9BB9BB0CD}"/>
                        </a:ext>
                      </a:extLst>
                    </p:cNvPr>
                    <p:cNvSpPr/>
                    <p:nvPr/>
                  </p:nvSpPr>
                  <p:spPr>
                    <a:xfrm>
                      <a:off x="1755000" y="3602089"/>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grpSp>
              <p:nvGrpSpPr>
                <p:cNvPr id="125" name="组合 124">
                  <a:extLst>
                    <a:ext uri="{FF2B5EF4-FFF2-40B4-BE49-F238E27FC236}">
                      <a16:creationId xmlns="" xmlns:a14="http://schemas.microsoft.com/office/drawing/2010/main" xmlns:p14="http://schemas.microsoft.com/office/powerpoint/2010/main" xmlns:a16="http://schemas.microsoft.com/office/drawing/2014/main" id="{D547E991-E245-4756-ABC3-162D239AE546}"/>
                    </a:ext>
                  </a:extLst>
                </p:cNvPr>
                <p:cNvGrpSpPr/>
                <p:nvPr/>
              </p:nvGrpSpPr>
              <p:grpSpPr>
                <a:xfrm>
                  <a:off x="2346134" y="3112822"/>
                  <a:ext cx="735363" cy="735267"/>
                  <a:chOff x="2347940" y="3126117"/>
                  <a:chExt cx="483318" cy="483256"/>
                </a:xfrm>
              </p:grpSpPr>
              <p:grpSp>
                <p:nvGrpSpPr>
                  <p:cNvPr id="148" name="组合 147"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 xmlns:a14="http://schemas.microsoft.com/office/drawing/2010/main" xmlns:p14="http://schemas.microsoft.com/office/powerpoint/2010/main" xmlns:a16="http://schemas.microsoft.com/office/drawing/2014/main" id="{5792ECA9-35B8-4DAA-8E32-FF776BEFAA8C}"/>
                      </a:ext>
                    </a:extLst>
                  </p:cNvPr>
                  <p:cNvGrpSpPr/>
                  <p:nvPr/>
                </p:nvGrpSpPr>
                <p:grpSpPr>
                  <a:xfrm>
                    <a:off x="2390718" y="3167761"/>
                    <a:ext cx="439014" cy="405868"/>
                    <a:chOff x="3614738" y="1136650"/>
                    <a:chExt cx="4983163" cy="4606926"/>
                  </a:xfrm>
                </p:grpSpPr>
                <p:sp>
                  <p:nvSpPr>
                    <p:cNvPr id="172" name="is1íḍe">
                      <a:extLst>
                        <a:ext uri="{FF2B5EF4-FFF2-40B4-BE49-F238E27FC236}">
                          <a16:creationId xmlns="" xmlns:a14="http://schemas.microsoft.com/office/drawing/2010/main" xmlns:p14="http://schemas.microsoft.com/office/powerpoint/2010/main" xmlns:a16="http://schemas.microsoft.com/office/drawing/2014/main" id="{7300A892-52D6-4FC8-97C8-F014231C6371}"/>
                        </a:ext>
                      </a:extLst>
                    </p:cNvPr>
                    <p:cNvSpPr/>
                    <p:nvPr/>
                  </p:nvSpPr>
                  <p:spPr bwMode="auto">
                    <a:xfrm>
                      <a:off x="3614738" y="2106613"/>
                      <a:ext cx="749300" cy="3636963"/>
                    </a:xfrm>
                    <a:prstGeom prst="rect">
                      <a:avLst/>
                    </a:prstGeom>
                    <a:solidFill>
                      <a:srgbClr val="8FD5E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3" name="í$1idè">
                      <a:extLst>
                        <a:ext uri="{FF2B5EF4-FFF2-40B4-BE49-F238E27FC236}">
                          <a16:creationId xmlns="" xmlns:a14="http://schemas.microsoft.com/office/drawing/2010/main" xmlns:p14="http://schemas.microsoft.com/office/powerpoint/2010/main" xmlns:a16="http://schemas.microsoft.com/office/drawing/2014/main" id="{E651A605-77AA-4A19-882D-2205DD97AE5C}"/>
                        </a:ext>
                      </a:extLst>
                    </p:cNvPr>
                    <p:cNvSpPr/>
                    <p:nvPr/>
                  </p:nvSpPr>
                  <p:spPr bwMode="auto">
                    <a:xfrm>
                      <a:off x="3614738" y="2106613"/>
                      <a:ext cx="749300" cy="1123950"/>
                    </a:xfrm>
                    <a:prstGeom prst="rect">
                      <a:avLst/>
                    </a:prstGeom>
                    <a:solidFill>
                      <a:srgbClr val="3787B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5" name="ïšļíḋe">
                      <a:extLst>
                        <a:ext uri="{FF2B5EF4-FFF2-40B4-BE49-F238E27FC236}">
                          <a16:creationId xmlns="" xmlns:a14="http://schemas.microsoft.com/office/drawing/2010/main" xmlns:p14="http://schemas.microsoft.com/office/powerpoint/2010/main" xmlns:a16="http://schemas.microsoft.com/office/drawing/2014/main" id="{93BCA23C-0BFA-4276-A259-9BC068380DFF}"/>
                        </a:ext>
                      </a:extLst>
                    </p:cNvPr>
                    <p:cNvSpPr/>
                    <p:nvPr/>
                  </p:nvSpPr>
                  <p:spPr bwMode="auto">
                    <a:xfrm>
                      <a:off x="4651376" y="2459038"/>
                      <a:ext cx="771525" cy="3284538"/>
                    </a:xfrm>
                    <a:prstGeom prst="rect">
                      <a:avLst/>
                    </a:prstGeom>
                    <a:solidFill>
                      <a:srgbClr val="8FD5E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7" name="îŝ1iḑé">
                      <a:extLst>
                        <a:ext uri="{FF2B5EF4-FFF2-40B4-BE49-F238E27FC236}">
                          <a16:creationId xmlns="" xmlns:a14="http://schemas.microsoft.com/office/drawing/2010/main" xmlns:p14="http://schemas.microsoft.com/office/powerpoint/2010/main" xmlns:a16="http://schemas.microsoft.com/office/drawing/2014/main" id="{10B7CF8B-66AA-467E-8697-5CD2EDB1B7A3}"/>
                        </a:ext>
                      </a:extLst>
                    </p:cNvPr>
                    <p:cNvSpPr/>
                    <p:nvPr/>
                  </p:nvSpPr>
                  <p:spPr bwMode="auto">
                    <a:xfrm>
                      <a:off x="4651376" y="2459038"/>
                      <a:ext cx="771525" cy="573088"/>
                    </a:xfrm>
                    <a:prstGeom prst="rect">
                      <a:avLst/>
                    </a:prstGeom>
                    <a:solidFill>
                      <a:srgbClr val="3787B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8" name="iṥľiďè">
                      <a:extLst>
                        <a:ext uri="{FF2B5EF4-FFF2-40B4-BE49-F238E27FC236}">
                          <a16:creationId xmlns="" xmlns:a14="http://schemas.microsoft.com/office/drawing/2010/main" xmlns:p14="http://schemas.microsoft.com/office/powerpoint/2010/main" xmlns:a16="http://schemas.microsoft.com/office/drawing/2014/main" id="{FE9EF3D1-92DD-492C-98B9-A091F0878257}"/>
                        </a:ext>
                      </a:extLst>
                    </p:cNvPr>
                    <p:cNvSpPr/>
                    <p:nvPr/>
                  </p:nvSpPr>
                  <p:spPr bwMode="auto">
                    <a:xfrm>
                      <a:off x="5708651" y="2833688"/>
                      <a:ext cx="750888" cy="2909888"/>
                    </a:xfrm>
                    <a:prstGeom prst="rect">
                      <a:avLst/>
                    </a:prstGeom>
                    <a:solidFill>
                      <a:srgbClr val="8FD5E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9" name="ïšļiḓè">
                      <a:extLst>
                        <a:ext uri="{FF2B5EF4-FFF2-40B4-BE49-F238E27FC236}">
                          <a16:creationId xmlns="" xmlns:a14="http://schemas.microsoft.com/office/drawing/2010/main" xmlns:p14="http://schemas.microsoft.com/office/powerpoint/2010/main" xmlns:a16="http://schemas.microsoft.com/office/drawing/2014/main" id="{A9986595-E9BD-4DFA-8305-0106C2BBC0C4}"/>
                        </a:ext>
                      </a:extLst>
                    </p:cNvPr>
                    <p:cNvSpPr/>
                    <p:nvPr/>
                  </p:nvSpPr>
                  <p:spPr bwMode="auto">
                    <a:xfrm>
                      <a:off x="5708651" y="2833688"/>
                      <a:ext cx="750888" cy="661988"/>
                    </a:xfrm>
                    <a:prstGeom prst="rect">
                      <a:avLst/>
                    </a:prstGeom>
                    <a:solidFill>
                      <a:srgbClr val="3787B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80" name="î$ḷîdê">
                      <a:extLst>
                        <a:ext uri="{FF2B5EF4-FFF2-40B4-BE49-F238E27FC236}">
                          <a16:creationId xmlns="" xmlns:a14="http://schemas.microsoft.com/office/drawing/2010/main" xmlns:p14="http://schemas.microsoft.com/office/powerpoint/2010/main" xmlns:a16="http://schemas.microsoft.com/office/drawing/2014/main" id="{FDBF8C09-95F1-4988-94D3-41A044816D66}"/>
                        </a:ext>
                      </a:extLst>
                    </p:cNvPr>
                    <p:cNvSpPr/>
                    <p:nvPr/>
                  </p:nvSpPr>
                  <p:spPr bwMode="auto">
                    <a:xfrm>
                      <a:off x="6745288" y="3605213"/>
                      <a:ext cx="750888" cy="2138363"/>
                    </a:xfrm>
                    <a:prstGeom prst="rect">
                      <a:avLst/>
                    </a:prstGeom>
                    <a:solidFill>
                      <a:srgbClr val="8FD5E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81" name="ïṡḻïdê">
                      <a:extLst>
                        <a:ext uri="{FF2B5EF4-FFF2-40B4-BE49-F238E27FC236}">
                          <a16:creationId xmlns="" xmlns:a14="http://schemas.microsoft.com/office/drawing/2010/main" xmlns:p14="http://schemas.microsoft.com/office/powerpoint/2010/main" xmlns:a16="http://schemas.microsoft.com/office/drawing/2014/main" id="{583D8013-84F0-4EA1-A878-6EB6329FEE7B}"/>
                        </a:ext>
                      </a:extLst>
                    </p:cNvPr>
                    <p:cNvSpPr/>
                    <p:nvPr/>
                  </p:nvSpPr>
                  <p:spPr bwMode="auto">
                    <a:xfrm>
                      <a:off x="6745288" y="3605213"/>
                      <a:ext cx="750888" cy="396875"/>
                    </a:xfrm>
                    <a:prstGeom prst="rect">
                      <a:avLst/>
                    </a:prstGeom>
                    <a:solidFill>
                      <a:srgbClr val="3787B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0" name="ïšľïḑè">
                      <a:extLst>
                        <a:ext uri="{FF2B5EF4-FFF2-40B4-BE49-F238E27FC236}">
                          <a16:creationId xmlns="" xmlns:a14="http://schemas.microsoft.com/office/drawing/2010/main" xmlns:p14="http://schemas.microsoft.com/office/powerpoint/2010/main" xmlns:a16="http://schemas.microsoft.com/office/drawing/2014/main" id="{C2A01DFE-AD94-4D0E-B924-F5607FAAB597}"/>
                        </a:ext>
                      </a:extLst>
                    </p:cNvPr>
                    <p:cNvSpPr/>
                    <p:nvPr/>
                  </p:nvSpPr>
                  <p:spPr bwMode="auto">
                    <a:xfrm>
                      <a:off x="7781926" y="4464050"/>
                      <a:ext cx="771525" cy="1279525"/>
                    </a:xfrm>
                    <a:prstGeom prst="rect">
                      <a:avLst/>
                    </a:prstGeom>
                    <a:solidFill>
                      <a:srgbClr val="8FD5E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1" name="ïSľíḍê">
                      <a:extLst>
                        <a:ext uri="{FF2B5EF4-FFF2-40B4-BE49-F238E27FC236}">
                          <a16:creationId xmlns="" xmlns:a14="http://schemas.microsoft.com/office/drawing/2010/main" xmlns:p14="http://schemas.microsoft.com/office/powerpoint/2010/main" xmlns:a16="http://schemas.microsoft.com/office/drawing/2014/main" id="{95266D5E-A9C5-4F7B-837F-B42E08BB70DE}"/>
                        </a:ext>
                      </a:extLst>
                    </p:cNvPr>
                    <p:cNvSpPr/>
                    <p:nvPr/>
                  </p:nvSpPr>
                  <p:spPr bwMode="auto">
                    <a:xfrm>
                      <a:off x="7781926" y="4464050"/>
                      <a:ext cx="771525" cy="331788"/>
                    </a:xfrm>
                    <a:prstGeom prst="rect">
                      <a:avLst/>
                    </a:prstGeom>
                    <a:solidFill>
                      <a:srgbClr val="3787B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2" name="îṡlïḋe">
                      <a:extLst>
                        <a:ext uri="{FF2B5EF4-FFF2-40B4-BE49-F238E27FC236}">
                          <a16:creationId xmlns="" xmlns:a14="http://schemas.microsoft.com/office/drawing/2010/main" xmlns:p14="http://schemas.microsoft.com/office/powerpoint/2010/main" xmlns:a16="http://schemas.microsoft.com/office/drawing/2014/main" id="{67766430-F557-47F5-892F-15130FBD695A}"/>
                        </a:ext>
                      </a:extLst>
                    </p:cNvPr>
                    <p:cNvSpPr/>
                    <p:nvPr/>
                  </p:nvSpPr>
                  <p:spPr bwMode="auto">
                    <a:xfrm>
                      <a:off x="3657601" y="1136650"/>
                      <a:ext cx="4940300" cy="2865438"/>
                    </a:xfrm>
                    <a:custGeom>
                      <a:avLst/>
                      <a:gdLst>
                        <a:gd name="T0" fmla="*/ 3112 w 3112"/>
                        <a:gd name="T1" fmla="*/ 1305 h 1805"/>
                        <a:gd name="T2" fmla="*/ 3112 w 3112"/>
                        <a:gd name="T3" fmla="*/ 1805 h 1805"/>
                        <a:gd name="T4" fmla="*/ 2612 w 3112"/>
                        <a:gd name="T5" fmla="*/ 1624 h 1805"/>
                        <a:gd name="T6" fmla="*/ 2765 w 3112"/>
                        <a:gd name="T7" fmla="*/ 1527 h 1805"/>
                        <a:gd name="T8" fmla="*/ 2515 w 3112"/>
                        <a:gd name="T9" fmla="*/ 1166 h 1805"/>
                        <a:gd name="T10" fmla="*/ 2195 w 3112"/>
                        <a:gd name="T11" fmla="*/ 1222 h 1805"/>
                        <a:gd name="T12" fmla="*/ 1890 w 3112"/>
                        <a:gd name="T13" fmla="*/ 764 h 1805"/>
                        <a:gd name="T14" fmla="*/ 1570 w 3112"/>
                        <a:gd name="T15" fmla="*/ 875 h 1805"/>
                        <a:gd name="T16" fmla="*/ 1084 w 3112"/>
                        <a:gd name="T17" fmla="*/ 417 h 1805"/>
                        <a:gd name="T18" fmla="*/ 848 w 3112"/>
                        <a:gd name="T19" fmla="*/ 556 h 1805"/>
                        <a:gd name="T20" fmla="*/ 0 w 3112"/>
                        <a:gd name="T21" fmla="*/ 236 h 1805"/>
                        <a:gd name="T22" fmla="*/ 84 w 3112"/>
                        <a:gd name="T23" fmla="*/ 0 h 1805"/>
                        <a:gd name="T24" fmla="*/ 820 w 3112"/>
                        <a:gd name="T25" fmla="*/ 278 h 1805"/>
                        <a:gd name="T26" fmla="*/ 1112 w 3112"/>
                        <a:gd name="T27" fmla="*/ 111 h 1805"/>
                        <a:gd name="T28" fmla="*/ 1626 w 3112"/>
                        <a:gd name="T29" fmla="*/ 583 h 1805"/>
                        <a:gd name="T30" fmla="*/ 1987 w 3112"/>
                        <a:gd name="T31" fmla="*/ 458 h 1805"/>
                        <a:gd name="T32" fmla="*/ 2320 w 3112"/>
                        <a:gd name="T33" fmla="*/ 944 h 1805"/>
                        <a:gd name="T34" fmla="*/ 2626 w 3112"/>
                        <a:gd name="T35" fmla="*/ 875 h 1805"/>
                        <a:gd name="T36" fmla="*/ 2973 w 3112"/>
                        <a:gd name="T37" fmla="*/ 1388 h 1805"/>
                        <a:gd name="T38" fmla="*/ 3112 w 3112"/>
                        <a:gd name="T39" fmla="*/ 1305 h 1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12" h="1805">
                          <a:moveTo>
                            <a:pt x="3112" y="1305"/>
                          </a:moveTo>
                          <a:lnTo>
                            <a:pt x="3112" y="1805"/>
                          </a:lnTo>
                          <a:lnTo>
                            <a:pt x="2612" y="1624"/>
                          </a:lnTo>
                          <a:lnTo>
                            <a:pt x="2765" y="1527"/>
                          </a:lnTo>
                          <a:lnTo>
                            <a:pt x="2515" y="1166"/>
                          </a:lnTo>
                          <a:lnTo>
                            <a:pt x="2195" y="1222"/>
                          </a:lnTo>
                          <a:lnTo>
                            <a:pt x="1890" y="764"/>
                          </a:lnTo>
                          <a:lnTo>
                            <a:pt x="1570" y="875"/>
                          </a:lnTo>
                          <a:lnTo>
                            <a:pt x="1084" y="417"/>
                          </a:lnTo>
                          <a:lnTo>
                            <a:pt x="848" y="556"/>
                          </a:lnTo>
                          <a:lnTo>
                            <a:pt x="0" y="236"/>
                          </a:lnTo>
                          <a:lnTo>
                            <a:pt x="84" y="0"/>
                          </a:lnTo>
                          <a:lnTo>
                            <a:pt x="820" y="278"/>
                          </a:lnTo>
                          <a:lnTo>
                            <a:pt x="1112" y="111"/>
                          </a:lnTo>
                          <a:lnTo>
                            <a:pt x="1626" y="583"/>
                          </a:lnTo>
                          <a:lnTo>
                            <a:pt x="1987" y="458"/>
                          </a:lnTo>
                          <a:lnTo>
                            <a:pt x="2320" y="944"/>
                          </a:lnTo>
                          <a:lnTo>
                            <a:pt x="2626" y="875"/>
                          </a:lnTo>
                          <a:lnTo>
                            <a:pt x="2973" y="1388"/>
                          </a:lnTo>
                          <a:lnTo>
                            <a:pt x="3112" y="1305"/>
                          </a:lnTo>
                          <a:close/>
                        </a:path>
                      </a:pathLst>
                    </a:custGeom>
                    <a:solidFill>
                      <a:srgbClr val="FD5A1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grpSp>
                <p:nvGrpSpPr>
                  <p:cNvPr id="159" name="组合 158">
                    <a:extLst>
                      <a:ext uri="{FF2B5EF4-FFF2-40B4-BE49-F238E27FC236}">
                        <a16:creationId xmlns="" xmlns:a14="http://schemas.microsoft.com/office/drawing/2010/main" xmlns:p14="http://schemas.microsoft.com/office/powerpoint/2010/main" xmlns:a16="http://schemas.microsoft.com/office/drawing/2014/main" id="{6DC6394F-8C5C-496E-9A89-D0217FF2C63E}"/>
                      </a:ext>
                    </a:extLst>
                  </p:cNvPr>
                  <p:cNvGrpSpPr/>
                  <p:nvPr/>
                </p:nvGrpSpPr>
                <p:grpSpPr>
                  <a:xfrm>
                    <a:off x="2347940" y="3126117"/>
                    <a:ext cx="483318" cy="483256"/>
                    <a:chOff x="4992153" y="5058387"/>
                    <a:chExt cx="183315" cy="183292"/>
                  </a:xfrm>
                </p:grpSpPr>
                <p:sp>
                  <p:nvSpPr>
                    <p:cNvPr id="161" name="矩形 160">
                      <a:extLst>
                        <a:ext uri="{FF2B5EF4-FFF2-40B4-BE49-F238E27FC236}">
                          <a16:creationId xmlns="" xmlns:a14="http://schemas.microsoft.com/office/drawing/2010/main" xmlns:p14="http://schemas.microsoft.com/office/powerpoint/2010/main" xmlns:a16="http://schemas.microsoft.com/office/drawing/2014/main" id="{399AFA40-3447-4964-9CEE-0EC831C34235}"/>
                        </a:ext>
                      </a:extLst>
                    </p:cNvPr>
                    <p:cNvSpPr/>
                    <p:nvPr/>
                  </p:nvSpPr>
                  <p:spPr>
                    <a:xfrm>
                      <a:off x="5001989" y="5068223"/>
                      <a:ext cx="164175" cy="164176"/>
                    </a:xfrm>
                    <a:prstGeom prst="rect">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62" name="椭圆 161">
                      <a:extLst>
                        <a:ext uri="{FF2B5EF4-FFF2-40B4-BE49-F238E27FC236}">
                          <a16:creationId xmlns="" xmlns:a14="http://schemas.microsoft.com/office/drawing/2010/main" xmlns:p14="http://schemas.microsoft.com/office/powerpoint/2010/main" xmlns:a16="http://schemas.microsoft.com/office/drawing/2014/main" id="{90FDF72F-9763-42E5-A6EE-AB9C8BCED68D}"/>
                        </a:ext>
                      </a:extLst>
                    </p:cNvPr>
                    <p:cNvSpPr/>
                    <p:nvPr/>
                  </p:nvSpPr>
                  <p:spPr>
                    <a:xfrm flipH="1">
                      <a:off x="4992153" y="5058387"/>
                      <a:ext cx="19673" cy="19673"/>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3" name="椭圆 162">
                      <a:extLst>
                        <a:ext uri="{FF2B5EF4-FFF2-40B4-BE49-F238E27FC236}">
                          <a16:creationId xmlns="" xmlns:a14="http://schemas.microsoft.com/office/drawing/2010/main" xmlns:p14="http://schemas.microsoft.com/office/powerpoint/2010/main" xmlns:a16="http://schemas.microsoft.com/office/drawing/2014/main" id="{AD2C9A9D-37D3-408E-B9CD-1BB04F798DF5}"/>
                        </a:ext>
                      </a:extLst>
                    </p:cNvPr>
                    <p:cNvSpPr/>
                    <p:nvPr/>
                  </p:nvSpPr>
                  <p:spPr>
                    <a:xfrm flipH="1">
                      <a:off x="5073974" y="5058387"/>
                      <a:ext cx="19673" cy="19673"/>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4" name="椭圆 163">
                      <a:extLst>
                        <a:ext uri="{FF2B5EF4-FFF2-40B4-BE49-F238E27FC236}">
                          <a16:creationId xmlns="" xmlns:a14="http://schemas.microsoft.com/office/drawing/2010/main" xmlns:p14="http://schemas.microsoft.com/office/powerpoint/2010/main" xmlns:a16="http://schemas.microsoft.com/office/drawing/2014/main" id="{1D0EE2BC-DF49-481F-929D-8C9BA398BBA2}"/>
                        </a:ext>
                      </a:extLst>
                    </p:cNvPr>
                    <p:cNvSpPr/>
                    <p:nvPr/>
                  </p:nvSpPr>
                  <p:spPr>
                    <a:xfrm flipH="1">
                      <a:off x="5155795" y="5058387"/>
                      <a:ext cx="19673" cy="19673"/>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5" name="椭圆 164">
                      <a:extLst>
                        <a:ext uri="{FF2B5EF4-FFF2-40B4-BE49-F238E27FC236}">
                          <a16:creationId xmlns="" xmlns:a14="http://schemas.microsoft.com/office/drawing/2010/main" xmlns:p14="http://schemas.microsoft.com/office/powerpoint/2010/main" xmlns:a16="http://schemas.microsoft.com/office/drawing/2014/main" id="{58EC95FA-8C88-47BC-BD51-4CC7EB60C8BC}"/>
                        </a:ext>
                      </a:extLst>
                    </p:cNvPr>
                    <p:cNvSpPr/>
                    <p:nvPr/>
                  </p:nvSpPr>
                  <p:spPr>
                    <a:xfrm flipH="1">
                      <a:off x="4992153" y="5222006"/>
                      <a:ext cx="19673" cy="19673"/>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6" name="椭圆 165">
                      <a:extLst>
                        <a:ext uri="{FF2B5EF4-FFF2-40B4-BE49-F238E27FC236}">
                          <a16:creationId xmlns="" xmlns:a14="http://schemas.microsoft.com/office/drawing/2010/main" xmlns:p14="http://schemas.microsoft.com/office/powerpoint/2010/main" xmlns:a16="http://schemas.microsoft.com/office/drawing/2014/main" id="{10C3AA87-0B53-4E76-AA2E-5646E50538E7}"/>
                        </a:ext>
                      </a:extLst>
                    </p:cNvPr>
                    <p:cNvSpPr/>
                    <p:nvPr/>
                  </p:nvSpPr>
                  <p:spPr>
                    <a:xfrm flipH="1">
                      <a:off x="5073974" y="5222006"/>
                      <a:ext cx="19673" cy="19673"/>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9" name="椭圆 168">
                      <a:extLst>
                        <a:ext uri="{FF2B5EF4-FFF2-40B4-BE49-F238E27FC236}">
                          <a16:creationId xmlns="" xmlns:a14="http://schemas.microsoft.com/office/drawing/2010/main" xmlns:p14="http://schemas.microsoft.com/office/powerpoint/2010/main" xmlns:a16="http://schemas.microsoft.com/office/drawing/2014/main" id="{67A30F83-F3C9-43E9-B4A9-E6072FAA88B4}"/>
                        </a:ext>
                      </a:extLst>
                    </p:cNvPr>
                    <p:cNvSpPr/>
                    <p:nvPr/>
                  </p:nvSpPr>
                  <p:spPr>
                    <a:xfrm flipH="1">
                      <a:off x="5155795" y="5222006"/>
                      <a:ext cx="19673" cy="19673"/>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0" name="椭圆 169">
                      <a:extLst>
                        <a:ext uri="{FF2B5EF4-FFF2-40B4-BE49-F238E27FC236}">
                          <a16:creationId xmlns="" xmlns:a14="http://schemas.microsoft.com/office/drawing/2010/main" xmlns:p14="http://schemas.microsoft.com/office/powerpoint/2010/main" xmlns:a16="http://schemas.microsoft.com/office/drawing/2014/main" id="{6458C571-B498-46DB-894D-6847927717A2}"/>
                        </a:ext>
                      </a:extLst>
                    </p:cNvPr>
                    <p:cNvSpPr/>
                    <p:nvPr/>
                  </p:nvSpPr>
                  <p:spPr>
                    <a:xfrm flipH="1">
                      <a:off x="4992153" y="5136664"/>
                      <a:ext cx="19673" cy="19673"/>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1" name="椭圆 170">
                      <a:extLst>
                        <a:ext uri="{FF2B5EF4-FFF2-40B4-BE49-F238E27FC236}">
                          <a16:creationId xmlns="" xmlns:a14="http://schemas.microsoft.com/office/drawing/2010/main" xmlns:p14="http://schemas.microsoft.com/office/powerpoint/2010/main" xmlns:a16="http://schemas.microsoft.com/office/drawing/2014/main" id="{6E4B5F08-2340-4ECD-8339-403C4F7CEE43}"/>
                        </a:ext>
                      </a:extLst>
                    </p:cNvPr>
                    <p:cNvSpPr/>
                    <p:nvPr/>
                  </p:nvSpPr>
                  <p:spPr>
                    <a:xfrm flipH="1">
                      <a:off x="5155790" y="5136664"/>
                      <a:ext cx="19673" cy="19673"/>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grpSp>
      </p:grpSp>
      <p:sp>
        <p:nvSpPr>
          <p:cNvPr id="2" name="矩形 1">
            <a:extLst>
              <a:ext uri="{FF2B5EF4-FFF2-40B4-BE49-F238E27FC236}">
                <a16:creationId xmlns="" xmlns:a14="http://schemas.microsoft.com/office/drawing/2010/main" xmlns:p14="http://schemas.microsoft.com/office/powerpoint/2010/main" xmlns:a16="http://schemas.microsoft.com/office/drawing/2014/main" id="{4B1FB9A7-85C6-45C8-A73A-210A68B9C2B7}"/>
              </a:ext>
            </a:extLst>
          </p:cNvPr>
          <p:cNvSpPr/>
          <p:nvPr/>
        </p:nvSpPr>
        <p:spPr>
          <a:xfrm>
            <a:off x="8978025" y="128575"/>
            <a:ext cx="2540875" cy="771556"/>
          </a:xfrm>
          <a:prstGeom prst="rect">
            <a:avLst/>
          </a:prstGeom>
          <a:solidFill>
            <a:srgbClr val="F73434"/>
          </a:solidFill>
          <a:ln w="12700">
            <a:noFill/>
            <a:prstDash val="sysDash"/>
          </a:ln>
        </p:spPr>
        <p:txBody>
          <a:bodyPr wrap="square" lIns="91440" tIns="91440" rIns="91440" bIns="91440" rtlCol="0" anchor="ctr">
            <a:noAutofit/>
          </a:bodyPr>
          <a:lstStyle/>
          <a:p>
            <a:pPr>
              <a:lnSpc>
                <a:spcPct val="120000"/>
              </a:lnSpc>
            </a:pPr>
            <a:r>
              <a:rPr lang="en-US" altLang="zh-CN" sz="800" b="1" dirty="0">
                <a:solidFill>
                  <a:schemeClr val="bg1"/>
                </a:solidFill>
              </a:rPr>
              <a:t>Note:</a:t>
            </a:r>
          </a:p>
          <a:p>
            <a:pPr>
              <a:lnSpc>
                <a:spcPct val="120000"/>
              </a:lnSpc>
            </a:pPr>
            <a:r>
              <a:rPr lang="zh-CN" altLang="en-US" sz="800" dirty="0">
                <a:solidFill>
                  <a:schemeClr val="bg1"/>
                </a:solidFill>
              </a:rPr>
              <a:t>本页为说明页，使用时请删除本页</a:t>
            </a:r>
            <a:r>
              <a:rPr lang="zh-CN" altLang="en-US" sz="800">
                <a:solidFill>
                  <a:schemeClr val="bg1"/>
                </a:solidFill>
              </a:rPr>
              <a:t>内</a:t>
            </a:r>
            <a:r>
              <a:rPr lang="zh-CN" altLang="en-US" sz="800" smtClean="0">
                <a:solidFill>
                  <a:schemeClr val="bg1"/>
                </a:solidFill>
              </a:rPr>
              <a:t>容</a:t>
            </a:r>
            <a:r>
              <a:rPr lang="zh-CN" altLang="en-US" sz="100" smtClean="0">
                <a:solidFill>
                  <a:schemeClr val="bg1"/>
                </a:solidFill>
              </a:rPr>
              <a:t> </a:t>
            </a:r>
            <a:r>
              <a:rPr lang="zh-CN" altLang="en-US" sz="800" smtClean="0">
                <a:solidFill>
                  <a:schemeClr val="bg1"/>
                </a:solidFill>
              </a:rPr>
              <a:t>。</a:t>
            </a:r>
            <a:endParaRPr lang="zh-CN" altLang="en-US" sz="800" dirty="0">
              <a:solidFill>
                <a:schemeClr val="bg1"/>
              </a:solidFill>
            </a:endParaRPr>
          </a:p>
          <a:p>
            <a:pPr>
              <a:lnSpc>
                <a:spcPct val="120000"/>
              </a:lnSpc>
            </a:pPr>
            <a:r>
              <a:rPr lang="en-US" altLang="zh-CN" sz="800" dirty="0">
                <a:solidFill>
                  <a:schemeClr val="bg1"/>
                </a:solidFill>
              </a:rPr>
              <a:t>This slide is an instruction. Please delete this slide before using it for presentation.</a:t>
            </a:r>
          </a:p>
        </p:txBody>
      </p:sp>
    </p:spTree>
    <p:custDataLst>
      <p:tags r:id="rId1"/>
    </p:custDataLst>
    <p:extLst>
      <p:ext uri="{BB962C8B-B14F-4D97-AF65-F5344CB8AC3E}">
        <p14:creationId xmlns:p14="http://schemas.microsoft.com/office/powerpoint/2010/main" val="396285567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9.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grpSp>
        <p:nvGrpSpPr>
          <p:cNvPr id="47" name="组合 46">
            <a:extLst>
              <a:ext uri="{FF2B5EF4-FFF2-40B4-BE49-F238E27FC236}">
                <a16:creationId xmlns="" xmlns:ahyp="http://schemas.microsoft.com/office/drawing/2018/hyperlinkcolor" xmlns:a14="http://schemas.microsoft.com/office/drawing/2010/main" xmlns:p14="http://schemas.microsoft.com/office/powerpoint/2010/main" xmlns:a16="http://schemas.microsoft.com/office/drawing/2014/main" id="{C3B8E65B-8D23-4A0C-BA0F-4099D6663359}"/>
              </a:ext>
            </a:extLst>
          </p:cNvPr>
          <p:cNvGrpSpPr/>
          <p:nvPr/>
        </p:nvGrpSpPr>
        <p:grpSpPr>
          <a:xfrm>
            <a:off x="5252647" y="0"/>
            <a:ext cx="6939359" cy="6858000"/>
            <a:chOff x="5252643" y="0"/>
            <a:chExt cx="6939358" cy="6858000"/>
          </a:xfrm>
          <a:solidFill>
            <a:srgbClr val="F7F7F7"/>
          </a:solidFill>
        </p:grpSpPr>
        <p:sp>
          <p:nvSpPr>
            <p:cNvPr id="48" name="任意多边形: 形状 47">
              <a:extLst>
                <a:ext uri="{FF2B5EF4-FFF2-40B4-BE49-F238E27FC236}">
                  <a16:creationId xmlns="" xmlns:ahyp="http://schemas.microsoft.com/office/drawing/2018/hyperlinkcolor" xmlns:a14="http://schemas.microsoft.com/office/drawing/2010/main" xmlns:p14="http://schemas.microsoft.com/office/powerpoint/2010/main" xmlns:a16="http://schemas.microsoft.com/office/drawing/2014/main" id="{318E7F1B-E2A0-4D9A-826C-3801FAA34DB1}"/>
                </a:ext>
              </a:extLst>
            </p:cNvPr>
            <p:cNvSpPr>
              <a:spLocks/>
            </p:cNvSpPr>
            <p:nvPr/>
          </p:nvSpPr>
          <p:spPr>
            <a:xfrm rot="19800000">
              <a:off x="7350845" y="2199545"/>
              <a:ext cx="2772000" cy="2772000"/>
            </a:xfrm>
            <a:custGeom>
              <a:avLst/>
              <a:gdLst>
                <a:gd name="connsiteX0" fmla="*/ 786764 w 1905000"/>
                <a:gd name="connsiteY0" fmla="*/ 1857375 h 1866900"/>
                <a:gd name="connsiteX1" fmla="*/ 1116329 w 1905000"/>
                <a:gd name="connsiteY1" fmla="*/ 1857375 h 1866900"/>
                <a:gd name="connsiteX2" fmla="*/ 1047749 w 1905000"/>
                <a:gd name="connsiteY2" fmla="*/ 1866900 h 1866900"/>
                <a:gd name="connsiteX3" fmla="*/ 855344 w 1905000"/>
                <a:gd name="connsiteY3" fmla="*/ 1866900 h 1866900"/>
                <a:gd name="connsiteX4" fmla="*/ 786764 w 1905000"/>
                <a:gd name="connsiteY4" fmla="*/ 1857375 h 1866900"/>
                <a:gd name="connsiteX5" fmla="*/ 614362 w 1905000"/>
                <a:gd name="connsiteY5" fmla="*/ 1809750 h 1866900"/>
                <a:gd name="connsiteX6" fmla="*/ 1290637 w 1905000"/>
                <a:gd name="connsiteY6" fmla="*/ 1809750 h 1866900"/>
                <a:gd name="connsiteX7" fmla="*/ 1263967 w 1905000"/>
                <a:gd name="connsiteY7" fmla="*/ 1819275 h 1866900"/>
                <a:gd name="connsiteX8" fmla="*/ 640079 w 1905000"/>
                <a:gd name="connsiteY8" fmla="*/ 1819275 h 1866900"/>
                <a:gd name="connsiteX9" fmla="*/ 614362 w 1905000"/>
                <a:gd name="connsiteY9" fmla="*/ 1809750 h 1866900"/>
                <a:gd name="connsiteX10" fmla="*/ 509587 w 1905000"/>
                <a:gd name="connsiteY10" fmla="*/ 1762125 h 1866900"/>
                <a:gd name="connsiteX11" fmla="*/ 1396365 w 1905000"/>
                <a:gd name="connsiteY11" fmla="*/ 1762125 h 1866900"/>
                <a:gd name="connsiteX12" fmla="*/ 1377315 w 1905000"/>
                <a:gd name="connsiteY12" fmla="*/ 1771650 h 1866900"/>
                <a:gd name="connsiteX13" fmla="*/ 527685 w 1905000"/>
                <a:gd name="connsiteY13" fmla="*/ 1771650 h 1866900"/>
                <a:gd name="connsiteX14" fmla="*/ 509587 w 1905000"/>
                <a:gd name="connsiteY14" fmla="*/ 1762125 h 1866900"/>
                <a:gd name="connsiteX15" fmla="*/ 428625 w 1905000"/>
                <a:gd name="connsiteY15" fmla="*/ 1714500 h 1866900"/>
                <a:gd name="connsiteX16" fmla="*/ 1478280 w 1905000"/>
                <a:gd name="connsiteY16" fmla="*/ 1714500 h 1866900"/>
                <a:gd name="connsiteX17" fmla="*/ 1463040 w 1905000"/>
                <a:gd name="connsiteY17" fmla="*/ 1724025 h 1866900"/>
                <a:gd name="connsiteX18" fmla="*/ 443865 w 1905000"/>
                <a:gd name="connsiteY18" fmla="*/ 1724025 h 1866900"/>
                <a:gd name="connsiteX19" fmla="*/ 428625 w 1905000"/>
                <a:gd name="connsiteY19" fmla="*/ 1714500 h 1866900"/>
                <a:gd name="connsiteX20" fmla="*/ 362902 w 1905000"/>
                <a:gd name="connsiteY20" fmla="*/ 1666875 h 1866900"/>
                <a:gd name="connsiteX21" fmla="*/ 1544002 w 1905000"/>
                <a:gd name="connsiteY21" fmla="*/ 1666875 h 1866900"/>
                <a:gd name="connsiteX22" fmla="*/ 1531620 w 1905000"/>
                <a:gd name="connsiteY22" fmla="*/ 1676400 h 1866900"/>
                <a:gd name="connsiteX23" fmla="*/ 375285 w 1905000"/>
                <a:gd name="connsiteY23" fmla="*/ 1676400 h 1866900"/>
                <a:gd name="connsiteX24" fmla="*/ 362902 w 1905000"/>
                <a:gd name="connsiteY24" fmla="*/ 1666875 h 1866900"/>
                <a:gd name="connsiteX25" fmla="*/ 306705 w 1905000"/>
                <a:gd name="connsiteY25" fmla="*/ 1619250 h 1866900"/>
                <a:gd name="connsiteX26" fmla="*/ 1599247 w 1905000"/>
                <a:gd name="connsiteY26" fmla="*/ 1619250 h 1866900"/>
                <a:gd name="connsiteX27" fmla="*/ 1588770 w 1905000"/>
                <a:gd name="connsiteY27" fmla="*/ 1628775 h 1866900"/>
                <a:gd name="connsiteX28" fmla="*/ 317182 w 1905000"/>
                <a:gd name="connsiteY28" fmla="*/ 1628775 h 1866900"/>
                <a:gd name="connsiteX29" fmla="*/ 306705 w 1905000"/>
                <a:gd name="connsiteY29" fmla="*/ 1619250 h 1866900"/>
                <a:gd name="connsiteX30" fmla="*/ 258127 w 1905000"/>
                <a:gd name="connsiteY30" fmla="*/ 1571625 h 1866900"/>
                <a:gd name="connsiteX31" fmla="*/ 1646872 w 1905000"/>
                <a:gd name="connsiteY31" fmla="*/ 1571625 h 1866900"/>
                <a:gd name="connsiteX32" fmla="*/ 1637347 w 1905000"/>
                <a:gd name="connsiteY32" fmla="*/ 1581150 h 1866900"/>
                <a:gd name="connsiteX33" fmla="*/ 266699 w 1905000"/>
                <a:gd name="connsiteY33" fmla="*/ 1581150 h 1866900"/>
                <a:gd name="connsiteX34" fmla="*/ 258127 w 1905000"/>
                <a:gd name="connsiteY34" fmla="*/ 1571625 h 1866900"/>
                <a:gd name="connsiteX35" fmla="*/ 216217 w 1905000"/>
                <a:gd name="connsiteY35" fmla="*/ 1524000 h 1866900"/>
                <a:gd name="connsiteX36" fmla="*/ 1687830 w 1905000"/>
                <a:gd name="connsiteY36" fmla="*/ 1524000 h 1866900"/>
                <a:gd name="connsiteX37" fmla="*/ 1680209 w 1905000"/>
                <a:gd name="connsiteY37" fmla="*/ 1533525 h 1866900"/>
                <a:gd name="connsiteX38" fmla="*/ 223837 w 1905000"/>
                <a:gd name="connsiteY38" fmla="*/ 1533525 h 1866900"/>
                <a:gd name="connsiteX39" fmla="*/ 216217 w 1905000"/>
                <a:gd name="connsiteY39" fmla="*/ 1524000 h 1866900"/>
                <a:gd name="connsiteX40" fmla="*/ 180022 w 1905000"/>
                <a:gd name="connsiteY40" fmla="*/ 1476375 h 1866900"/>
                <a:gd name="connsiteX41" fmla="*/ 1724977 w 1905000"/>
                <a:gd name="connsiteY41" fmla="*/ 1476375 h 1866900"/>
                <a:gd name="connsiteX42" fmla="*/ 1718310 w 1905000"/>
                <a:gd name="connsiteY42" fmla="*/ 1485900 h 1866900"/>
                <a:gd name="connsiteX43" fmla="*/ 186690 w 1905000"/>
                <a:gd name="connsiteY43" fmla="*/ 1485900 h 1866900"/>
                <a:gd name="connsiteX44" fmla="*/ 180022 w 1905000"/>
                <a:gd name="connsiteY44" fmla="*/ 1476375 h 1866900"/>
                <a:gd name="connsiteX45" fmla="*/ 147637 w 1905000"/>
                <a:gd name="connsiteY45" fmla="*/ 1428750 h 1866900"/>
                <a:gd name="connsiteX46" fmla="*/ 1756410 w 1905000"/>
                <a:gd name="connsiteY46" fmla="*/ 1428750 h 1866900"/>
                <a:gd name="connsiteX47" fmla="*/ 1750695 w 1905000"/>
                <a:gd name="connsiteY47" fmla="*/ 1438275 h 1866900"/>
                <a:gd name="connsiteX48" fmla="*/ 153352 w 1905000"/>
                <a:gd name="connsiteY48" fmla="*/ 1438275 h 1866900"/>
                <a:gd name="connsiteX49" fmla="*/ 147637 w 1905000"/>
                <a:gd name="connsiteY49" fmla="*/ 1428750 h 1866900"/>
                <a:gd name="connsiteX50" fmla="*/ 119062 w 1905000"/>
                <a:gd name="connsiteY50" fmla="*/ 1381125 h 1866900"/>
                <a:gd name="connsiteX51" fmla="*/ 1785937 w 1905000"/>
                <a:gd name="connsiteY51" fmla="*/ 1381125 h 1866900"/>
                <a:gd name="connsiteX52" fmla="*/ 1780222 w 1905000"/>
                <a:gd name="connsiteY52" fmla="*/ 1390650 h 1866900"/>
                <a:gd name="connsiteX53" fmla="*/ 124777 w 1905000"/>
                <a:gd name="connsiteY53" fmla="*/ 1390650 h 1866900"/>
                <a:gd name="connsiteX54" fmla="*/ 119062 w 1905000"/>
                <a:gd name="connsiteY54" fmla="*/ 1381125 h 1866900"/>
                <a:gd name="connsiteX55" fmla="*/ 95250 w 1905000"/>
                <a:gd name="connsiteY55" fmla="*/ 1333500 h 1866900"/>
                <a:gd name="connsiteX56" fmla="*/ 1810703 w 1905000"/>
                <a:gd name="connsiteY56" fmla="*/ 1333500 h 1866900"/>
                <a:gd name="connsiteX57" fmla="*/ 1805940 w 1905000"/>
                <a:gd name="connsiteY57" fmla="*/ 1343025 h 1866900"/>
                <a:gd name="connsiteX58" fmla="*/ 100013 w 1905000"/>
                <a:gd name="connsiteY58" fmla="*/ 1343025 h 1866900"/>
                <a:gd name="connsiteX59" fmla="*/ 95250 w 1905000"/>
                <a:gd name="connsiteY59" fmla="*/ 1333500 h 1866900"/>
                <a:gd name="connsiteX60" fmla="*/ 73342 w 1905000"/>
                <a:gd name="connsiteY60" fmla="*/ 1285875 h 1866900"/>
                <a:gd name="connsiteX61" fmla="*/ 1830705 w 1905000"/>
                <a:gd name="connsiteY61" fmla="*/ 1285875 h 1866900"/>
                <a:gd name="connsiteX62" fmla="*/ 1826895 w 1905000"/>
                <a:gd name="connsiteY62" fmla="*/ 1295400 h 1866900"/>
                <a:gd name="connsiteX63" fmla="*/ 77152 w 1905000"/>
                <a:gd name="connsiteY63" fmla="*/ 1295400 h 1866900"/>
                <a:gd name="connsiteX64" fmla="*/ 73342 w 1905000"/>
                <a:gd name="connsiteY64" fmla="*/ 1285875 h 1866900"/>
                <a:gd name="connsiteX65" fmla="*/ 55245 w 1905000"/>
                <a:gd name="connsiteY65" fmla="*/ 1238250 h 1866900"/>
                <a:gd name="connsiteX66" fmla="*/ 1850708 w 1905000"/>
                <a:gd name="connsiteY66" fmla="*/ 1238250 h 1866900"/>
                <a:gd name="connsiteX67" fmla="*/ 1846898 w 1905000"/>
                <a:gd name="connsiteY67" fmla="*/ 1247775 h 1866900"/>
                <a:gd name="connsiteX68" fmla="*/ 59055 w 1905000"/>
                <a:gd name="connsiteY68" fmla="*/ 1247775 h 1866900"/>
                <a:gd name="connsiteX69" fmla="*/ 55245 w 1905000"/>
                <a:gd name="connsiteY69" fmla="*/ 1238250 h 1866900"/>
                <a:gd name="connsiteX70" fmla="*/ 40004 w 1905000"/>
                <a:gd name="connsiteY70" fmla="*/ 1190625 h 1866900"/>
                <a:gd name="connsiteX71" fmla="*/ 1865947 w 1905000"/>
                <a:gd name="connsiteY71" fmla="*/ 1190625 h 1866900"/>
                <a:gd name="connsiteX72" fmla="*/ 1863089 w 1905000"/>
                <a:gd name="connsiteY72" fmla="*/ 1200150 h 1866900"/>
                <a:gd name="connsiteX73" fmla="*/ 42862 w 1905000"/>
                <a:gd name="connsiteY73" fmla="*/ 1200150 h 1866900"/>
                <a:gd name="connsiteX74" fmla="*/ 40004 w 1905000"/>
                <a:gd name="connsiteY74" fmla="*/ 1190625 h 1866900"/>
                <a:gd name="connsiteX75" fmla="*/ 26669 w 1905000"/>
                <a:gd name="connsiteY75" fmla="*/ 1143000 h 1866900"/>
                <a:gd name="connsiteX76" fmla="*/ 1878329 w 1905000"/>
                <a:gd name="connsiteY76" fmla="*/ 1143000 h 1866900"/>
                <a:gd name="connsiteX77" fmla="*/ 1876424 w 1905000"/>
                <a:gd name="connsiteY77" fmla="*/ 1152525 h 1866900"/>
                <a:gd name="connsiteX78" fmla="*/ 29526 w 1905000"/>
                <a:gd name="connsiteY78" fmla="*/ 1152525 h 1866900"/>
                <a:gd name="connsiteX79" fmla="*/ 26669 w 1905000"/>
                <a:gd name="connsiteY79" fmla="*/ 1143000 h 1866900"/>
                <a:gd name="connsiteX80" fmla="*/ 16192 w 1905000"/>
                <a:gd name="connsiteY80" fmla="*/ 1095375 h 1866900"/>
                <a:gd name="connsiteX81" fmla="*/ 1888807 w 1905000"/>
                <a:gd name="connsiteY81" fmla="*/ 1095375 h 1866900"/>
                <a:gd name="connsiteX82" fmla="*/ 1886902 w 1905000"/>
                <a:gd name="connsiteY82" fmla="*/ 1104900 h 1866900"/>
                <a:gd name="connsiteX83" fmla="*/ 18097 w 1905000"/>
                <a:gd name="connsiteY83" fmla="*/ 1104900 h 1866900"/>
                <a:gd name="connsiteX84" fmla="*/ 16192 w 1905000"/>
                <a:gd name="connsiteY84" fmla="*/ 1095375 h 1866900"/>
                <a:gd name="connsiteX85" fmla="*/ 8572 w 1905000"/>
                <a:gd name="connsiteY85" fmla="*/ 1047750 h 1866900"/>
                <a:gd name="connsiteX86" fmla="*/ 1896427 w 1905000"/>
                <a:gd name="connsiteY86" fmla="*/ 1047750 h 1866900"/>
                <a:gd name="connsiteX87" fmla="*/ 1895475 w 1905000"/>
                <a:gd name="connsiteY87" fmla="*/ 1057275 h 1866900"/>
                <a:gd name="connsiteX88" fmla="*/ 9525 w 1905000"/>
                <a:gd name="connsiteY88" fmla="*/ 1057275 h 1866900"/>
                <a:gd name="connsiteX89" fmla="*/ 8572 w 1905000"/>
                <a:gd name="connsiteY89" fmla="*/ 1047750 h 1866900"/>
                <a:gd name="connsiteX90" fmla="*/ 3810 w 1905000"/>
                <a:gd name="connsiteY90" fmla="*/ 1000125 h 1866900"/>
                <a:gd name="connsiteX91" fmla="*/ 1902143 w 1905000"/>
                <a:gd name="connsiteY91" fmla="*/ 1000125 h 1866900"/>
                <a:gd name="connsiteX92" fmla="*/ 1901190 w 1905000"/>
                <a:gd name="connsiteY92" fmla="*/ 1009650 h 1866900"/>
                <a:gd name="connsiteX93" fmla="*/ 4762 w 1905000"/>
                <a:gd name="connsiteY93" fmla="*/ 1009650 h 1866900"/>
                <a:gd name="connsiteX94" fmla="*/ 3810 w 1905000"/>
                <a:gd name="connsiteY94" fmla="*/ 1000125 h 1866900"/>
                <a:gd name="connsiteX95" fmla="*/ 952 w 1905000"/>
                <a:gd name="connsiteY95" fmla="*/ 952500 h 1866900"/>
                <a:gd name="connsiteX96" fmla="*/ 1904047 w 1905000"/>
                <a:gd name="connsiteY96" fmla="*/ 952500 h 1866900"/>
                <a:gd name="connsiteX97" fmla="*/ 1904047 w 1905000"/>
                <a:gd name="connsiteY97" fmla="*/ 962025 h 1866900"/>
                <a:gd name="connsiteX98" fmla="*/ 952 w 1905000"/>
                <a:gd name="connsiteY98" fmla="*/ 962025 h 1866900"/>
                <a:gd name="connsiteX99" fmla="*/ 952 w 1905000"/>
                <a:gd name="connsiteY99" fmla="*/ 952500 h 1866900"/>
                <a:gd name="connsiteX100" fmla="*/ 0 w 1905000"/>
                <a:gd name="connsiteY100" fmla="*/ 904875 h 1866900"/>
                <a:gd name="connsiteX101" fmla="*/ 1905000 w 1905000"/>
                <a:gd name="connsiteY101" fmla="*/ 904875 h 1866900"/>
                <a:gd name="connsiteX102" fmla="*/ 1905000 w 1905000"/>
                <a:gd name="connsiteY102" fmla="*/ 914400 h 1866900"/>
                <a:gd name="connsiteX103" fmla="*/ 0 w 1905000"/>
                <a:gd name="connsiteY103" fmla="*/ 914400 h 1866900"/>
                <a:gd name="connsiteX104" fmla="*/ 0 w 1905000"/>
                <a:gd name="connsiteY104" fmla="*/ 904875 h 1866900"/>
                <a:gd name="connsiteX105" fmla="*/ 1905 w 1905000"/>
                <a:gd name="connsiteY105" fmla="*/ 857250 h 1866900"/>
                <a:gd name="connsiteX106" fmla="*/ 1902142 w 1905000"/>
                <a:gd name="connsiteY106" fmla="*/ 857250 h 1866900"/>
                <a:gd name="connsiteX107" fmla="*/ 1903095 w 1905000"/>
                <a:gd name="connsiteY107" fmla="*/ 866775 h 1866900"/>
                <a:gd name="connsiteX108" fmla="*/ 952 w 1905000"/>
                <a:gd name="connsiteY108" fmla="*/ 866775 h 1866900"/>
                <a:gd name="connsiteX109" fmla="*/ 1905 w 1905000"/>
                <a:gd name="connsiteY109" fmla="*/ 857250 h 1866900"/>
                <a:gd name="connsiteX110" fmla="*/ 6667 w 1905000"/>
                <a:gd name="connsiteY110" fmla="*/ 809625 h 1866900"/>
                <a:gd name="connsiteX111" fmla="*/ 1899285 w 1905000"/>
                <a:gd name="connsiteY111" fmla="*/ 809625 h 1866900"/>
                <a:gd name="connsiteX112" fmla="*/ 1900238 w 1905000"/>
                <a:gd name="connsiteY112" fmla="*/ 819150 h 1866900"/>
                <a:gd name="connsiteX113" fmla="*/ 5715 w 1905000"/>
                <a:gd name="connsiteY113" fmla="*/ 819150 h 1866900"/>
                <a:gd name="connsiteX114" fmla="*/ 6667 w 1905000"/>
                <a:gd name="connsiteY114" fmla="*/ 809625 h 1866900"/>
                <a:gd name="connsiteX115" fmla="*/ 13335 w 1905000"/>
                <a:gd name="connsiteY115" fmla="*/ 762000 h 1866900"/>
                <a:gd name="connsiteX116" fmla="*/ 1891665 w 1905000"/>
                <a:gd name="connsiteY116" fmla="*/ 762000 h 1866900"/>
                <a:gd name="connsiteX117" fmla="*/ 1893570 w 1905000"/>
                <a:gd name="connsiteY117" fmla="*/ 771525 h 1866900"/>
                <a:gd name="connsiteX118" fmla="*/ 11430 w 1905000"/>
                <a:gd name="connsiteY118" fmla="*/ 771525 h 1866900"/>
                <a:gd name="connsiteX119" fmla="*/ 13335 w 1905000"/>
                <a:gd name="connsiteY119" fmla="*/ 762000 h 1866900"/>
                <a:gd name="connsiteX120" fmla="*/ 21907 w 1905000"/>
                <a:gd name="connsiteY120" fmla="*/ 714375 h 1866900"/>
                <a:gd name="connsiteX121" fmla="*/ 1883092 w 1905000"/>
                <a:gd name="connsiteY121" fmla="*/ 714375 h 1866900"/>
                <a:gd name="connsiteX122" fmla="*/ 1884997 w 1905000"/>
                <a:gd name="connsiteY122" fmla="*/ 723900 h 1866900"/>
                <a:gd name="connsiteX123" fmla="*/ 20002 w 1905000"/>
                <a:gd name="connsiteY123" fmla="*/ 723900 h 1866900"/>
                <a:gd name="connsiteX124" fmla="*/ 21907 w 1905000"/>
                <a:gd name="connsiteY124" fmla="*/ 714375 h 1866900"/>
                <a:gd name="connsiteX125" fmla="*/ 34289 w 1905000"/>
                <a:gd name="connsiteY125" fmla="*/ 666750 h 1866900"/>
                <a:gd name="connsiteX126" fmla="*/ 1870710 w 1905000"/>
                <a:gd name="connsiteY126" fmla="*/ 666750 h 1866900"/>
                <a:gd name="connsiteX127" fmla="*/ 1873567 w 1905000"/>
                <a:gd name="connsiteY127" fmla="*/ 676275 h 1866900"/>
                <a:gd name="connsiteX128" fmla="*/ 31432 w 1905000"/>
                <a:gd name="connsiteY128" fmla="*/ 676275 h 1866900"/>
                <a:gd name="connsiteX129" fmla="*/ 34289 w 1905000"/>
                <a:gd name="connsiteY129" fmla="*/ 666750 h 1866900"/>
                <a:gd name="connsiteX130" fmla="*/ 48577 w 1905000"/>
                <a:gd name="connsiteY130" fmla="*/ 619125 h 1866900"/>
                <a:gd name="connsiteX131" fmla="*/ 1857375 w 1905000"/>
                <a:gd name="connsiteY131" fmla="*/ 619125 h 1866900"/>
                <a:gd name="connsiteX132" fmla="*/ 1860233 w 1905000"/>
                <a:gd name="connsiteY132" fmla="*/ 628650 h 1866900"/>
                <a:gd name="connsiteX133" fmla="*/ 45720 w 1905000"/>
                <a:gd name="connsiteY133" fmla="*/ 628650 h 1866900"/>
                <a:gd name="connsiteX134" fmla="*/ 48577 w 1905000"/>
                <a:gd name="connsiteY134" fmla="*/ 619125 h 1866900"/>
                <a:gd name="connsiteX135" fmla="*/ 65722 w 1905000"/>
                <a:gd name="connsiteY135" fmla="*/ 571500 h 1866900"/>
                <a:gd name="connsiteX136" fmla="*/ 1839277 w 1905000"/>
                <a:gd name="connsiteY136" fmla="*/ 571500 h 1866900"/>
                <a:gd name="connsiteX137" fmla="*/ 1843087 w 1905000"/>
                <a:gd name="connsiteY137" fmla="*/ 581025 h 1866900"/>
                <a:gd name="connsiteX138" fmla="*/ 61912 w 1905000"/>
                <a:gd name="connsiteY138" fmla="*/ 581025 h 1866900"/>
                <a:gd name="connsiteX139" fmla="*/ 65722 w 1905000"/>
                <a:gd name="connsiteY139" fmla="*/ 571500 h 1866900"/>
                <a:gd name="connsiteX140" fmla="*/ 85725 w 1905000"/>
                <a:gd name="connsiteY140" fmla="*/ 523875 h 1866900"/>
                <a:gd name="connsiteX141" fmla="*/ 1819275 w 1905000"/>
                <a:gd name="connsiteY141" fmla="*/ 523875 h 1866900"/>
                <a:gd name="connsiteX142" fmla="*/ 1823085 w 1905000"/>
                <a:gd name="connsiteY142" fmla="*/ 533400 h 1866900"/>
                <a:gd name="connsiteX143" fmla="*/ 80962 w 1905000"/>
                <a:gd name="connsiteY143" fmla="*/ 533400 h 1866900"/>
                <a:gd name="connsiteX144" fmla="*/ 85725 w 1905000"/>
                <a:gd name="connsiteY144" fmla="*/ 523875 h 1866900"/>
                <a:gd name="connsiteX145" fmla="*/ 109538 w 1905000"/>
                <a:gd name="connsiteY145" fmla="*/ 476250 h 1866900"/>
                <a:gd name="connsiteX146" fmla="*/ 1796415 w 1905000"/>
                <a:gd name="connsiteY146" fmla="*/ 476250 h 1866900"/>
                <a:gd name="connsiteX147" fmla="*/ 1801178 w 1905000"/>
                <a:gd name="connsiteY147" fmla="*/ 485775 h 1866900"/>
                <a:gd name="connsiteX148" fmla="*/ 104775 w 1905000"/>
                <a:gd name="connsiteY148" fmla="*/ 485775 h 1866900"/>
                <a:gd name="connsiteX149" fmla="*/ 109538 w 1905000"/>
                <a:gd name="connsiteY149" fmla="*/ 476250 h 1866900"/>
                <a:gd name="connsiteX150" fmla="*/ 136207 w 1905000"/>
                <a:gd name="connsiteY150" fmla="*/ 428625 h 1866900"/>
                <a:gd name="connsiteX151" fmla="*/ 1768792 w 1905000"/>
                <a:gd name="connsiteY151" fmla="*/ 428625 h 1866900"/>
                <a:gd name="connsiteX152" fmla="*/ 1774507 w 1905000"/>
                <a:gd name="connsiteY152" fmla="*/ 438150 h 1866900"/>
                <a:gd name="connsiteX153" fmla="*/ 130492 w 1905000"/>
                <a:gd name="connsiteY153" fmla="*/ 438150 h 1866900"/>
                <a:gd name="connsiteX154" fmla="*/ 136207 w 1905000"/>
                <a:gd name="connsiteY154" fmla="*/ 428625 h 1866900"/>
                <a:gd name="connsiteX155" fmla="*/ 166687 w 1905000"/>
                <a:gd name="connsiteY155" fmla="*/ 381000 h 1866900"/>
                <a:gd name="connsiteX156" fmla="*/ 1738312 w 1905000"/>
                <a:gd name="connsiteY156" fmla="*/ 381000 h 1866900"/>
                <a:gd name="connsiteX157" fmla="*/ 1744979 w 1905000"/>
                <a:gd name="connsiteY157" fmla="*/ 390525 h 1866900"/>
                <a:gd name="connsiteX158" fmla="*/ 160019 w 1905000"/>
                <a:gd name="connsiteY158" fmla="*/ 390525 h 1866900"/>
                <a:gd name="connsiteX159" fmla="*/ 166687 w 1905000"/>
                <a:gd name="connsiteY159" fmla="*/ 381000 h 1866900"/>
                <a:gd name="connsiteX160" fmla="*/ 201929 w 1905000"/>
                <a:gd name="connsiteY160" fmla="*/ 333375 h 1866900"/>
                <a:gd name="connsiteX161" fmla="*/ 1704022 w 1905000"/>
                <a:gd name="connsiteY161" fmla="*/ 333375 h 1866900"/>
                <a:gd name="connsiteX162" fmla="*/ 1711642 w 1905000"/>
                <a:gd name="connsiteY162" fmla="*/ 342900 h 1866900"/>
                <a:gd name="connsiteX163" fmla="*/ 194309 w 1905000"/>
                <a:gd name="connsiteY163" fmla="*/ 342900 h 1866900"/>
                <a:gd name="connsiteX164" fmla="*/ 201929 w 1905000"/>
                <a:gd name="connsiteY164" fmla="*/ 333375 h 1866900"/>
                <a:gd name="connsiteX165" fmla="*/ 240981 w 1905000"/>
                <a:gd name="connsiteY165" fmla="*/ 285750 h 1866900"/>
                <a:gd name="connsiteX166" fmla="*/ 1664017 w 1905000"/>
                <a:gd name="connsiteY166" fmla="*/ 285750 h 1866900"/>
                <a:gd name="connsiteX167" fmla="*/ 1672589 w 1905000"/>
                <a:gd name="connsiteY167" fmla="*/ 295275 h 1866900"/>
                <a:gd name="connsiteX168" fmla="*/ 232409 w 1905000"/>
                <a:gd name="connsiteY168" fmla="*/ 295275 h 1866900"/>
                <a:gd name="connsiteX169" fmla="*/ 240981 w 1905000"/>
                <a:gd name="connsiteY169" fmla="*/ 285750 h 1866900"/>
                <a:gd name="connsiteX170" fmla="*/ 286702 w 1905000"/>
                <a:gd name="connsiteY170" fmla="*/ 238125 h 1866900"/>
                <a:gd name="connsiteX171" fmla="*/ 1619250 w 1905000"/>
                <a:gd name="connsiteY171" fmla="*/ 238125 h 1866900"/>
                <a:gd name="connsiteX172" fmla="*/ 1628775 w 1905000"/>
                <a:gd name="connsiteY172" fmla="*/ 247650 h 1866900"/>
                <a:gd name="connsiteX173" fmla="*/ 277177 w 1905000"/>
                <a:gd name="connsiteY173" fmla="*/ 247650 h 1866900"/>
                <a:gd name="connsiteX174" fmla="*/ 286702 w 1905000"/>
                <a:gd name="connsiteY174" fmla="*/ 238125 h 1866900"/>
                <a:gd name="connsiteX175" fmla="*/ 339090 w 1905000"/>
                <a:gd name="connsiteY175" fmla="*/ 190500 h 1866900"/>
                <a:gd name="connsiteX176" fmla="*/ 1565910 w 1905000"/>
                <a:gd name="connsiteY176" fmla="*/ 190500 h 1866900"/>
                <a:gd name="connsiteX177" fmla="*/ 1577340 w 1905000"/>
                <a:gd name="connsiteY177" fmla="*/ 200025 h 1866900"/>
                <a:gd name="connsiteX178" fmla="*/ 327660 w 1905000"/>
                <a:gd name="connsiteY178" fmla="*/ 200025 h 1866900"/>
                <a:gd name="connsiteX179" fmla="*/ 339090 w 1905000"/>
                <a:gd name="connsiteY179" fmla="*/ 190500 h 1866900"/>
                <a:gd name="connsiteX180" fmla="*/ 400049 w 1905000"/>
                <a:gd name="connsiteY180" fmla="*/ 142875 h 1866900"/>
                <a:gd name="connsiteX181" fmla="*/ 1503997 w 1905000"/>
                <a:gd name="connsiteY181" fmla="*/ 142875 h 1866900"/>
                <a:gd name="connsiteX182" fmla="*/ 1517332 w 1905000"/>
                <a:gd name="connsiteY182" fmla="*/ 152400 h 1866900"/>
                <a:gd name="connsiteX183" fmla="*/ 386714 w 1905000"/>
                <a:gd name="connsiteY183" fmla="*/ 152400 h 1866900"/>
                <a:gd name="connsiteX184" fmla="*/ 400049 w 1905000"/>
                <a:gd name="connsiteY184" fmla="*/ 142875 h 1866900"/>
                <a:gd name="connsiteX185" fmla="*/ 474345 w 1905000"/>
                <a:gd name="connsiteY185" fmla="*/ 95250 h 1866900"/>
                <a:gd name="connsiteX186" fmla="*/ 1429702 w 1905000"/>
                <a:gd name="connsiteY186" fmla="*/ 95250 h 1866900"/>
                <a:gd name="connsiteX187" fmla="*/ 1445895 w 1905000"/>
                <a:gd name="connsiteY187" fmla="*/ 104775 h 1866900"/>
                <a:gd name="connsiteX188" fmla="*/ 458152 w 1905000"/>
                <a:gd name="connsiteY188" fmla="*/ 104775 h 1866900"/>
                <a:gd name="connsiteX189" fmla="*/ 474345 w 1905000"/>
                <a:gd name="connsiteY189" fmla="*/ 95250 h 1866900"/>
                <a:gd name="connsiteX190" fmla="*/ 568642 w 1905000"/>
                <a:gd name="connsiteY190" fmla="*/ 47625 h 1866900"/>
                <a:gd name="connsiteX191" fmla="*/ 1337309 w 1905000"/>
                <a:gd name="connsiteY191" fmla="*/ 47625 h 1866900"/>
                <a:gd name="connsiteX192" fmla="*/ 1358265 w 1905000"/>
                <a:gd name="connsiteY192" fmla="*/ 57150 h 1866900"/>
                <a:gd name="connsiteX193" fmla="*/ 547687 w 1905000"/>
                <a:gd name="connsiteY193" fmla="*/ 57150 h 1866900"/>
                <a:gd name="connsiteX194" fmla="*/ 568642 w 1905000"/>
                <a:gd name="connsiteY194" fmla="*/ 47625 h 1866900"/>
                <a:gd name="connsiteX195" fmla="*/ 702945 w 1905000"/>
                <a:gd name="connsiteY195" fmla="*/ 0 h 1866900"/>
                <a:gd name="connsiteX196" fmla="*/ 1203960 w 1905000"/>
                <a:gd name="connsiteY196" fmla="*/ 0 h 1866900"/>
                <a:gd name="connsiteX197" fmla="*/ 1236345 w 1905000"/>
                <a:gd name="connsiteY197" fmla="*/ 9525 h 1866900"/>
                <a:gd name="connsiteX198" fmla="*/ 670560 w 1905000"/>
                <a:gd name="connsiteY198" fmla="*/ 9525 h 1866900"/>
                <a:gd name="connsiteX199" fmla="*/ 702945 w 1905000"/>
                <a:gd name="connsiteY199" fmla="*/ 0 h 1866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Lst>
              <a:rect l="l" t="t" r="r" b="b"/>
              <a:pathLst>
                <a:path w="1905000" h="1866900">
                  <a:moveTo>
                    <a:pt x="786764" y="1857375"/>
                  </a:moveTo>
                  <a:lnTo>
                    <a:pt x="1116329" y="1857375"/>
                  </a:lnTo>
                  <a:cubicBezTo>
                    <a:pt x="1093469" y="1861185"/>
                    <a:pt x="1070609" y="1864995"/>
                    <a:pt x="1047749" y="1866900"/>
                  </a:cubicBezTo>
                  <a:lnTo>
                    <a:pt x="855344" y="1866900"/>
                  </a:lnTo>
                  <a:cubicBezTo>
                    <a:pt x="832484" y="1864995"/>
                    <a:pt x="809624" y="1861185"/>
                    <a:pt x="786764" y="1857375"/>
                  </a:cubicBezTo>
                  <a:close/>
                  <a:moveTo>
                    <a:pt x="614362" y="1809750"/>
                  </a:moveTo>
                  <a:lnTo>
                    <a:pt x="1290637" y="1809750"/>
                  </a:lnTo>
                  <a:cubicBezTo>
                    <a:pt x="1281112" y="1812608"/>
                    <a:pt x="1272540" y="1816417"/>
                    <a:pt x="1263967" y="1819275"/>
                  </a:cubicBezTo>
                  <a:lnTo>
                    <a:pt x="640079" y="1819275"/>
                  </a:lnTo>
                  <a:cubicBezTo>
                    <a:pt x="631507" y="1816417"/>
                    <a:pt x="622935" y="1812608"/>
                    <a:pt x="614362" y="1809750"/>
                  </a:cubicBezTo>
                  <a:close/>
                  <a:moveTo>
                    <a:pt x="509587" y="1762125"/>
                  </a:moveTo>
                  <a:lnTo>
                    <a:pt x="1396365" y="1762125"/>
                  </a:lnTo>
                  <a:cubicBezTo>
                    <a:pt x="1389697" y="1764983"/>
                    <a:pt x="1383982" y="1768792"/>
                    <a:pt x="1377315" y="1771650"/>
                  </a:cubicBezTo>
                  <a:lnTo>
                    <a:pt x="527685" y="1771650"/>
                  </a:lnTo>
                  <a:cubicBezTo>
                    <a:pt x="521969" y="1768792"/>
                    <a:pt x="515302" y="1764983"/>
                    <a:pt x="509587" y="1762125"/>
                  </a:cubicBezTo>
                  <a:close/>
                  <a:moveTo>
                    <a:pt x="428625" y="1714500"/>
                  </a:moveTo>
                  <a:lnTo>
                    <a:pt x="1478280" y="1714500"/>
                  </a:lnTo>
                  <a:cubicBezTo>
                    <a:pt x="1472565" y="1717358"/>
                    <a:pt x="1467803" y="1721167"/>
                    <a:pt x="1463040" y="1724025"/>
                  </a:cubicBezTo>
                  <a:lnTo>
                    <a:pt x="443865" y="1724025"/>
                  </a:lnTo>
                  <a:cubicBezTo>
                    <a:pt x="438150" y="1721167"/>
                    <a:pt x="433388" y="1717358"/>
                    <a:pt x="428625" y="1714500"/>
                  </a:cubicBezTo>
                  <a:close/>
                  <a:moveTo>
                    <a:pt x="362902" y="1666875"/>
                  </a:moveTo>
                  <a:lnTo>
                    <a:pt x="1544002" y="1666875"/>
                  </a:lnTo>
                  <a:cubicBezTo>
                    <a:pt x="1540192" y="1669733"/>
                    <a:pt x="1535430" y="1673542"/>
                    <a:pt x="1531620" y="1676400"/>
                  </a:cubicBezTo>
                  <a:lnTo>
                    <a:pt x="375285" y="1676400"/>
                  </a:lnTo>
                  <a:cubicBezTo>
                    <a:pt x="370522" y="1673542"/>
                    <a:pt x="366712" y="1669733"/>
                    <a:pt x="362902" y="1666875"/>
                  </a:cubicBezTo>
                  <a:close/>
                  <a:moveTo>
                    <a:pt x="306705" y="1619250"/>
                  </a:moveTo>
                  <a:lnTo>
                    <a:pt x="1599247" y="1619250"/>
                  </a:lnTo>
                  <a:cubicBezTo>
                    <a:pt x="1595438" y="1622108"/>
                    <a:pt x="1592580" y="1625917"/>
                    <a:pt x="1588770" y="1628775"/>
                  </a:cubicBezTo>
                  <a:lnTo>
                    <a:pt x="317182" y="1628775"/>
                  </a:lnTo>
                  <a:cubicBezTo>
                    <a:pt x="313373" y="1625917"/>
                    <a:pt x="310515" y="1622108"/>
                    <a:pt x="306705" y="1619250"/>
                  </a:cubicBezTo>
                  <a:close/>
                  <a:moveTo>
                    <a:pt x="258127" y="1571625"/>
                  </a:moveTo>
                  <a:lnTo>
                    <a:pt x="1646872" y="1571625"/>
                  </a:lnTo>
                  <a:cubicBezTo>
                    <a:pt x="1643062" y="1574483"/>
                    <a:pt x="1640205" y="1578292"/>
                    <a:pt x="1637347" y="1581150"/>
                  </a:cubicBezTo>
                  <a:lnTo>
                    <a:pt x="266699" y="1581150"/>
                  </a:lnTo>
                  <a:cubicBezTo>
                    <a:pt x="263842" y="1578292"/>
                    <a:pt x="260984" y="1574483"/>
                    <a:pt x="258127" y="1571625"/>
                  </a:cubicBezTo>
                  <a:close/>
                  <a:moveTo>
                    <a:pt x="216217" y="1524000"/>
                  </a:moveTo>
                  <a:lnTo>
                    <a:pt x="1687830" y="1524000"/>
                  </a:lnTo>
                  <a:cubicBezTo>
                    <a:pt x="1684972" y="1526858"/>
                    <a:pt x="1683067" y="1530667"/>
                    <a:pt x="1680209" y="1533525"/>
                  </a:cubicBezTo>
                  <a:lnTo>
                    <a:pt x="223837" y="1533525"/>
                  </a:lnTo>
                  <a:cubicBezTo>
                    <a:pt x="221932" y="1530667"/>
                    <a:pt x="219074" y="1526858"/>
                    <a:pt x="216217" y="1524000"/>
                  </a:cubicBezTo>
                  <a:close/>
                  <a:moveTo>
                    <a:pt x="180022" y="1476375"/>
                  </a:moveTo>
                  <a:lnTo>
                    <a:pt x="1724977" y="1476375"/>
                  </a:lnTo>
                  <a:cubicBezTo>
                    <a:pt x="1723072" y="1479233"/>
                    <a:pt x="1720215" y="1483042"/>
                    <a:pt x="1718310" y="1485900"/>
                  </a:cubicBezTo>
                  <a:lnTo>
                    <a:pt x="186690" y="1485900"/>
                  </a:lnTo>
                  <a:cubicBezTo>
                    <a:pt x="184785" y="1483042"/>
                    <a:pt x="181927" y="1479233"/>
                    <a:pt x="180022" y="1476375"/>
                  </a:cubicBezTo>
                  <a:close/>
                  <a:moveTo>
                    <a:pt x="147637" y="1428750"/>
                  </a:moveTo>
                  <a:lnTo>
                    <a:pt x="1756410" y="1428750"/>
                  </a:lnTo>
                  <a:cubicBezTo>
                    <a:pt x="1754505" y="1431608"/>
                    <a:pt x="1752600" y="1435417"/>
                    <a:pt x="1750695" y="1438275"/>
                  </a:cubicBezTo>
                  <a:lnTo>
                    <a:pt x="153352" y="1438275"/>
                  </a:lnTo>
                  <a:cubicBezTo>
                    <a:pt x="151447" y="1435417"/>
                    <a:pt x="149542" y="1431608"/>
                    <a:pt x="147637" y="1428750"/>
                  </a:cubicBezTo>
                  <a:close/>
                  <a:moveTo>
                    <a:pt x="119062" y="1381125"/>
                  </a:moveTo>
                  <a:lnTo>
                    <a:pt x="1785937" y="1381125"/>
                  </a:lnTo>
                  <a:cubicBezTo>
                    <a:pt x="1784032" y="1383983"/>
                    <a:pt x="1782127" y="1387792"/>
                    <a:pt x="1780222" y="1390650"/>
                  </a:cubicBezTo>
                  <a:lnTo>
                    <a:pt x="124777" y="1390650"/>
                  </a:lnTo>
                  <a:cubicBezTo>
                    <a:pt x="122872" y="1387792"/>
                    <a:pt x="120967" y="1383983"/>
                    <a:pt x="119062" y="1381125"/>
                  </a:cubicBezTo>
                  <a:close/>
                  <a:moveTo>
                    <a:pt x="95250" y="1333500"/>
                  </a:moveTo>
                  <a:lnTo>
                    <a:pt x="1810703" y="1333500"/>
                  </a:lnTo>
                  <a:cubicBezTo>
                    <a:pt x="1808798" y="1336358"/>
                    <a:pt x="1807845" y="1340167"/>
                    <a:pt x="1805940" y="1343025"/>
                  </a:cubicBezTo>
                  <a:lnTo>
                    <a:pt x="100013" y="1343025"/>
                  </a:lnTo>
                  <a:cubicBezTo>
                    <a:pt x="98108" y="1340167"/>
                    <a:pt x="97155" y="1336358"/>
                    <a:pt x="95250" y="1333500"/>
                  </a:cubicBezTo>
                  <a:close/>
                  <a:moveTo>
                    <a:pt x="73342" y="1285875"/>
                  </a:moveTo>
                  <a:lnTo>
                    <a:pt x="1830705" y="1285875"/>
                  </a:lnTo>
                  <a:cubicBezTo>
                    <a:pt x="1829752" y="1288733"/>
                    <a:pt x="1827847" y="1292542"/>
                    <a:pt x="1826895" y="1295400"/>
                  </a:cubicBezTo>
                  <a:lnTo>
                    <a:pt x="77152" y="1295400"/>
                  </a:lnTo>
                  <a:cubicBezTo>
                    <a:pt x="76200" y="1292542"/>
                    <a:pt x="74295" y="1288733"/>
                    <a:pt x="73342" y="1285875"/>
                  </a:cubicBezTo>
                  <a:close/>
                  <a:moveTo>
                    <a:pt x="55245" y="1238250"/>
                  </a:moveTo>
                  <a:lnTo>
                    <a:pt x="1850708" y="1238250"/>
                  </a:lnTo>
                  <a:cubicBezTo>
                    <a:pt x="1848803" y="1241108"/>
                    <a:pt x="1847850" y="1244917"/>
                    <a:pt x="1846898" y="1247775"/>
                  </a:cubicBezTo>
                  <a:lnTo>
                    <a:pt x="59055" y="1247775"/>
                  </a:lnTo>
                  <a:cubicBezTo>
                    <a:pt x="57150" y="1244917"/>
                    <a:pt x="56197" y="1241108"/>
                    <a:pt x="55245" y="1238250"/>
                  </a:cubicBezTo>
                  <a:close/>
                  <a:moveTo>
                    <a:pt x="40004" y="1190625"/>
                  </a:moveTo>
                  <a:lnTo>
                    <a:pt x="1865947" y="1190625"/>
                  </a:lnTo>
                  <a:cubicBezTo>
                    <a:pt x="1864994" y="1193483"/>
                    <a:pt x="1864042" y="1197292"/>
                    <a:pt x="1863089" y="1200150"/>
                  </a:cubicBezTo>
                  <a:lnTo>
                    <a:pt x="42862" y="1200150"/>
                  </a:lnTo>
                  <a:cubicBezTo>
                    <a:pt x="41909" y="1197292"/>
                    <a:pt x="40957" y="1193483"/>
                    <a:pt x="40004" y="1190625"/>
                  </a:cubicBezTo>
                  <a:close/>
                  <a:moveTo>
                    <a:pt x="26669" y="1143000"/>
                  </a:moveTo>
                  <a:lnTo>
                    <a:pt x="1878329" y="1143000"/>
                  </a:lnTo>
                  <a:cubicBezTo>
                    <a:pt x="1878329" y="1145858"/>
                    <a:pt x="1877377" y="1149667"/>
                    <a:pt x="1876424" y="1152525"/>
                  </a:cubicBezTo>
                  <a:lnTo>
                    <a:pt x="29526" y="1152525"/>
                  </a:lnTo>
                  <a:cubicBezTo>
                    <a:pt x="28574" y="1149667"/>
                    <a:pt x="27622" y="1145858"/>
                    <a:pt x="26669" y="1143000"/>
                  </a:cubicBezTo>
                  <a:close/>
                  <a:moveTo>
                    <a:pt x="16192" y="1095375"/>
                  </a:moveTo>
                  <a:lnTo>
                    <a:pt x="1888807" y="1095375"/>
                  </a:lnTo>
                  <a:cubicBezTo>
                    <a:pt x="1887855" y="1098233"/>
                    <a:pt x="1887855" y="1102042"/>
                    <a:pt x="1886902" y="1104900"/>
                  </a:cubicBezTo>
                  <a:lnTo>
                    <a:pt x="18097" y="1104900"/>
                  </a:lnTo>
                  <a:cubicBezTo>
                    <a:pt x="17144" y="1102042"/>
                    <a:pt x="17144" y="1098233"/>
                    <a:pt x="16192" y="1095375"/>
                  </a:cubicBezTo>
                  <a:close/>
                  <a:moveTo>
                    <a:pt x="8572" y="1047750"/>
                  </a:moveTo>
                  <a:lnTo>
                    <a:pt x="1896427" y="1047750"/>
                  </a:lnTo>
                  <a:cubicBezTo>
                    <a:pt x="1896427" y="1050608"/>
                    <a:pt x="1895475" y="1054417"/>
                    <a:pt x="1895475" y="1057275"/>
                  </a:cubicBezTo>
                  <a:lnTo>
                    <a:pt x="9525" y="1057275"/>
                  </a:lnTo>
                  <a:cubicBezTo>
                    <a:pt x="9525" y="1054417"/>
                    <a:pt x="8572" y="1050608"/>
                    <a:pt x="8572" y="1047750"/>
                  </a:cubicBezTo>
                  <a:close/>
                  <a:moveTo>
                    <a:pt x="3810" y="1000125"/>
                  </a:moveTo>
                  <a:lnTo>
                    <a:pt x="1902143" y="1000125"/>
                  </a:lnTo>
                  <a:cubicBezTo>
                    <a:pt x="1902143" y="1002983"/>
                    <a:pt x="1901190" y="1006792"/>
                    <a:pt x="1901190" y="1009650"/>
                  </a:cubicBezTo>
                  <a:lnTo>
                    <a:pt x="4762" y="1009650"/>
                  </a:lnTo>
                  <a:cubicBezTo>
                    <a:pt x="4762" y="1006792"/>
                    <a:pt x="3810" y="1002983"/>
                    <a:pt x="3810" y="1000125"/>
                  </a:cubicBezTo>
                  <a:close/>
                  <a:moveTo>
                    <a:pt x="952" y="952500"/>
                  </a:moveTo>
                  <a:lnTo>
                    <a:pt x="1904047" y="952500"/>
                  </a:lnTo>
                  <a:cubicBezTo>
                    <a:pt x="1904047" y="955358"/>
                    <a:pt x="1904047" y="959167"/>
                    <a:pt x="1904047" y="962025"/>
                  </a:cubicBezTo>
                  <a:lnTo>
                    <a:pt x="952" y="962025"/>
                  </a:lnTo>
                  <a:cubicBezTo>
                    <a:pt x="952" y="959167"/>
                    <a:pt x="952" y="955358"/>
                    <a:pt x="952" y="952500"/>
                  </a:cubicBezTo>
                  <a:close/>
                  <a:moveTo>
                    <a:pt x="0" y="904875"/>
                  </a:moveTo>
                  <a:lnTo>
                    <a:pt x="1905000" y="904875"/>
                  </a:lnTo>
                  <a:cubicBezTo>
                    <a:pt x="1905000" y="907733"/>
                    <a:pt x="1905000" y="911542"/>
                    <a:pt x="1905000" y="914400"/>
                  </a:cubicBezTo>
                  <a:lnTo>
                    <a:pt x="0" y="914400"/>
                  </a:lnTo>
                  <a:cubicBezTo>
                    <a:pt x="0" y="911542"/>
                    <a:pt x="0" y="907733"/>
                    <a:pt x="0" y="904875"/>
                  </a:cubicBezTo>
                  <a:close/>
                  <a:moveTo>
                    <a:pt x="1905" y="857250"/>
                  </a:moveTo>
                  <a:lnTo>
                    <a:pt x="1902142" y="857250"/>
                  </a:lnTo>
                  <a:cubicBezTo>
                    <a:pt x="1903095" y="860108"/>
                    <a:pt x="1903095" y="863917"/>
                    <a:pt x="1903095" y="866775"/>
                  </a:cubicBezTo>
                  <a:lnTo>
                    <a:pt x="952" y="866775"/>
                  </a:lnTo>
                  <a:cubicBezTo>
                    <a:pt x="1905" y="863917"/>
                    <a:pt x="1905" y="860108"/>
                    <a:pt x="1905" y="857250"/>
                  </a:cubicBezTo>
                  <a:close/>
                  <a:moveTo>
                    <a:pt x="6667" y="809625"/>
                  </a:moveTo>
                  <a:lnTo>
                    <a:pt x="1899285" y="809625"/>
                  </a:lnTo>
                  <a:cubicBezTo>
                    <a:pt x="1899285" y="812483"/>
                    <a:pt x="1900238" y="816292"/>
                    <a:pt x="1900238" y="819150"/>
                  </a:cubicBezTo>
                  <a:lnTo>
                    <a:pt x="5715" y="819150"/>
                  </a:lnTo>
                  <a:cubicBezTo>
                    <a:pt x="5715" y="816292"/>
                    <a:pt x="6667" y="812483"/>
                    <a:pt x="6667" y="809625"/>
                  </a:cubicBezTo>
                  <a:close/>
                  <a:moveTo>
                    <a:pt x="13335" y="762000"/>
                  </a:moveTo>
                  <a:lnTo>
                    <a:pt x="1891665" y="762000"/>
                  </a:lnTo>
                  <a:cubicBezTo>
                    <a:pt x="1892618" y="764858"/>
                    <a:pt x="1892618" y="768667"/>
                    <a:pt x="1893570" y="771525"/>
                  </a:cubicBezTo>
                  <a:lnTo>
                    <a:pt x="11430" y="771525"/>
                  </a:lnTo>
                  <a:cubicBezTo>
                    <a:pt x="12382" y="768667"/>
                    <a:pt x="12382" y="764858"/>
                    <a:pt x="13335" y="762000"/>
                  </a:cubicBezTo>
                  <a:close/>
                  <a:moveTo>
                    <a:pt x="21907" y="714375"/>
                  </a:moveTo>
                  <a:lnTo>
                    <a:pt x="1883092" y="714375"/>
                  </a:lnTo>
                  <a:cubicBezTo>
                    <a:pt x="1884045" y="717233"/>
                    <a:pt x="1884045" y="721042"/>
                    <a:pt x="1884997" y="723900"/>
                  </a:cubicBezTo>
                  <a:lnTo>
                    <a:pt x="20002" y="723900"/>
                  </a:lnTo>
                  <a:cubicBezTo>
                    <a:pt x="20955" y="721042"/>
                    <a:pt x="20955" y="717233"/>
                    <a:pt x="21907" y="714375"/>
                  </a:cubicBezTo>
                  <a:close/>
                  <a:moveTo>
                    <a:pt x="34289" y="666750"/>
                  </a:moveTo>
                  <a:lnTo>
                    <a:pt x="1870710" y="666750"/>
                  </a:lnTo>
                  <a:cubicBezTo>
                    <a:pt x="1871662" y="669608"/>
                    <a:pt x="1872615" y="673417"/>
                    <a:pt x="1873567" y="676275"/>
                  </a:cubicBezTo>
                  <a:lnTo>
                    <a:pt x="31432" y="676275"/>
                  </a:lnTo>
                  <a:cubicBezTo>
                    <a:pt x="32385" y="673417"/>
                    <a:pt x="33337" y="669608"/>
                    <a:pt x="34289" y="666750"/>
                  </a:cubicBezTo>
                  <a:close/>
                  <a:moveTo>
                    <a:pt x="48577" y="619125"/>
                  </a:moveTo>
                  <a:lnTo>
                    <a:pt x="1857375" y="619125"/>
                  </a:lnTo>
                  <a:cubicBezTo>
                    <a:pt x="1858328" y="621983"/>
                    <a:pt x="1859280" y="625792"/>
                    <a:pt x="1860233" y="628650"/>
                  </a:cubicBezTo>
                  <a:lnTo>
                    <a:pt x="45720" y="628650"/>
                  </a:lnTo>
                  <a:cubicBezTo>
                    <a:pt x="46672" y="625792"/>
                    <a:pt x="47625" y="621983"/>
                    <a:pt x="48577" y="619125"/>
                  </a:cubicBezTo>
                  <a:close/>
                  <a:moveTo>
                    <a:pt x="65722" y="571500"/>
                  </a:moveTo>
                  <a:lnTo>
                    <a:pt x="1839277" y="571500"/>
                  </a:lnTo>
                  <a:cubicBezTo>
                    <a:pt x="1840230" y="574357"/>
                    <a:pt x="1842135" y="578168"/>
                    <a:pt x="1843087" y="581025"/>
                  </a:cubicBezTo>
                  <a:lnTo>
                    <a:pt x="61912" y="581025"/>
                  </a:lnTo>
                  <a:cubicBezTo>
                    <a:pt x="62864" y="578168"/>
                    <a:pt x="64770" y="574357"/>
                    <a:pt x="65722" y="571500"/>
                  </a:cubicBezTo>
                  <a:close/>
                  <a:moveTo>
                    <a:pt x="85725" y="523875"/>
                  </a:moveTo>
                  <a:lnTo>
                    <a:pt x="1819275" y="523875"/>
                  </a:lnTo>
                  <a:cubicBezTo>
                    <a:pt x="1820227" y="526732"/>
                    <a:pt x="1822132" y="530543"/>
                    <a:pt x="1823085" y="533400"/>
                  </a:cubicBezTo>
                  <a:lnTo>
                    <a:pt x="80962" y="533400"/>
                  </a:lnTo>
                  <a:cubicBezTo>
                    <a:pt x="82867" y="530543"/>
                    <a:pt x="83820" y="526732"/>
                    <a:pt x="85725" y="523875"/>
                  </a:cubicBezTo>
                  <a:close/>
                  <a:moveTo>
                    <a:pt x="109538" y="476250"/>
                  </a:moveTo>
                  <a:lnTo>
                    <a:pt x="1796415" y="476250"/>
                  </a:lnTo>
                  <a:cubicBezTo>
                    <a:pt x="1798320" y="479107"/>
                    <a:pt x="1799273" y="482918"/>
                    <a:pt x="1801178" y="485775"/>
                  </a:cubicBezTo>
                  <a:lnTo>
                    <a:pt x="104775" y="485775"/>
                  </a:lnTo>
                  <a:cubicBezTo>
                    <a:pt x="105728" y="482918"/>
                    <a:pt x="107633" y="479107"/>
                    <a:pt x="109538" y="476250"/>
                  </a:cubicBezTo>
                  <a:close/>
                  <a:moveTo>
                    <a:pt x="136207" y="428625"/>
                  </a:moveTo>
                  <a:lnTo>
                    <a:pt x="1768792" y="428625"/>
                  </a:lnTo>
                  <a:cubicBezTo>
                    <a:pt x="1770697" y="431482"/>
                    <a:pt x="1772602" y="435293"/>
                    <a:pt x="1774507" y="438150"/>
                  </a:cubicBezTo>
                  <a:lnTo>
                    <a:pt x="130492" y="438150"/>
                  </a:lnTo>
                  <a:cubicBezTo>
                    <a:pt x="132397" y="435293"/>
                    <a:pt x="134302" y="431482"/>
                    <a:pt x="136207" y="428625"/>
                  </a:cubicBezTo>
                  <a:close/>
                  <a:moveTo>
                    <a:pt x="166687" y="381000"/>
                  </a:moveTo>
                  <a:lnTo>
                    <a:pt x="1738312" y="381000"/>
                  </a:lnTo>
                  <a:cubicBezTo>
                    <a:pt x="1741169" y="383857"/>
                    <a:pt x="1743074" y="387668"/>
                    <a:pt x="1744979" y="390525"/>
                  </a:cubicBezTo>
                  <a:lnTo>
                    <a:pt x="160019" y="390525"/>
                  </a:lnTo>
                  <a:cubicBezTo>
                    <a:pt x="162877" y="387668"/>
                    <a:pt x="164782" y="383857"/>
                    <a:pt x="166687" y="381000"/>
                  </a:cubicBezTo>
                  <a:close/>
                  <a:moveTo>
                    <a:pt x="201929" y="333375"/>
                  </a:moveTo>
                  <a:lnTo>
                    <a:pt x="1704022" y="333375"/>
                  </a:lnTo>
                  <a:cubicBezTo>
                    <a:pt x="1706879" y="336232"/>
                    <a:pt x="1708784" y="340043"/>
                    <a:pt x="1711642" y="342900"/>
                  </a:cubicBezTo>
                  <a:lnTo>
                    <a:pt x="194309" y="342900"/>
                  </a:lnTo>
                  <a:cubicBezTo>
                    <a:pt x="197167" y="340043"/>
                    <a:pt x="199072" y="336232"/>
                    <a:pt x="201929" y="333375"/>
                  </a:cubicBezTo>
                  <a:close/>
                  <a:moveTo>
                    <a:pt x="240981" y="285750"/>
                  </a:moveTo>
                  <a:lnTo>
                    <a:pt x="1664017" y="285750"/>
                  </a:lnTo>
                  <a:cubicBezTo>
                    <a:pt x="1666874" y="288607"/>
                    <a:pt x="1669732" y="292418"/>
                    <a:pt x="1672589" y="295275"/>
                  </a:cubicBezTo>
                  <a:lnTo>
                    <a:pt x="232409" y="295275"/>
                  </a:lnTo>
                  <a:cubicBezTo>
                    <a:pt x="235267" y="292418"/>
                    <a:pt x="238124" y="288607"/>
                    <a:pt x="240981" y="285750"/>
                  </a:cubicBezTo>
                  <a:close/>
                  <a:moveTo>
                    <a:pt x="286702" y="238125"/>
                  </a:moveTo>
                  <a:lnTo>
                    <a:pt x="1619250" y="238125"/>
                  </a:lnTo>
                  <a:cubicBezTo>
                    <a:pt x="1622107" y="240982"/>
                    <a:pt x="1625917" y="244793"/>
                    <a:pt x="1628775" y="247650"/>
                  </a:cubicBezTo>
                  <a:lnTo>
                    <a:pt x="277177" y="247650"/>
                  </a:lnTo>
                  <a:cubicBezTo>
                    <a:pt x="280034" y="244793"/>
                    <a:pt x="282892" y="240982"/>
                    <a:pt x="286702" y="238125"/>
                  </a:cubicBezTo>
                  <a:close/>
                  <a:moveTo>
                    <a:pt x="339090" y="190500"/>
                  </a:moveTo>
                  <a:lnTo>
                    <a:pt x="1565910" y="190500"/>
                  </a:lnTo>
                  <a:cubicBezTo>
                    <a:pt x="1569720" y="193357"/>
                    <a:pt x="1573530" y="197168"/>
                    <a:pt x="1577340" y="200025"/>
                  </a:cubicBezTo>
                  <a:lnTo>
                    <a:pt x="327660" y="200025"/>
                  </a:lnTo>
                  <a:cubicBezTo>
                    <a:pt x="331470" y="197168"/>
                    <a:pt x="335280" y="193357"/>
                    <a:pt x="339090" y="190500"/>
                  </a:cubicBezTo>
                  <a:close/>
                  <a:moveTo>
                    <a:pt x="400049" y="142875"/>
                  </a:moveTo>
                  <a:lnTo>
                    <a:pt x="1503997" y="142875"/>
                  </a:lnTo>
                  <a:cubicBezTo>
                    <a:pt x="1508759" y="145733"/>
                    <a:pt x="1512569" y="149542"/>
                    <a:pt x="1517332" y="152400"/>
                  </a:cubicBezTo>
                  <a:lnTo>
                    <a:pt x="386714" y="152400"/>
                  </a:lnTo>
                  <a:cubicBezTo>
                    <a:pt x="391477" y="149542"/>
                    <a:pt x="395287" y="145733"/>
                    <a:pt x="400049" y="142875"/>
                  </a:cubicBezTo>
                  <a:close/>
                  <a:moveTo>
                    <a:pt x="474345" y="95250"/>
                  </a:moveTo>
                  <a:lnTo>
                    <a:pt x="1429702" y="95250"/>
                  </a:lnTo>
                  <a:cubicBezTo>
                    <a:pt x="1435417" y="98108"/>
                    <a:pt x="1440180" y="101917"/>
                    <a:pt x="1445895" y="104775"/>
                  </a:cubicBezTo>
                  <a:lnTo>
                    <a:pt x="458152" y="104775"/>
                  </a:lnTo>
                  <a:cubicBezTo>
                    <a:pt x="463867" y="101917"/>
                    <a:pt x="468630" y="98108"/>
                    <a:pt x="474345" y="95250"/>
                  </a:cubicBezTo>
                  <a:close/>
                  <a:moveTo>
                    <a:pt x="568642" y="47625"/>
                  </a:moveTo>
                  <a:lnTo>
                    <a:pt x="1337309" y="47625"/>
                  </a:lnTo>
                  <a:cubicBezTo>
                    <a:pt x="1343977" y="50483"/>
                    <a:pt x="1351597" y="54292"/>
                    <a:pt x="1358265" y="57150"/>
                  </a:cubicBezTo>
                  <a:lnTo>
                    <a:pt x="547687" y="57150"/>
                  </a:lnTo>
                  <a:cubicBezTo>
                    <a:pt x="554355" y="54292"/>
                    <a:pt x="561975" y="50483"/>
                    <a:pt x="568642" y="47625"/>
                  </a:cubicBezTo>
                  <a:close/>
                  <a:moveTo>
                    <a:pt x="702945" y="0"/>
                  </a:moveTo>
                  <a:lnTo>
                    <a:pt x="1203960" y="0"/>
                  </a:lnTo>
                  <a:cubicBezTo>
                    <a:pt x="1214438" y="2858"/>
                    <a:pt x="1225867" y="5715"/>
                    <a:pt x="1236345" y="9525"/>
                  </a:cubicBezTo>
                  <a:lnTo>
                    <a:pt x="670560" y="9525"/>
                  </a:lnTo>
                  <a:cubicBezTo>
                    <a:pt x="681037" y="5715"/>
                    <a:pt x="692467" y="2858"/>
                    <a:pt x="702945" y="0"/>
                  </a:cubicBezTo>
                  <a:close/>
                </a:path>
              </a:pathLst>
            </a:custGeom>
            <a:grpFill/>
            <a:ln w="14015" cap="flat">
              <a:noFill/>
              <a:prstDash val="solid"/>
              <a:miter/>
            </a:ln>
          </p:spPr>
          <p:txBody>
            <a:bodyPr rtlCol="0" anchor="ctr"/>
            <a:lstStyle/>
            <a:p>
              <a:pPr lvl="0"/>
              <a:endParaRPr lang="zh-CN" altLang="en-US"/>
            </a:p>
          </p:txBody>
        </p:sp>
        <p:sp>
          <p:nvSpPr>
            <p:cNvPr id="49" name="任意多边形: 形状 48">
              <a:extLst>
                <a:ext uri="{FF2B5EF4-FFF2-40B4-BE49-F238E27FC236}">
                  <a16:creationId xmlns="" xmlns:ahyp="http://schemas.microsoft.com/office/drawing/2018/hyperlinkcolor" xmlns:a14="http://schemas.microsoft.com/office/drawing/2010/main" xmlns:p14="http://schemas.microsoft.com/office/powerpoint/2010/main" xmlns:a16="http://schemas.microsoft.com/office/drawing/2014/main" id="{5BB64C10-DD97-4DF8-B000-003D623AC820}"/>
                </a:ext>
              </a:extLst>
            </p:cNvPr>
            <p:cNvSpPr/>
            <p:nvPr/>
          </p:nvSpPr>
          <p:spPr>
            <a:xfrm>
              <a:off x="9421670" y="0"/>
              <a:ext cx="2770331" cy="1398732"/>
            </a:xfrm>
            <a:custGeom>
              <a:avLst/>
              <a:gdLst>
                <a:gd name="connsiteX0" fmla="*/ 685 w 2770331"/>
                <a:gd name="connsiteY0" fmla="*/ 0 h 1398732"/>
                <a:gd name="connsiteX1" fmla="*/ 2769647 w 2770331"/>
                <a:gd name="connsiteY1" fmla="*/ 0 h 1398732"/>
                <a:gd name="connsiteX2" fmla="*/ 2770331 w 2770331"/>
                <a:gd name="connsiteY2" fmla="*/ 13546 h 1398732"/>
                <a:gd name="connsiteX3" fmla="*/ 2770331 w 2770331"/>
                <a:gd name="connsiteY3" fmla="*/ 13586 h 1398732"/>
                <a:gd name="connsiteX4" fmla="*/ 2763181 w 2770331"/>
                <a:gd name="connsiteY4" fmla="*/ 155191 h 1398732"/>
                <a:gd name="connsiteX5" fmla="*/ 1385167 w 2770331"/>
                <a:gd name="connsiteY5" fmla="*/ 1398732 h 1398732"/>
                <a:gd name="connsiteX6" fmla="*/ 0 w 2770331"/>
                <a:gd name="connsiteY6" fmla="*/ 13566 h 1398732"/>
                <a:gd name="connsiteX7" fmla="*/ 685 w 2770331"/>
                <a:gd name="connsiteY7" fmla="*/ 0 h 1398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70331" h="1398732">
                  <a:moveTo>
                    <a:pt x="685" y="0"/>
                  </a:moveTo>
                  <a:lnTo>
                    <a:pt x="2769647" y="0"/>
                  </a:lnTo>
                  <a:lnTo>
                    <a:pt x="2770331" y="13546"/>
                  </a:lnTo>
                  <a:lnTo>
                    <a:pt x="2770331" y="13586"/>
                  </a:lnTo>
                  <a:lnTo>
                    <a:pt x="2763181" y="155191"/>
                  </a:lnTo>
                  <a:cubicBezTo>
                    <a:pt x="2692246" y="853670"/>
                    <a:pt x="2102359" y="1398732"/>
                    <a:pt x="1385167" y="1398732"/>
                  </a:cubicBezTo>
                  <a:cubicBezTo>
                    <a:pt x="620160" y="1398732"/>
                    <a:pt x="0" y="778572"/>
                    <a:pt x="0" y="13566"/>
                  </a:cubicBezTo>
                  <a:lnTo>
                    <a:pt x="685" y="0"/>
                  </a:lnTo>
                  <a:close/>
                </a:path>
              </a:pathLst>
            </a:custGeom>
            <a:grpFill/>
            <a:ln w="11088" cap="flat">
              <a:noFill/>
              <a:prstDash val="solid"/>
              <a:miter/>
            </a:ln>
          </p:spPr>
          <p:txBody>
            <a:bodyPr rtlCol="0" anchor="ctr"/>
            <a:lstStyle/>
            <a:p>
              <a:pPr lvl="0"/>
              <a:endParaRPr lang="zh-CN" altLang="en-US"/>
            </a:p>
          </p:txBody>
        </p:sp>
        <p:sp>
          <p:nvSpPr>
            <p:cNvPr id="50" name="任意多边形: 形状 49">
              <a:extLst>
                <a:ext uri="{FF2B5EF4-FFF2-40B4-BE49-F238E27FC236}">
                  <a16:creationId xmlns="" xmlns:ahyp="http://schemas.microsoft.com/office/drawing/2018/hyperlinkcolor" xmlns:a14="http://schemas.microsoft.com/office/drawing/2010/main" xmlns:p14="http://schemas.microsoft.com/office/powerpoint/2010/main" xmlns:a16="http://schemas.microsoft.com/office/drawing/2014/main" id="{9968D30F-EFE9-42F5-898F-60E1C5FABD5E}"/>
                </a:ext>
              </a:extLst>
            </p:cNvPr>
            <p:cNvSpPr/>
            <p:nvPr/>
          </p:nvSpPr>
          <p:spPr>
            <a:xfrm>
              <a:off x="5252643" y="3384444"/>
              <a:ext cx="4217150" cy="3473556"/>
            </a:xfrm>
            <a:custGeom>
              <a:avLst/>
              <a:gdLst>
                <a:gd name="connsiteX0" fmla="*/ 2852892 w 4217150"/>
                <a:gd name="connsiteY0" fmla="*/ 466 h 3473556"/>
                <a:gd name="connsiteX1" fmla="*/ 3516107 w 4217150"/>
                <a:gd name="connsiteY1" fmla="*/ 187901 h 3473556"/>
                <a:gd name="connsiteX2" fmla="*/ 4029249 w 4217150"/>
                <a:gd name="connsiteY2" fmla="*/ 2103072 h 3473556"/>
                <a:gd name="connsiteX3" fmla="*/ 3237888 w 4217150"/>
                <a:gd name="connsiteY3" fmla="*/ 3473556 h 3473556"/>
                <a:gd name="connsiteX4" fmla="*/ 0 w 4217150"/>
                <a:gd name="connsiteY4" fmla="*/ 3473556 h 3473556"/>
                <a:gd name="connsiteX5" fmla="*/ 1600936 w 4217150"/>
                <a:gd name="connsiteY5" fmla="*/ 701044 h 3473556"/>
                <a:gd name="connsiteX6" fmla="*/ 2852892 w 4217150"/>
                <a:gd name="connsiteY6" fmla="*/ 466 h 3473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7150" h="3473556">
                  <a:moveTo>
                    <a:pt x="2852892" y="466"/>
                  </a:moveTo>
                  <a:cubicBezTo>
                    <a:pt x="3078904" y="6295"/>
                    <a:pt x="3306679" y="66976"/>
                    <a:pt x="3516107" y="187901"/>
                  </a:cubicBezTo>
                  <a:cubicBezTo>
                    <a:pt x="4186277" y="574861"/>
                    <a:pt x="4416209" y="1432902"/>
                    <a:pt x="4029249" y="2103072"/>
                  </a:cubicBezTo>
                  <a:lnTo>
                    <a:pt x="3237888" y="3473556"/>
                  </a:lnTo>
                  <a:lnTo>
                    <a:pt x="0" y="3473556"/>
                  </a:lnTo>
                  <a:lnTo>
                    <a:pt x="1600936" y="701044"/>
                  </a:lnTo>
                  <a:cubicBezTo>
                    <a:pt x="1866971" y="240302"/>
                    <a:pt x="2355666" y="-12359"/>
                    <a:pt x="2852892" y="466"/>
                  </a:cubicBezTo>
                  <a:close/>
                </a:path>
              </a:pathLst>
            </a:custGeom>
            <a:grpFill/>
            <a:ln w="14015" cap="flat">
              <a:noFill/>
              <a:prstDash val="solid"/>
              <a:miter/>
            </a:ln>
          </p:spPr>
          <p:txBody>
            <a:bodyPr rtlCol="0" anchor="ctr"/>
            <a:lstStyle/>
            <a:p>
              <a:pPr lvl="0"/>
              <a:endParaRPr lang="zh-CN" altLang="en-US"/>
            </a:p>
          </p:txBody>
        </p:sp>
      </p:grpSp>
      <p:grpSp>
        <p:nvGrpSpPr>
          <p:cNvPr id="6" name="组合 5">
            <a:extLst>
              <a:ext uri="{FF2B5EF4-FFF2-40B4-BE49-F238E27FC236}">
                <a16:creationId xmlns="" xmlns:ahyp="http://schemas.microsoft.com/office/drawing/2018/hyperlinkcolor" xmlns:a14="http://schemas.microsoft.com/office/drawing/2010/main" xmlns:p14="http://schemas.microsoft.com/office/powerpoint/2010/main" xmlns:a16="http://schemas.microsoft.com/office/drawing/2014/main" id="{FCBBF52A-9743-4508-AB77-11B57E837547}"/>
              </a:ext>
            </a:extLst>
          </p:cNvPr>
          <p:cNvGrpSpPr/>
          <p:nvPr/>
        </p:nvGrpSpPr>
        <p:grpSpPr>
          <a:xfrm>
            <a:off x="660400" y="2340017"/>
            <a:ext cx="2890521" cy="1867344"/>
            <a:chOff x="3422179" y="1150240"/>
            <a:chExt cx="2890521" cy="1867345"/>
          </a:xfrm>
        </p:grpSpPr>
        <p:sp>
          <p:nvSpPr>
            <p:cNvPr id="7" name="矩形 189">
              <a:extLst>
                <a:ext uri="{FF2B5EF4-FFF2-40B4-BE49-F238E27FC236}">
                  <a16:creationId xmlns="" xmlns:ahyp="http://schemas.microsoft.com/office/drawing/2018/hyperlinkcolor" xmlns:a14="http://schemas.microsoft.com/office/drawing/2010/main" xmlns:p14="http://schemas.microsoft.com/office/powerpoint/2010/main" xmlns:a16="http://schemas.microsoft.com/office/drawing/2014/main" id="{63B72852-A360-4EF8-A2F9-3A064EA5CCA7}"/>
                </a:ext>
              </a:extLst>
            </p:cNvPr>
            <p:cNvSpPr/>
            <p:nvPr/>
          </p:nvSpPr>
          <p:spPr>
            <a:xfrm>
              <a:off x="3422179" y="2648253"/>
              <a:ext cx="2890520" cy="369332"/>
            </a:xfrm>
            <a:prstGeom prst="rect">
              <a:avLst/>
            </a:prstGeom>
            <a:noFill/>
            <a:ln>
              <a:noFill/>
            </a:ln>
          </p:spPr>
          <p:txBody>
            <a:bodyPr wrap="square" anchor="ctr">
              <a:spAutoFit/>
            </a:bodyPr>
            <a:lstStyle/>
            <a:p>
              <a:pPr defTabSz="914332">
                <a:lnSpc>
                  <a:spcPct val="150000"/>
                </a:lnSpc>
                <a:defRPr/>
              </a:pPr>
              <a:r>
                <a:rPr lang="en-US" altLang="zh-CN" sz="1200" smtClean="0">
                  <a:solidFill>
                    <a:srgbClr val="F73434"/>
                  </a:solidFill>
                  <a:latin typeface="Arial" panose="020B0604020202020204" pitchFamily="34" charset="0"/>
                  <a:ea typeface="微软雅黑" panose="020B0503020204020204" pitchFamily="34" charset="-122"/>
                  <a:sym typeface="Arial" panose="020B0604020202020204" pitchFamily="34" charset="0"/>
                  <a:hlinkClick r:id="rId3">
                    <a:extLst>
                      <a:ext uri="{A12FA001-AC4F-418D-AE19-62706E023703}">
                        <ahyp:hlinkClr xmlns="" xmlns:a16="http://schemas.microsoft.com/office/drawing/2014/main" xmlns:a14="http://schemas.microsoft.com/office/drawing/2010/main" xmlns:p14="http://schemas.microsoft.com/office/powerpoint/2010/main" xmlns:ahyp="http://schemas.microsoft.com/office/drawing/2018/hyperlinkcolor" val="tx"/>
                      </a:ext>
                    </a:extLst>
                  </a:hlinkClick>
                </a:rPr>
                <a:t>www</a:t>
              </a:r>
              <a:r>
                <a:rPr lang="en-US" altLang="zh-CN" sz="100" smtClean="0">
                  <a:solidFill>
                    <a:srgbClr val="F73434"/>
                  </a:solidFill>
                  <a:latin typeface="Arial" panose="020B0604020202020204" pitchFamily="34" charset="0"/>
                  <a:ea typeface="微软雅黑" panose="020B0503020204020204" pitchFamily="34" charset="-122"/>
                  <a:sym typeface="Arial" panose="020B0604020202020204" pitchFamily="34" charset="0"/>
                  <a:hlinkClick r:id="rId3">
                    <a:extLst>
                      <a:ext uri="{A12FA001-AC4F-418D-AE19-62706E023703}">
                        <ahyp:hlinkClr xmlns="" xmlns:a16="http://schemas.microsoft.com/office/drawing/2014/main" xmlns:a14="http://schemas.microsoft.com/office/drawing/2010/main" xmlns:p14="http://schemas.microsoft.com/office/powerpoint/2010/main" xmlns:ahyp="http://schemas.microsoft.com/office/drawing/2018/hyperlinkcolor" val="tx"/>
                      </a:ext>
                    </a:extLst>
                  </a:hlinkClick>
                </a:rPr>
                <a:t> </a:t>
              </a:r>
              <a:r>
                <a:rPr lang="en-US" altLang="zh-CN" sz="1200" smtClean="0">
                  <a:solidFill>
                    <a:srgbClr val="F73434"/>
                  </a:solidFill>
                  <a:latin typeface="Arial" panose="020B0604020202020204" pitchFamily="34" charset="0"/>
                  <a:ea typeface="微软雅黑" panose="020B0503020204020204" pitchFamily="34" charset="-122"/>
                  <a:sym typeface="Arial" panose="020B0604020202020204" pitchFamily="34" charset="0"/>
                  <a:hlinkClick r:id="rId3">
                    <a:extLst>
                      <a:ext uri="{A12FA001-AC4F-418D-AE19-62706E023703}">
                        <ahyp:hlinkClr xmlns="" xmlns:a16="http://schemas.microsoft.com/office/drawing/2014/main" xmlns:a14="http://schemas.microsoft.com/office/drawing/2010/main" xmlns:p14="http://schemas.microsoft.com/office/powerpoint/2010/main" xmlns:ahyp="http://schemas.microsoft.com/office/drawing/2018/hyperlinkcolor" val="tx"/>
                      </a:ext>
                    </a:extLst>
                  </a:hlinkClick>
                </a:rPr>
                <a:t>.</a:t>
              </a:r>
              <a:r>
                <a:rPr lang="en-US" altLang="zh-CN" sz="1200" dirty="0">
                  <a:solidFill>
                    <a:srgbClr val="F73434"/>
                  </a:solidFill>
                  <a:latin typeface="Arial" panose="020B0604020202020204" pitchFamily="34" charset="0"/>
                  <a:ea typeface="微软雅黑" panose="020B0503020204020204" pitchFamily="34" charset="-122"/>
                  <a:sym typeface="Arial" panose="020B0604020202020204" pitchFamily="34" charset="0"/>
                  <a:hlinkClick r:id="rId3">
                    <a:extLst>
                      <a:ext uri="{A12FA001-AC4F-418D-AE19-62706E023703}">
                        <ahyp:hlinkClr xmlns="" xmlns:a16="http://schemas.microsoft.com/office/drawing/2014/main" xmlns:a14="http://schemas.microsoft.com/office/drawing/2010/main" xmlns:p14="http://schemas.microsoft.com/office/powerpoint/2010/main" xmlns:ahyp="http://schemas.microsoft.com/office/drawing/2018/hyperlinkcolor" val="tx"/>
                      </a:ext>
                    </a:extLst>
                  </a:hlinkClick>
                </a:rPr>
                <a:t>islide.cc</a:t>
              </a:r>
              <a:endParaRPr lang="zh-CN" altLang="en-US" sz="1200" dirty="0">
                <a:solidFill>
                  <a:srgbClr val="F73434"/>
                </a:solidFill>
                <a:latin typeface="Arial" panose="020B0604020202020204" pitchFamily="34" charset="0"/>
                <a:ea typeface="微软雅黑" panose="020B0503020204020204" pitchFamily="34" charset="-122"/>
                <a:sym typeface="Arial" panose="020B0604020202020204" pitchFamily="34" charset="0"/>
              </a:endParaRPr>
            </a:p>
          </p:txBody>
        </p:sp>
        <p:sp>
          <p:nvSpPr>
            <p:cNvPr id="8" name="矩形 190">
              <a:extLst>
                <a:ext uri="{FF2B5EF4-FFF2-40B4-BE49-F238E27FC236}">
                  <a16:creationId xmlns="" xmlns:ahyp="http://schemas.microsoft.com/office/drawing/2018/hyperlinkcolor" xmlns:a14="http://schemas.microsoft.com/office/drawing/2010/main" xmlns:p14="http://schemas.microsoft.com/office/powerpoint/2010/main" xmlns:a16="http://schemas.microsoft.com/office/drawing/2014/main" id="{F754BA71-8184-4828-95E4-4301AEC6A769}"/>
                </a:ext>
              </a:extLst>
            </p:cNvPr>
            <p:cNvSpPr/>
            <p:nvPr/>
          </p:nvSpPr>
          <p:spPr>
            <a:xfrm>
              <a:off x="3422180" y="1150240"/>
              <a:ext cx="2890520" cy="1224952"/>
            </a:xfrm>
            <a:prstGeom prst="rect">
              <a:avLst/>
            </a:prstGeom>
            <a:noFill/>
            <a:ln>
              <a:noFill/>
            </a:ln>
          </p:spPr>
          <p:txBody>
            <a:bodyPr wrap="square" anchor="t">
              <a:spAutoFit/>
            </a:bodyPr>
            <a:lstStyle/>
            <a:p>
              <a:pPr defTabSz="914332">
                <a:lnSpc>
                  <a:spcPct val="120000"/>
                </a:lnSpc>
                <a:defRPr/>
              </a:pPr>
              <a:r>
                <a:rPr lang="zh-CN" altLang="en-US" sz="1400" dirty="0">
                  <a:solidFill>
                    <a:srgbClr val="2F2F2F"/>
                  </a:solidFill>
                  <a:latin typeface="Arial" panose="020B0604020202020204" pitchFamily="34" charset="0"/>
                  <a:ea typeface="微软雅黑" panose="020B0503020204020204" pitchFamily="34" charset="-122"/>
                  <a:sym typeface="Arial" panose="020B0604020202020204" pitchFamily="34" charset="0"/>
                </a:rPr>
                <a:t>海量原创模版 </a:t>
              </a:r>
              <a:r>
                <a:rPr lang="en-US" altLang="zh-CN" sz="1400" dirty="0">
                  <a:solidFill>
                    <a:srgbClr val="2F2F2F"/>
                  </a:solidFill>
                  <a:latin typeface="Arial" panose="020B0604020202020204" pitchFamily="34" charset="0"/>
                  <a:ea typeface="微软雅黑" panose="020B0503020204020204" pitchFamily="34" charset="-122"/>
                  <a:sym typeface="Arial" panose="020B0604020202020204" pitchFamily="34" charset="0"/>
                </a:rPr>
                <a:t>+ </a:t>
              </a:r>
              <a:r>
                <a:rPr lang="zh-CN" altLang="en-US" sz="1400" dirty="0">
                  <a:solidFill>
                    <a:srgbClr val="2F2F2F"/>
                  </a:solidFill>
                  <a:latin typeface="Arial" panose="020B0604020202020204" pitchFamily="34" charset="0"/>
                  <a:ea typeface="微软雅黑" panose="020B0503020204020204" pitchFamily="34" charset="-122"/>
                  <a:sym typeface="Arial" panose="020B0604020202020204" pitchFamily="34" charset="0"/>
                </a:rPr>
                <a:t>一键优化功能</a:t>
              </a:r>
              <a:endParaRPr lang="en-US" altLang="zh-CN" sz="1400" dirty="0">
                <a:solidFill>
                  <a:srgbClr val="2F2F2F"/>
                </a:solidFill>
                <a:latin typeface="Arial" panose="020B0604020202020204" pitchFamily="34" charset="0"/>
                <a:ea typeface="微软雅黑" panose="020B0503020204020204" pitchFamily="34" charset="-122"/>
                <a:sym typeface="Arial" panose="020B0604020202020204" pitchFamily="34" charset="0"/>
              </a:endParaRPr>
            </a:p>
            <a:p>
              <a:pPr defTabSz="914332">
                <a:lnSpc>
                  <a:spcPct val="120000"/>
                </a:lnSpc>
                <a:defRPr/>
              </a:pPr>
              <a:r>
                <a:rPr lang="en-US" altLang="zh-CN" sz="1400" dirty="0">
                  <a:solidFill>
                    <a:srgbClr val="2F2F2F"/>
                  </a:solidFill>
                  <a:latin typeface="Arial" panose="020B0604020202020204" pitchFamily="34" charset="0"/>
                  <a:ea typeface="微软雅黑" panose="020B0503020204020204" pitchFamily="34" charset="-122"/>
                  <a:sym typeface="Arial" panose="020B0604020202020204" pitchFamily="34" charset="0"/>
                </a:rPr>
                <a:t>iSlide</a:t>
              </a:r>
              <a:r>
                <a:rPr lang="zh-CN" altLang="en-US" sz="1400" dirty="0">
                  <a:solidFill>
                    <a:srgbClr val="2F2F2F"/>
                  </a:solidFill>
                  <a:latin typeface="Arial" panose="020B0604020202020204" pitchFamily="34" charset="0"/>
                  <a:ea typeface="微软雅黑" panose="020B0503020204020204" pitchFamily="34" charset="-122"/>
                  <a:sym typeface="Arial" panose="020B0604020202020204" pitchFamily="34" charset="0"/>
                </a:rPr>
                <a:t>，让 </a:t>
              </a:r>
              <a:r>
                <a:rPr lang="en-US" altLang="zh-CN" sz="1400">
                  <a:solidFill>
                    <a:srgbClr val="2F2F2F"/>
                  </a:solidFill>
                  <a:latin typeface="Arial" panose="020B0604020202020204" pitchFamily="34" charset="0"/>
                  <a:ea typeface="微软雅黑" panose="020B0503020204020204" pitchFamily="34" charset="-122"/>
                  <a:sym typeface="Arial" panose="020B0604020202020204" pitchFamily="34" charset="0"/>
                </a:rPr>
                <a:t>PPT </a:t>
              </a:r>
              <a:r>
                <a:rPr lang="en-US" altLang="zh-CN" sz="100" smtClean="0">
                  <a:solidFill>
                    <a:srgbClr val="2F2F2F"/>
                  </a:solidFill>
                  <a:latin typeface="Arial" panose="020B0604020202020204" pitchFamily="34" charset="0"/>
                  <a:ea typeface="微软雅黑" panose="020B0503020204020204" pitchFamily="34" charset="-122"/>
                  <a:sym typeface="Arial" panose="020B0604020202020204" pitchFamily="34" charset="0"/>
                </a:rPr>
                <a:t> </a:t>
              </a:r>
              <a:r>
                <a:rPr lang="zh-CN" altLang="en-US" sz="1400" smtClean="0">
                  <a:solidFill>
                    <a:srgbClr val="2F2F2F"/>
                  </a:solidFill>
                  <a:latin typeface="Arial" panose="020B0604020202020204" pitchFamily="34" charset="0"/>
                  <a:ea typeface="微软雅黑" panose="020B0503020204020204" pitchFamily="34" charset="-122"/>
                  <a:sym typeface="Arial" panose="020B0604020202020204" pitchFamily="34" charset="0"/>
                </a:rPr>
                <a:t>设</a:t>
              </a:r>
              <a:r>
                <a:rPr lang="zh-CN" altLang="en-US" sz="1400" dirty="0">
                  <a:solidFill>
                    <a:srgbClr val="2F2F2F"/>
                  </a:solidFill>
                  <a:latin typeface="Arial" panose="020B0604020202020204" pitchFamily="34" charset="0"/>
                  <a:ea typeface="微软雅黑" panose="020B0503020204020204" pitchFamily="34" charset="-122"/>
                  <a:sym typeface="Arial" panose="020B0604020202020204" pitchFamily="34" charset="0"/>
                </a:rPr>
                <a:t>计简单起来！</a:t>
              </a:r>
              <a:endParaRPr lang="en-US" altLang="zh-CN" sz="1400" dirty="0">
                <a:solidFill>
                  <a:srgbClr val="2F2F2F"/>
                </a:solidFill>
                <a:latin typeface="Arial" panose="020B0604020202020204" pitchFamily="34" charset="0"/>
                <a:ea typeface="微软雅黑" panose="020B0503020204020204" pitchFamily="34" charset="-122"/>
                <a:sym typeface="Arial" panose="020B0604020202020204" pitchFamily="34" charset="0"/>
              </a:endParaRPr>
            </a:p>
            <a:p>
              <a:pPr defTabSz="914332">
                <a:defRPr/>
              </a:pPr>
              <a:endParaRPr lang="en-US" altLang="zh-CN" sz="1000" dirty="0">
                <a:solidFill>
                  <a:srgbClr val="000000"/>
                </a:solidFill>
                <a:latin typeface="Arial" panose="020B0604020202020204" pitchFamily="34" charset="0"/>
                <a:ea typeface="微软雅黑" panose="020B0503020204020204" pitchFamily="34" charset="-122"/>
                <a:sym typeface="Arial" panose="020B0604020202020204" pitchFamily="34" charset="0"/>
              </a:endParaRPr>
            </a:p>
            <a:p>
              <a:pPr defTabSz="914332">
                <a:defRPr/>
              </a:pPr>
              <a:r>
                <a:rPr lang="en-US" altLang="zh-CN" sz="1000" dirty="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rPr>
                <a:t>One-click Optimization Features &amp; </a:t>
              </a:r>
            </a:p>
            <a:p>
              <a:pPr defTabSz="914332">
                <a:defRPr/>
              </a:pPr>
              <a:r>
                <a:rPr lang="en-US" altLang="zh-CN" sz="1000" dirty="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rPr>
                <a:t>Massive Presentation Resources</a:t>
              </a:r>
            </a:p>
            <a:p>
              <a:pPr defTabSz="914332">
                <a:defRPr/>
              </a:pPr>
              <a:r>
                <a:rPr lang="en-US" altLang="zh-CN" sz="1000" dirty="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rPr>
                <a:t>Great Presentation Made Easy with iSlide</a:t>
              </a:r>
              <a:endParaRPr lang="zh-CN" altLang="en-US" sz="1000" dirty="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35" name="组合 34">
            <a:extLst>
              <a:ext uri="{FF2B5EF4-FFF2-40B4-BE49-F238E27FC236}">
                <a16:creationId xmlns="" xmlns:ahyp="http://schemas.microsoft.com/office/drawing/2018/hyperlinkcolor" xmlns:a14="http://schemas.microsoft.com/office/drawing/2010/main" xmlns:p14="http://schemas.microsoft.com/office/powerpoint/2010/main" xmlns:a16="http://schemas.microsoft.com/office/drawing/2014/main" id="{40A731D2-FA13-40C5-BFF0-59E41A667BE9}"/>
              </a:ext>
            </a:extLst>
          </p:cNvPr>
          <p:cNvGrpSpPr/>
          <p:nvPr/>
        </p:nvGrpSpPr>
        <p:grpSpPr>
          <a:xfrm>
            <a:off x="3937427" y="2352595"/>
            <a:ext cx="7581473" cy="3646763"/>
            <a:chOff x="3898800" y="2179738"/>
            <a:chExt cx="7619676" cy="3466182"/>
          </a:xfrm>
        </p:grpSpPr>
        <p:sp>
          <p:nvSpPr>
            <p:cNvPr id="20" name="矩形 19">
              <a:extLst>
                <a:ext uri="{FF2B5EF4-FFF2-40B4-BE49-F238E27FC236}">
                  <a16:creationId xmlns="" xmlns:ahyp="http://schemas.microsoft.com/office/drawing/2018/hyperlinkcolor" xmlns:a14="http://schemas.microsoft.com/office/drawing/2010/main" xmlns:p14="http://schemas.microsoft.com/office/powerpoint/2010/main" xmlns:a16="http://schemas.microsoft.com/office/drawing/2014/main" id="{5647BAD5-E81A-4998-ACB8-5A097424CA8E}"/>
                </a:ext>
              </a:extLst>
            </p:cNvPr>
            <p:cNvSpPr/>
            <p:nvPr/>
          </p:nvSpPr>
          <p:spPr>
            <a:xfrm>
              <a:off x="3898800" y="2495332"/>
              <a:ext cx="7619676" cy="3150588"/>
            </a:xfrm>
            <a:prstGeom prst="rect">
              <a:avLst/>
            </a:prstGeom>
            <a:ln w="3175">
              <a:noFill/>
            </a:ln>
          </p:spPr>
          <p:txBody>
            <a:bodyPr wrap="square">
              <a:noAutofit/>
            </a:bodyPr>
            <a:lstStyle/>
            <a:p>
              <a:pPr>
                <a:lnSpc>
                  <a:spcPct val="150000"/>
                </a:lnSpc>
              </a:pP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本 </a:t>
              </a: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PPT </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文件由 </a:t>
              </a: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iSlide </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提供</a:t>
              </a:r>
              <a:b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b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iSlide </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尊重知识产权并注重保护用户享有</a:t>
              </a:r>
              <a:r>
                <a:rPr lang="zh-CN" altLang="en-US" sz="900">
                  <a:solidFill>
                    <a:srgbClr val="2F2F2F"/>
                  </a:solidFill>
                  <a:latin typeface="Arial" panose="020B0604020202020204" pitchFamily="34" charset="0"/>
                  <a:ea typeface="微软雅黑" panose="020B0503020204020204" pitchFamily="34" charset="-122"/>
                  <a:sym typeface="Arial" panose="020B0604020202020204" pitchFamily="34" charset="0"/>
                </a:rPr>
                <a:t>的</a:t>
              </a:r>
              <a:r>
                <a:rPr lang="zh-CN" altLang="en-US" sz="900" smtClean="0">
                  <a:solidFill>
                    <a:srgbClr val="2F2F2F"/>
                  </a:solidFill>
                  <a:latin typeface="Arial" panose="020B0604020202020204" pitchFamily="34" charset="0"/>
                  <a:ea typeface="微软雅黑" panose="020B0503020204020204" pitchFamily="34" charset="-122"/>
                  <a:sym typeface="Arial" panose="020B0604020202020204" pitchFamily="34" charset="0"/>
                </a:rPr>
                <a:t>各</a:t>
              </a:r>
              <a:r>
                <a:rPr lang="zh-CN" altLang="en-US" sz="100" smtClean="0">
                  <a:solidFill>
                    <a:srgbClr val="2F2F2F"/>
                  </a:solidFill>
                  <a:latin typeface="Arial" panose="020B0604020202020204" pitchFamily="34" charset="0"/>
                  <a:ea typeface="微软雅黑" panose="020B0503020204020204" pitchFamily="34" charset="-122"/>
                  <a:sym typeface="Arial" panose="020B0604020202020204" pitchFamily="34" charset="0"/>
                </a:rPr>
                <a:t> </a:t>
              </a:r>
              <a:r>
                <a:rPr lang="zh-CN" altLang="en-US" sz="900" smtClean="0">
                  <a:solidFill>
                    <a:srgbClr val="2F2F2F"/>
                  </a:solidFill>
                  <a:latin typeface="Arial" panose="020B0604020202020204" pitchFamily="34" charset="0"/>
                  <a:ea typeface="微软雅黑" panose="020B0503020204020204" pitchFamily="34" charset="-122"/>
                  <a:sym typeface="Arial" panose="020B0604020202020204" pitchFamily="34" charset="0"/>
                </a:rPr>
                <a:t>项</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权利。</a:t>
              </a:r>
              <a:endPar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endParaRPr>
            </a:p>
            <a:p>
              <a:pPr>
                <a:lnSpc>
                  <a:spcPct val="150000"/>
                </a:lnSpc>
              </a:pP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郑重提醒您：</a:t>
              </a:r>
              <a:b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b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本 </a:t>
              </a: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PPT </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文件中提供的任何信息内容的所有权、知识产权归其原始权利人或权利受让人所有，您免费</a:t>
              </a: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付费获得的是信息内容的使用权，您的使用行为应当遵循 </a:t>
              </a: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iSlide </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官方网站（ </a:t>
              </a: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https://www.islide.cc </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的“版权声明”、“用户协议”、“会员协议”等条款的约束。</a:t>
              </a:r>
              <a:b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b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1</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您不可将信息内容的全部或部分用于出售，或以出租、出借、发布等其他任何直接获利方式供他人使用；</a:t>
              </a:r>
              <a:b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b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2</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您不可在接入互联网或移动互联网的任何网站、平台、应用或程序上以任何方式为他人提供 </a:t>
              </a: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iSlide </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工具 </a:t>
              </a: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 </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平台中的资源内容下载。</a:t>
              </a:r>
              <a:endPar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endParaRPr>
            </a:p>
            <a:p>
              <a:pPr>
                <a:lnSpc>
                  <a:spcPct val="150000"/>
                </a:lnSpc>
              </a:pPr>
              <a:endParaRPr lang="en-US" altLang="zh-CN" sz="900" dirty="0">
                <a:solidFill>
                  <a:schemeClr val="accent3"/>
                </a:solidFill>
                <a:latin typeface="Arial" panose="020B0604020202020204" pitchFamily="34" charset="0"/>
                <a:ea typeface="微软雅黑" panose="020B0503020204020204" pitchFamily="34" charset="-122"/>
                <a:sym typeface="Arial" panose="020B0604020202020204" pitchFamily="34" charset="0"/>
              </a:endParaRPr>
            </a:p>
            <a:p>
              <a:pPr>
                <a:lnSpc>
                  <a:spcPct val="150000"/>
                </a:lnSpc>
              </a:pPr>
              <a:r>
                <a:rPr lang="en-US" altLang="zh-CN" sz="900" dirty="0">
                  <a:solidFill>
                    <a:srgbClr val="A6A6A6"/>
                  </a:solidFill>
                  <a:latin typeface="Arial" panose="020B0604020202020204" pitchFamily="34" charset="0"/>
                  <a:ea typeface="微软雅黑" panose="020B0503020204020204" pitchFamily="34" charset="-122"/>
                  <a:sym typeface="Arial" panose="020B0604020202020204" pitchFamily="34" charset="0"/>
                </a:rPr>
                <a:t>This presentation file is supplied by iSlide.</a:t>
              </a:r>
            </a:p>
            <a:p>
              <a:pPr>
                <a:lnSpc>
                  <a:spcPct val="150000"/>
                </a:lnSpc>
              </a:pPr>
              <a:r>
                <a:rPr lang="en-US" altLang="zh-CN" sz="900" dirty="0">
                  <a:solidFill>
                    <a:srgbClr val="A6A6A6"/>
                  </a:solidFill>
                  <a:latin typeface="Arial" panose="020B0604020202020204" pitchFamily="34" charset="0"/>
                  <a:ea typeface="微软雅黑" panose="020B0503020204020204" pitchFamily="34" charset="-122"/>
                  <a:sym typeface="Arial" panose="020B0604020202020204" pitchFamily="34" charset="0"/>
                </a:rPr>
                <a:t>iSlide respects all intellectual property rights and protects all the rights its users acquired. Here iSlide solemnly reminds you:</a:t>
              </a:r>
            </a:p>
            <a:p>
              <a:pPr>
                <a:lnSpc>
                  <a:spcPct val="150000"/>
                </a:lnSpc>
              </a:pPr>
              <a:endParaRPr lang="en-US" altLang="zh-CN" sz="900" dirty="0">
                <a:solidFill>
                  <a:srgbClr val="A6A6A6"/>
                </a:solidFill>
                <a:latin typeface="Arial" panose="020B0604020202020204" pitchFamily="34" charset="0"/>
                <a:ea typeface="微软雅黑" panose="020B0503020204020204" pitchFamily="34" charset="-122"/>
                <a:sym typeface="Arial" panose="020B0604020202020204" pitchFamily="34" charset="0"/>
              </a:endParaRPr>
            </a:p>
            <a:p>
              <a:pPr>
                <a:lnSpc>
                  <a:spcPct val="150000"/>
                </a:lnSpc>
              </a:pPr>
              <a:r>
                <a:rPr lang="en-US" altLang="zh-CN" sz="900" dirty="0">
                  <a:solidFill>
                    <a:srgbClr val="A6A6A6"/>
                  </a:solidFill>
                  <a:latin typeface="Arial" panose="020B0604020202020204" pitchFamily="34" charset="0"/>
                  <a:ea typeface="微软雅黑" panose="020B0503020204020204" pitchFamily="34" charset="-122"/>
                  <a:sym typeface="Arial" panose="020B0604020202020204" pitchFamily="34" charset="0"/>
                </a:rPr>
                <a:t>The ownership and intellectual property of any content in this PowerPoint presentation belongs to its owner or the assignee of this ownership. What you purchased or got for free is the right to use the content. The usage should be subject to the terms of “Copyright Notice”, “User License Agreement”, “Premium Agreement” and more Agreements of iSlide official website (https://www.islide.cc ) :</a:t>
              </a:r>
            </a:p>
            <a:p>
              <a:pPr>
                <a:lnSpc>
                  <a:spcPct val="150000"/>
                </a:lnSpc>
              </a:pPr>
              <a:r>
                <a:rPr lang="en-US" altLang="zh-CN" sz="900" dirty="0">
                  <a:solidFill>
                    <a:srgbClr val="A6A6A6"/>
                  </a:solidFill>
                  <a:latin typeface="Arial" panose="020B0604020202020204" pitchFamily="34" charset="0"/>
                  <a:ea typeface="微软雅黑" panose="020B0503020204020204" pitchFamily="34" charset="-122"/>
                  <a:sym typeface="Arial" panose="020B0604020202020204" pitchFamily="34" charset="0"/>
                </a:rPr>
                <a:t>1.You may not use all or part of the content for sale; or rent, lend; or distribute it in any directly profitable way.</a:t>
              </a:r>
            </a:p>
            <a:p>
              <a:pPr>
                <a:lnSpc>
                  <a:spcPct val="150000"/>
                </a:lnSpc>
              </a:pPr>
              <a:r>
                <a:rPr lang="en-US" altLang="zh-CN" sz="900" dirty="0">
                  <a:solidFill>
                    <a:srgbClr val="A6A6A6"/>
                  </a:solidFill>
                  <a:latin typeface="Arial" panose="020B0604020202020204" pitchFamily="34" charset="0"/>
                  <a:ea typeface="微软雅黑" panose="020B0503020204020204" pitchFamily="34" charset="-122"/>
                  <a:sym typeface="Arial" panose="020B0604020202020204" pitchFamily="34" charset="0"/>
                </a:rPr>
                <a:t>2.You may not provide the resource of iSlide add-in/platform to any website, platform, application in the Internet or mobile Internet in any way.</a:t>
              </a:r>
            </a:p>
          </p:txBody>
        </p:sp>
        <p:sp>
          <p:nvSpPr>
            <p:cNvPr id="34" name="矩形 33">
              <a:extLst>
                <a:ext uri="{FF2B5EF4-FFF2-40B4-BE49-F238E27FC236}">
                  <a16:creationId xmlns="" xmlns:ahyp="http://schemas.microsoft.com/office/drawing/2018/hyperlinkcolor" xmlns:a14="http://schemas.microsoft.com/office/drawing/2010/main" xmlns:p14="http://schemas.microsoft.com/office/powerpoint/2010/main" xmlns:a16="http://schemas.microsoft.com/office/drawing/2014/main" id="{AE7ED207-8B71-4A21-A9A5-7C044C1FB5F6}"/>
                </a:ext>
              </a:extLst>
            </p:cNvPr>
            <p:cNvSpPr/>
            <p:nvPr/>
          </p:nvSpPr>
          <p:spPr>
            <a:xfrm>
              <a:off x="3898800" y="2179738"/>
              <a:ext cx="2672525" cy="292536"/>
            </a:xfrm>
            <a:prstGeom prst="rect">
              <a:avLst/>
            </a:prstGeom>
          </p:spPr>
          <p:txBody>
            <a:bodyPr wrap="none">
              <a:spAutoFit/>
            </a:bodyPr>
            <a:lstStyle/>
            <a:p>
              <a:r>
                <a:rPr lang="zh-CN" altLang="en-US" sz="1400" b="1" dirty="0">
                  <a:solidFill>
                    <a:srgbClr val="F73434"/>
                  </a:solidFill>
                  <a:latin typeface="Arial" panose="020B0604020202020204" pitchFamily="34" charset="0"/>
                  <a:ea typeface="微软雅黑" panose="020B0503020204020204" pitchFamily="34" charset="-122"/>
                  <a:sym typeface="Arial" panose="020B0604020202020204" pitchFamily="34" charset="0"/>
                </a:rPr>
                <a:t>重要</a:t>
              </a:r>
              <a:r>
                <a:rPr lang="zh-CN" altLang="en-US" sz="1400" b="1">
                  <a:solidFill>
                    <a:srgbClr val="F73434"/>
                  </a:solidFill>
                  <a:latin typeface="Arial" panose="020B0604020202020204" pitchFamily="34" charset="0"/>
                  <a:ea typeface="微软雅黑" panose="020B0503020204020204" pitchFamily="34" charset="-122"/>
                  <a:sym typeface="Arial" panose="020B0604020202020204" pitchFamily="34" charset="0"/>
                </a:rPr>
                <a:t>提示 </a:t>
              </a:r>
              <a:r>
                <a:rPr lang="en-US" altLang="zh-CN" sz="1400" b="1" smtClean="0">
                  <a:solidFill>
                    <a:srgbClr val="F73434"/>
                  </a:solidFill>
                  <a:latin typeface="Arial" panose="020B0604020202020204" pitchFamily="34" charset="0"/>
                  <a:ea typeface="微软雅黑" panose="020B0503020204020204" pitchFamily="34" charset="-122"/>
                  <a:sym typeface="Arial" panose="020B0604020202020204" pitchFamily="34" charset="0"/>
                </a:rPr>
                <a:t>IMP</a:t>
              </a:r>
              <a:r>
                <a:rPr lang="en-US" altLang="zh-CN" sz="100" b="1" smtClean="0">
                  <a:solidFill>
                    <a:srgbClr val="F73434"/>
                  </a:solidFill>
                  <a:latin typeface="Arial" panose="020B0604020202020204" pitchFamily="34" charset="0"/>
                  <a:ea typeface="微软雅黑" panose="020B0503020204020204" pitchFamily="34" charset="-122"/>
                  <a:sym typeface="Arial" panose="020B0604020202020204" pitchFamily="34" charset="0"/>
                </a:rPr>
                <a:t> </a:t>
              </a:r>
              <a:r>
                <a:rPr lang="en-US" altLang="zh-CN" sz="1400" b="1" smtClean="0">
                  <a:solidFill>
                    <a:srgbClr val="F73434"/>
                  </a:solidFill>
                  <a:latin typeface="Arial" panose="020B0604020202020204" pitchFamily="34" charset="0"/>
                  <a:ea typeface="微软雅黑" panose="020B0503020204020204" pitchFamily="34" charset="-122"/>
                  <a:sym typeface="Arial" panose="020B0604020202020204" pitchFamily="34" charset="0"/>
                </a:rPr>
                <a:t>ORTANT </a:t>
              </a:r>
              <a:r>
                <a:rPr lang="en-US" altLang="zh-CN" sz="1400" b="1" dirty="0">
                  <a:solidFill>
                    <a:srgbClr val="F73434"/>
                  </a:solidFill>
                  <a:latin typeface="Arial" panose="020B0604020202020204" pitchFamily="34" charset="0"/>
                  <a:ea typeface="微软雅黑" panose="020B0503020204020204" pitchFamily="34" charset="-122"/>
                  <a:sym typeface="Arial" panose="020B0604020202020204" pitchFamily="34" charset="0"/>
                </a:rPr>
                <a:t>NOTE:</a:t>
              </a:r>
              <a:endParaRPr lang="zh-CN" altLang="en-US" sz="1400" b="1" dirty="0">
                <a:solidFill>
                  <a:srgbClr val="F73434"/>
                </a:solidFill>
                <a:latin typeface="Arial" panose="020B0604020202020204" pitchFamily="34" charset="0"/>
                <a:ea typeface="微软雅黑" panose="020B0503020204020204" pitchFamily="34" charset="-122"/>
                <a:sym typeface="Arial" panose="020B0604020202020204" pitchFamily="34" charset="0"/>
              </a:endParaRPr>
            </a:p>
          </p:txBody>
        </p:sp>
      </p:grpSp>
      <p:pic>
        <p:nvPicPr>
          <p:cNvPr id="130" name="图片 129">
            <a:extLst>
              <a:ext uri="{FF2B5EF4-FFF2-40B4-BE49-F238E27FC236}">
                <a16:creationId xmlns="" xmlns:ahyp="http://schemas.microsoft.com/office/drawing/2018/hyperlinkcolor" xmlns:a14="http://schemas.microsoft.com/office/drawing/2010/main" xmlns:p14="http://schemas.microsoft.com/office/powerpoint/2010/main" xmlns:a16="http://schemas.microsoft.com/office/drawing/2014/main" id="{2AA564AF-9FC3-4787-B325-F00530C1658C}"/>
              </a:ext>
            </a:extLst>
          </p:cNvPr>
          <p:cNvPicPr>
            <a:picLocks/>
          </p:cNvPicPr>
          <p:nvPr/>
        </p:nvPicPr>
        <p:blipFill>
          <a:blip r:embed="rId4">
            <a:extLst>
              <a:ext uri="{28A0092B-C50C-407E-A947-70E740481C1C}">
                <a14:useLocalDpi xmlns:a14="http://schemas.microsoft.com/office/drawing/2010/main" val="0"/>
              </a:ext>
            </a:extLst>
          </a:blip>
          <a:srcRect/>
          <a:stretch/>
        </p:blipFill>
        <p:spPr>
          <a:xfrm>
            <a:off x="660400" y="5031395"/>
            <a:ext cx="1048192" cy="1048192"/>
          </a:xfrm>
          <a:prstGeom prst="rect">
            <a:avLst/>
          </a:prstGeom>
        </p:spPr>
      </p:pic>
      <p:grpSp>
        <p:nvGrpSpPr>
          <p:cNvPr id="14" name="组合 13">
            <a:extLst>
              <a:ext uri="{FF2B5EF4-FFF2-40B4-BE49-F238E27FC236}">
                <a16:creationId xmlns="" xmlns:ahyp="http://schemas.microsoft.com/office/drawing/2018/hyperlinkcolor" xmlns:a14="http://schemas.microsoft.com/office/drawing/2010/main" xmlns:p14="http://schemas.microsoft.com/office/powerpoint/2010/main" xmlns:a16="http://schemas.microsoft.com/office/drawing/2014/main" id="{D6757B43-6712-4BAE-8670-B715B10BFA4C}"/>
              </a:ext>
            </a:extLst>
          </p:cNvPr>
          <p:cNvGrpSpPr/>
          <p:nvPr/>
        </p:nvGrpSpPr>
        <p:grpSpPr>
          <a:xfrm>
            <a:off x="660400" y="1193800"/>
            <a:ext cx="1595567" cy="451484"/>
            <a:chOff x="683269" y="1142808"/>
            <a:chExt cx="1595567" cy="451484"/>
          </a:xfrm>
        </p:grpSpPr>
        <p:grpSp>
          <p:nvGrpSpPr>
            <p:cNvPr id="15" name="图形 2">
              <a:extLst>
                <a:ext uri="{FF2B5EF4-FFF2-40B4-BE49-F238E27FC236}">
                  <a16:creationId xmlns="" xmlns:ahyp="http://schemas.microsoft.com/office/drawing/2018/hyperlinkcolor" xmlns:a14="http://schemas.microsoft.com/office/drawing/2010/main" xmlns:p14="http://schemas.microsoft.com/office/powerpoint/2010/main" xmlns:a16="http://schemas.microsoft.com/office/drawing/2014/main" id="{A540713F-FC29-4BB1-A3F5-C1360CCAFA2B}"/>
                </a:ext>
              </a:extLst>
            </p:cNvPr>
            <p:cNvGrpSpPr/>
            <p:nvPr/>
          </p:nvGrpSpPr>
          <p:grpSpPr>
            <a:xfrm>
              <a:off x="683269" y="1142808"/>
              <a:ext cx="450234" cy="451484"/>
              <a:chOff x="683269" y="1142808"/>
              <a:chExt cx="450234" cy="451484"/>
            </a:xfrm>
          </p:grpSpPr>
          <p:sp>
            <p:nvSpPr>
              <p:cNvPr id="17" name="任意多边形: 形状 16">
                <a:extLst>
                  <a:ext uri="{FF2B5EF4-FFF2-40B4-BE49-F238E27FC236}">
                    <a16:creationId xmlns="" xmlns:ahyp="http://schemas.microsoft.com/office/drawing/2018/hyperlinkcolor" xmlns:a14="http://schemas.microsoft.com/office/drawing/2010/main" xmlns:p14="http://schemas.microsoft.com/office/powerpoint/2010/main" xmlns:a16="http://schemas.microsoft.com/office/drawing/2014/main" id="{B52E13E3-2F81-47A6-9CF9-D29EFF6EC715}"/>
                  </a:ext>
                </a:extLst>
              </p:cNvPr>
              <p:cNvSpPr/>
              <p:nvPr/>
            </p:nvSpPr>
            <p:spPr>
              <a:xfrm>
                <a:off x="683269" y="1142808"/>
                <a:ext cx="450234" cy="451484"/>
              </a:xfrm>
              <a:custGeom>
                <a:avLst/>
                <a:gdLst>
                  <a:gd name="connsiteX0" fmla="*/ 450234 w 450234"/>
                  <a:gd name="connsiteY0" fmla="*/ 225742 h 451484"/>
                  <a:gd name="connsiteX1" fmla="*/ 225117 w 450234"/>
                  <a:gd name="connsiteY1" fmla="*/ 451484 h 451484"/>
                  <a:gd name="connsiteX2" fmla="*/ 0 w 450234"/>
                  <a:gd name="connsiteY2" fmla="*/ 225742 h 451484"/>
                  <a:gd name="connsiteX3" fmla="*/ 225117 w 450234"/>
                  <a:gd name="connsiteY3" fmla="*/ 0 h 451484"/>
                  <a:gd name="connsiteX4" fmla="*/ 450234 w 450234"/>
                  <a:gd name="connsiteY4" fmla="*/ 225742 h 451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0234" h="451484">
                    <a:moveTo>
                      <a:pt x="450234" y="225742"/>
                    </a:moveTo>
                    <a:cubicBezTo>
                      <a:pt x="450234" y="350416"/>
                      <a:pt x="349446" y="451484"/>
                      <a:pt x="225117" y="451484"/>
                    </a:cubicBezTo>
                    <a:cubicBezTo>
                      <a:pt x="100788" y="451484"/>
                      <a:pt x="0" y="350416"/>
                      <a:pt x="0" y="225742"/>
                    </a:cubicBezTo>
                    <a:cubicBezTo>
                      <a:pt x="0" y="101068"/>
                      <a:pt x="100788" y="0"/>
                      <a:pt x="225117" y="0"/>
                    </a:cubicBezTo>
                    <a:cubicBezTo>
                      <a:pt x="349446" y="0"/>
                      <a:pt x="450234" y="101068"/>
                      <a:pt x="450234" y="225742"/>
                    </a:cubicBezTo>
                    <a:close/>
                  </a:path>
                </a:pathLst>
              </a:custGeom>
              <a:solidFill>
                <a:srgbClr val="FFFFFF"/>
              </a:solidFill>
              <a:ln w="2462" cap="flat">
                <a:noFill/>
                <a:prstDash val="solid"/>
                <a:miter/>
              </a:ln>
            </p:spPr>
            <p:txBody>
              <a:bodyPr rtlCol="0" anchor="ctr"/>
              <a:lstStyle/>
              <a:p>
                <a:endParaRPr lang="zh-CN" altLang="en-US"/>
              </a:p>
            </p:txBody>
          </p:sp>
          <p:sp>
            <p:nvSpPr>
              <p:cNvPr id="18" name="任意多边形: 形状 17">
                <a:extLst>
                  <a:ext uri="{FF2B5EF4-FFF2-40B4-BE49-F238E27FC236}">
                    <a16:creationId xmlns="" xmlns:ahyp="http://schemas.microsoft.com/office/drawing/2018/hyperlinkcolor" xmlns:a14="http://schemas.microsoft.com/office/drawing/2010/main" xmlns:p14="http://schemas.microsoft.com/office/powerpoint/2010/main" xmlns:a16="http://schemas.microsoft.com/office/drawing/2014/main" id="{2802B983-0393-404D-8EF6-C2BC0F6D1A21}"/>
                  </a:ext>
                </a:extLst>
              </p:cNvPr>
              <p:cNvSpPr/>
              <p:nvPr/>
            </p:nvSpPr>
            <p:spPr>
              <a:xfrm>
                <a:off x="683269" y="1142808"/>
                <a:ext cx="450234" cy="450003"/>
              </a:xfrm>
              <a:custGeom>
                <a:avLst/>
                <a:gdLst>
                  <a:gd name="connsiteX0" fmla="*/ 132059 w 450234"/>
                  <a:gd name="connsiteY0" fmla="*/ 431254 h 450003"/>
                  <a:gd name="connsiteX1" fmla="*/ 0 w 450234"/>
                  <a:gd name="connsiteY1" fmla="*/ 225495 h 450003"/>
                  <a:gd name="connsiteX2" fmla="*/ 225117 w 450234"/>
                  <a:gd name="connsiteY2" fmla="*/ 0 h 450003"/>
                  <a:gd name="connsiteX3" fmla="*/ 450234 w 450234"/>
                  <a:gd name="connsiteY3" fmla="*/ 225495 h 450003"/>
                  <a:gd name="connsiteX4" fmla="*/ 248320 w 450234"/>
                  <a:gd name="connsiteY4" fmla="*/ 450004 h 450003"/>
                  <a:gd name="connsiteX5" fmla="*/ 282384 w 450234"/>
                  <a:gd name="connsiteY5" fmla="*/ 289394 h 450003"/>
                  <a:gd name="connsiteX6" fmla="*/ 274238 w 450234"/>
                  <a:gd name="connsiteY6" fmla="*/ 244986 h 450003"/>
                  <a:gd name="connsiteX7" fmla="*/ 236965 w 450234"/>
                  <a:gd name="connsiteY7" fmla="*/ 219327 h 450003"/>
                  <a:gd name="connsiteX8" fmla="*/ 236719 w 450234"/>
                  <a:gd name="connsiteY8" fmla="*/ 219327 h 450003"/>
                  <a:gd name="connsiteX9" fmla="*/ 192534 w 450234"/>
                  <a:gd name="connsiteY9" fmla="*/ 227469 h 450003"/>
                  <a:gd name="connsiteX10" fmla="*/ 166863 w 450234"/>
                  <a:gd name="connsiteY10" fmla="*/ 264723 h 450003"/>
                  <a:gd name="connsiteX11" fmla="*/ 132059 w 450234"/>
                  <a:gd name="connsiteY11" fmla="*/ 431254 h 450003"/>
                  <a:gd name="connsiteX12" fmla="*/ 255478 w 450234"/>
                  <a:gd name="connsiteY12" fmla="*/ 75741 h 450003"/>
                  <a:gd name="connsiteX13" fmla="*/ 314473 w 450234"/>
                  <a:gd name="connsiteY13" fmla="*/ 134705 h 450003"/>
                  <a:gd name="connsiteX14" fmla="*/ 255478 w 450234"/>
                  <a:gd name="connsiteY14" fmla="*/ 193669 h 450003"/>
                  <a:gd name="connsiteX15" fmla="*/ 196484 w 450234"/>
                  <a:gd name="connsiteY15" fmla="*/ 134705 h 450003"/>
                  <a:gd name="connsiteX16" fmla="*/ 255478 w 450234"/>
                  <a:gd name="connsiteY16" fmla="*/ 75741 h 45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0234" h="450003">
                    <a:moveTo>
                      <a:pt x="132059" y="431254"/>
                    </a:moveTo>
                    <a:cubicBezTo>
                      <a:pt x="54058" y="395727"/>
                      <a:pt x="0" y="317026"/>
                      <a:pt x="0" y="225495"/>
                    </a:cubicBezTo>
                    <a:cubicBezTo>
                      <a:pt x="0" y="101152"/>
                      <a:pt x="100957" y="0"/>
                      <a:pt x="225117" y="0"/>
                    </a:cubicBezTo>
                    <a:cubicBezTo>
                      <a:pt x="349277" y="0"/>
                      <a:pt x="450234" y="101152"/>
                      <a:pt x="450234" y="225495"/>
                    </a:cubicBezTo>
                    <a:cubicBezTo>
                      <a:pt x="450234" y="342190"/>
                      <a:pt x="361866" y="438162"/>
                      <a:pt x="248320" y="450004"/>
                    </a:cubicBezTo>
                    <a:lnTo>
                      <a:pt x="282384" y="289394"/>
                    </a:lnTo>
                    <a:cubicBezTo>
                      <a:pt x="285593" y="274098"/>
                      <a:pt x="282631" y="258061"/>
                      <a:pt x="274238" y="244986"/>
                    </a:cubicBezTo>
                    <a:cubicBezTo>
                      <a:pt x="265599" y="231910"/>
                      <a:pt x="252269" y="222535"/>
                      <a:pt x="236965" y="219327"/>
                    </a:cubicBezTo>
                    <a:cubicBezTo>
                      <a:pt x="236965" y="219327"/>
                      <a:pt x="236965" y="219327"/>
                      <a:pt x="236719" y="219327"/>
                    </a:cubicBezTo>
                    <a:cubicBezTo>
                      <a:pt x="221415" y="216120"/>
                      <a:pt x="205370" y="219081"/>
                      <a:pt x="192534" y="227469"/>
                    </a:cubicBezTo>
                    <a:cubicBezTo>
                      <a:pt x="179452" y="236104"/>
                      <a:pt x="170072" y="249426"/>
                      <a:pt x="166863" y="264723"/>
                    </a:cubicBezTo>
                    <a:lnTo>
                      <a:pt x="132059" y="431254"/>
                    </a:lnTo>
                    <a:close/>
                    <a:moveTo>
                      <a:pt x="255478" y="75741"/>
                    </a:moveTo>
                    <a:cubicBezTo>
                      <a:pt x="288061" y="75741"/>
                      <a:pt x="314473" y="102386"/>
                      <a:pt x="314473" y="134705"/>
                    </a:cubicBezTo>
                    <a:cubicBezTo>
                      <a:pt x="314473" y="167024"/>
                      <a:pt x="288061" y="193669"/>
                      <a:pt x="255478" y="193669"/>
                    </a:cubicBezTo>
                    <a:cubicBezTo>
                      <a:pt x="222896" y="193669"/>
                      <a:pt x="196484" y="167024"/>
                      <a:pt x="196484" y="134705"/>
                    </a:cubicBezTo>
                    <a:cubicBezTo>
                      <a:pt x="196484" y="102386"/>
                      <a:pt x="222896" y="75741"/>
                      <a:pt x="255478" y="75741"/>
                    </a:cubicBezTo>
                    <a:close/>
                  </a:path>
                </a:pathLst>
              </a:custGeom>
              <a:gradFill flip="none" rotWithShape="1">
                <a:gsLst>
                  <a:gs pos="0">
                    <a:srgbClr val="F93E36"/>
                  </a:gs>
                  <a:gs pos="100000">
                    <a:srgbClr val="FE6440"/>
                  </a:gs>
                </a:gsLst>
                <a:lin ang="18900000" scaled="1"/>
                <a:tileRect/>
              </a:gradFill>
              <a:ln w="2462" cap="flat">
                <a:noFill/>
                <a:prstDash val="solid"/>
                <a:miter/>
              </a:ln>
            </p:spPr>
            <p:txBody>
              <a:bodyPr rtlCol="0" anchor="ctr"/>
              <a:lstStyle/>
              <a:p>
                <a:endParaRPr lang="zh-CN" altLang="en-US" dirty="0"/>
              </a:p>
            </p:txBody>
          </p:sp>
        </p:grpSp>
        <p:sp>
          <p:nvSpPr>
            <p:cNvPr id="16" name="任意多边形: 形状 15">
              <a:extLst>
                <a:ext uri="{FF2B5EF4-FFF2-40B4-BE49-F238E27FC236}">
                  <a16:creationId xmlns="" xmlns:ahyp="http://schemas.microsoft.com/office/drawing/2018/hyperlinkcolor" xmlns:a14="http://schemas.microsoft.com/office/drawing/2010/main" xmlns:p14="http://schemas.microsoft.com/office/powerpoint/2010/main" xmlns:a16="http://schemas.microsoft.com/office/drawing/2014/main" id="{2C1218BD-82A2-4F82-84D5-EBFDB414ABDB}"/>
                </a:ext>
              </a:extLst>
            </p:cNvPr>
            <p:cNvSpPr/>
            <p:nvPr/>
          </p:nvSpPr>
          <p:spPr>
            <a:xfrm>
              <a:off x="1223599" y="1212380"/>
              <a:ext cx="1055237" cy="315374"/>
            </a:xfrm>
            <a:custGeom>
              <a:avLst/>
              <a:gdLst>
                <a:gd name="connsiteX0" fmla="*/ 952120 w 1055237"/>
                <a:gd name="connsiteY0" fmla="*/ 133688 h 315374"/>
                <a:gd name="connsiteX1" fmla="*/ 916514 w 1055237"/>
                <a:gd name="connsiteY1" fmla="*/ 136186 h 315374"/>
                <a:gd name="connsiteX2" fmla="*/ 874304 w 1055237"/>
                <a:gd name="connsiteY2" fmla="*/ 188982 h 315374"/>
                <a:gd name="connsiteX3" fmla="*/ 982913 w 1055237"/>
                <a:gd name="connsiteY3" fmla="*/ 149508 h 315374"/>
                <a:gd name="connsiteX4" fmla="*/ 952120 w 1055237"/>
                <a:gd name="connsiteY4" fmla="*/ 133688 h 315374"/>
                <a:gd name="connsiteX5" fmla="*/ 657333 w 1055237"/>
                <a:gd name="connsiteY5" fmla="*/ 128044 h 315374"/>
                <a:gd name="connsiteX6" fmla="*/ 588218 w 1055237"/>
                <a:gd name="connsiteY6" fmla="*/ 197123 h 315374"/>
                <a:gd name="connsiteX7" fmla="*/ 657333 w 1055237"/>
                <a:gd name="connsiteY7" fmla="*/ 266203 h 315374"/>
                <a:gd name="connsiteX8" fmla="*/ 726448 w 1055237"/>
                <a:gd name="connsiteY8" fmla="*/ 201071 h 315374"/>
                <a:gd name="connsiteX9" fmla="*/ 726448 w 1055237"/>
                <a:gd name="connsiteY9" fmla="*/ 193423 h 315374"/>
                <a:gd name="connsiteX10" fmla="*/ 657333 w 1055237"/>
                <a:gd name="connsiteY10" fmla="*/ 128044 h 315374"/>
                <a:gd name="connsiteX11" fmla="*/ 944739 w 1055237"/>
                <a:gd name="connsiteY11" fmla="*/ 79018 h 315374"/>
                <a:gd name="connsiteX12" fmla="*/ 1050054 w 1055237"/>
                <a:gd name="connsiteY12" fmla="*/ 156663 h 315374"/>
                <a:gd name="connsiteX13" fmla="*/ 1055237 w 1055237"/>
                <a:gd name="connsiteY13" fmla="*/ 175660 h 315374"/>
                <a:gd name="connsiteX14" fmla="*/ 1004142 w 1055237"/>
                <a:gd name="connsiteY14" fmla="*/ 194163 h 315374"/>
                <a:gd name="connsiteX15" fmla="*/ 887387 w 1055237"/>
                <a:gd name="connsiteY15" fmla="*/ 236598 h 315374"/>
                <a:gd name="connsiteX16" fmla="*/ 960945 w 1055237"/>
                <a:gd name="connsiteY16" fmla="*/ 257815 h 315374"/>
                <a:gd name="connsiteX17" fmla="*/ 1000933 w 1055237"/>
                <a:gd name="connsiteY17" fmla="*/ 215381 h 315374"/>
                <a:gd name="connsiteX18" fmla="*/ 1052275 w 1055237"/>
                <a:gd name="connsiteY18" fmla="*/ 230677 h 315374"/>
                <a:gd name="connsiteX19" fmla="*/ 979211 w 1055237"/>
                <a:gd name="connsiteY19" fmla="*/ 308145 h 315374"/>
                <a:gd name="connsiteX20" fmla="*/ 827405 w 1055237"/>
                <a:gd name="connsiteY20" fmla="*/ 237585 h 315374"/>
                <a:gd name="connsiteX21" fmla="*/ 898248 w 1055237"/>
                <a:gd name="connsiteY21" fmla="*/ 86103 h 315374"/>
                <a:gd name="connsiteX22" fmla="*/ 944739 w 1055237"/>
                <a:gd name="connsiteY22" fmla="*/ 79018 h 315374"/>
                <a:gd name="connsiteX23" fmla="*/ 451469 w 1055237"/>
                <a:gd name="connsiteY23" fmla="*/ 78948 h 315374"/>
                <a:gd name="connsiteX24" fmla="*/ 500837 w 1055237"/>
                <a:gd name="connsiteY24" fmla="*/ 78948 h 315374"/>
                <a:gd name="connsiteX25" fmla="*/ 500837 w 1055237"/>
                <a:gd name="connsiteY25" fmla="*/ 315299 h 315374"/>
                <a:gd name="connsiteX26" fmla="*/ 451469 w 1055237"/>
                <a:gd name="connsiteY26" fmla="*/ 315299 h 315374"/>
                <a:gd name="connsiteX27" fmla="*/ 4937 w 1055237"/>
                <a:gd name="connsiteY27" fmla="*/ 78948 h 315374"/>
                <a:gd name="connsiteX28" fmla="*/ 54305 w 1055237"/>
                <a:gd name="connsiteY28" fmla="*/ 78948 h 315374"/>
                <a:gd name="connsiteX29" fmla="*/ 54305 w 1055237"/>
                <a:gd name="connsiteY29" fmla="*/ 315299 h 315374"/>
                <a:gd name="connsiteX30" fmla="*/ 4937 w 1055237"/>
                <a:gd name="connsiteY30" fmla="*/ 315299 h 315374"/>
                <a:gd name="connsiteX31" fmla="*/ 775815 w 1055237"/>
                <a:gd name="connsiteY31" fmla="*/ 0 h 315374"/>
                <a:gd name="connsiteX32" fmla="*/ 775815 w 1055237"/>
                <a:gd name="connsiteY32" fmla="*/ 315299 h 315374"/>
                <a:gd name="connsiteX33" fmla="*/ 726448 w 1055237"/>
                <a:gd name="connsiteY33" fmla="*/ 315299 h 315374"/>
                <a:gd name="connsiteX34" fmla="*/ 726448 w 1055237"/>
                <a:gd name="connsiteY34" fmla="*/ 293095 h 315374"/>
                <a:gd name="connsiteX35" fmla="*/ 657333 w 1055237"/>
                <a:gd name="connsiteY35" fmla="*/ 315299 h 315374"/>
                <a:gd name="connsiteX36" fmla="*/ 538850 w 1055237"/>
                <a:gd name="connsiteY36" fmla="*/ 197123 h 315374"/>
                <a:gd name="connsiteX37" fmla="*/ 657333 w 1055237"/>
                <a:gd name="connsiteY37" fmla="*/ 78948 h 315374"/>
                <a:gd name="connsiteX38" fmla="*/ 726448 w 1055237"/>
                <a:gd name="connsiteY38" fmla="*/ 101152 h 315374"/>
                <a:gd name="connsiteX39" fmla="*/ 726448 w 1055237"/>
                <a:gd name="connsiteY39" fmla="*/ 247 h 315374"/>
                <a:gd name="connsiteX40" fmla="*/ 476153 w 1055237"/>
                <a:gd name="connsiteY40" fmla="*/ 0 h 315374"/>
                <a:gd name="connsiteX41" fmla="*/ 505773 w 1055237"/>
                <a:gd name="connsiteY41" fmla="*/ 29606 h 315374"/>
                <a:gd name="connsiteX42" fmla="*/ 476153 w 1055237"/>
                <a:gd name="connsiteY42" fmla="*/ 59211 h 315374"/>
                <a:gd name="connsiteX43" fmla="*/ 446532 w 1055237"/>
                <a:gd name="connsiteY43" fmla="*/ 29606 h 315374"/>
                <a:gd name="connsiteX44" fmla="*/ 476153 w 1055237"/>
                <a:gd name="connsiteY44" fmla="*/ 0 h 315374"/>
                <a:gd name="connsiteX45" fmla="*/ 352733 w 1055237"/>
                <a:gd name="connsiteY45" fmla="*/ 0 h 315374"/>
                <a:gd name="connsiteX46" fmla="*/ 402101 w 1055237"/>
                <a:gd name="connsiteY46" fmla="*/ 0 h 315374"/>
                <a:gd name="connsiteX47" fmla="*/ 402101 w 1055237"/>
                <a:gd name="connsiteY47" fmla="*/ 315299 h 315374"/>
                <a:gd name="connsiteX48" fmla="*/ 352733 w 1055237"/>
                <a:gd name="connsiteY48" fmla="*/ 315299 h 315374"/>
                <a:gd name="connsiteX49" fmla="*/ 205370 w 1055237"/>
                <a:gd name="connsiteY49" fmla="*/ 0 h 315374"/>
                <a:gd name="connsiteX50" fmla="*/ 297194 w 1055237"/>
                <a:gd name="connsiteY50" fmla="*/ 29112 h 315374"/>
                <a:gd name="connsiteX51" fmla="*/ 300897 w 1055237"/>
                <a:gd name="connsiteY51" fmla="*/ 32319 h 315374"/>
                <a:gd name="connsiteX52" fmla="*/ 271523 w 1055237"/>
                <a:gd name="connsiteY52" fmla="*/ 67599 h 315374"/>
                <a:gd name="connsiteX53" fmla="*/ 268808 w 1055237"/>
                <a:gd name="connsiteY53" fmla="*/ 65132 h 315374"/>
                <a:gd name="connsiteX54" fmla="*/ 267573 w 1055237"/>
                <a:gd name="connsiteY54" fmla="*/ 63899 h 315374"/>
                <a:gd name="connsiteX55" fmla="*/ 203149 w 1055237"/>
                <a:gd name="connsiteY55" fmla="*/ 44408 h 315374"/>
                <a:gd name="connsiteX56" fmla="*/ 148844 w 1055237"/>
                <a:gd name="connsiteY56" fmla="*/ 90050 h 315374"/>
                <a:gd name="connsiteX57" fmla="*/ 159952 w 1055237"/>
                <a:gd name="connsiteY57" fmla="*/ 116942 h 315374"/>
                <a:gd name="connsiteX58" fmla="*/ 192288 w 1055237"/>
                <a:gd name="connsiteY58" fmla="*/ 130758 h 315374"/>
                <a:gd name="connsiteX59" fmla="*/ 230054 w 1055237"/>
                <a:gd name="connsiteY59" fmla="*/ 136185 h 315374"/>
                <a:gd name="connsiteX60" fmla="*/ 288308 w 1055237"/>
                <a:gd name="connsiteY60" fmla="*/ 159376 h 315374"/>
                <a:gd name="connsiteX61" fmla="*/ 311511 w 1055237"/>
                <a:gd name="connsiteY61" fmla="*/ 223275 h 315374"/>
                <a:gd name="connsiteX62" fmla="*/ 279422 w 1055237"/>
                <a:gd name="connsiteY62" fmla="*/ 291121 h 315374"/>
                <a:gd name="connsiteX63" fmla="*/ 198459 w 1055237"/>
                <a:gd name="connsiteY63" fmla="*/ 315299 h 315374"/>
                <a:gd name="connsiteX64" fmla="*/ 92071 w 1055237"/>
                <a:gd name="connsiteY64" fmla="*/ 280512 h 315374"/>
                <a:gd name="connsiteX65" fmla="*/ 122432 w 1055237"/>
                <a:gd name="connsiteY65" fmla="*/ 244739 h 315374"/>
                <a:gd name="connsiteX66" fmla="*/ 199199 w 1055237"/>
                <a:gd name="connsiteY66" fmla="*/ 269657 h 315374"/>
                <a:gd name="connsiteX67" fmla="*/ 260909 w 1055237"/>
                <a:gd name="connsiteY67" fmla="*/ 225002 h 315374"/>
                <a:gd name="connsiteX68" fmla="*/ 249307 w 1055237"/>
                <a:gd name="connsiteY68" fmla="*/ 194410 h 315374"/>
                <a:gd name="connsiteX69" fmla="*/ 218206 w 1055237"/>
                <a:gd name="connsiteY69" fmla="*/ 181827 h 315374"/>
                <a:gd name="connsiteX70" fmla="*/ 179699 w 1055237"/>
                <a:gd name="connsiteY70" fmla="*/ 176399 h 315374"/>
                <a:gd name="connsiteX71" fmla="*/ 120704 w 1055237"/>
                <a:gd name="connsiteY71" fmla="*/ 151235 h 315374"/>
                <a:gd name="connsiteX72" fmla="*/ 99229 w 1055237"/>
                <a:gd name="connsiteY72" fmla="*/ 91777 h 315374"/>
                <a:gd name="connsiteX73" fmla="*/ 205370 w 1055237"/>
                <a:gd name="connsiteY73" fmla="*/ 0 h 315374"/>
                <a:gd name="connsiteX74" fmla="*/ 29621 w 1055237"/>
                <a:gd name="connsiteY74" fmla="*/ 0 h 315374"/>
                <a:gd name="connsiteX75" fmla="*/ 59241 w 1055237"/>
                <a:gd name="connsiteY75" fmla="*/ 29606 h 315374"/>
                <a:gd name="connsiteX76" fmla="*/ 29621 w 1055237"/>
                <a:gd name="connsiteY76" fmla="*/ 59211 h 315374"/>
                <a:gd name="connsiteX77" fmla="*/ 0 w 1055237"/>
                <a:gd name="connsiteY77" fmla="*/ 29606 h 315374"/>
                <a:gd name="connsiteX78" fmla="*/ 29621 w 1055237"/>
                <a:gd name="connsiteY78" fmla="*/ 0 h 315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055237" h="315374">
                  <a:moveTo>
                    <a:pt x="952120" y="133688"/>
                  </a:moveTo>
                  <a:cubicBezTo>
                    <a:pt x="940642" y="131252"/>
                    <a:pt x="928362" y="131869"/>
                    <a:pt x="916514" y="136186"/>
                  </a:cubicBezTo>
                  <a:cubicBezTo>
                    <a:pt x="892817" y="144821"/>
                    <a:pt x="877266" y="165791"/>
                    <a:pt x="874304" y="188982"/>
                  </a:cubicBezTo>
                  <a:lnTo>
                    <a:pt x="982913" y="149508"/>
                  </a:lnTo>
                  <a:cubicBezTo>
                    <a:pt x="974274" y="141614"/>
                    <a:pt x="963598" y="136124"/>
                    <a:pt x="952120" y="133688"/>
                  </a:cubicBezTo>
                  <a:close/>
                  <a:moveTo>
                    <a:pt x="657333" y="128044"/>
                  </a:moveTo>
                  <a:cubicBezTo>
                    <a:pt x="619073" y="128044"/>
                    <a:pt x="588218" y="158883"/>
                    <a:pt x="588218" y="197123"/>
                  </a:cubicBezTo>
                  <a:cubicBezTo>
                    <a:pt x="588218" y="235364"/>
                    <a:pt x="619319" y="266203"/>
                    <a:pt x="657333" y="266203"/>
                  </a:cubicBezTo>
                  <a:cubicBezTo>
                    <a:pt x="694359" y="266203"/>
                    <a:pt x="724473" y="237338"/>
                    <a:pt x="726448" y="201071"/>
                  </a:cubicBezTo>
                  <a:lnTo>
                    <a:pt x="726448" y="193423"/>
                  </a:lnTo>
                  <a:cubicBezTo>
                    <a:pt x="724473" y="156909"/>
                    <a:pt x="694359" y="128044"/>
                    <a:pt x="657333" y="128044"/>
                  </a:cubicBezTo>
                  <a:close/>
                  <a:moveTo>
                    <a:pt x="944739" y="79018"/>
                  </a:moveTo>
                  <a:cubicBezTo>
                    <a:pt x="990813" y="81308"/>
                    <a:pt x="1033207" y="110590"/>
                    <a:pt x="1050054" y="156663"/>
                  </a:cubicBezTo>
                  <a:cubicBezTo>
                    <a:pt x="1052275" y="162831"/>
                    <a:pt x="1054003" y="169245"/>
                    <a:pt x="1055237" y="175660"/>
                  </a:cubicBezTo>
                  <a:lnTo>
                    <a:pt x="1004142" y="194163"/>
                  </a:lnTo>
                  <a:lnTo>
                    <a:pt x="887387" y="236598"/>
                  </a:lnTo>
                  <a:cubicBezTo>
                    <a:pt x="904172" y="258309"/>
                    <a:pt x="933792" y="267684"/>
                    <a:pt x="960945" y="257815"/>
                  </a:cubicBezTo>
                  <a:cubicBezTo>
                    <a:pt x="980198" y="250907"/>
                    <a:pt x="995009" y="235118"/>
                    <a:pt x="1000933" y="215381"/>
                  </a:cubicBezTo>
                  <a:lnTo>
                    <a:pt x="1052275" y="230677"/>
                  </a:lnTo>
                  <a:cubicBezTo>
                    <a:pt x="1041661" y="266697"/>
                    <a:pt x="1014509" y="295315"/>
                    <a:pt x="979211" y="308145"/>
                  </a:cubicBezTo>
                  <a:cubicBezTo>
                    <a:pt x="917748" y="330595"/>
                    <a:pt x="849867" y="299016"/>
                    <a:pt x="827405" y="237585"/>
                  </a:cubicBezTo>
                  <a:cubicBezTo>
                    <a:pt x="804942" y="176400"/>
                    <a:pt x="836785" y="108307"/>
                    <a:pt x="898248" y="86103"/>
                  </a:cubicBezTo>
                  <a:cubicBezTo>
                    <a:pt x="913614" y="80490"/>
                    <a:pt x="929381" y="78255"/>
                    <a:pt x="944739" y="79018"/>
                  </a:cubicBezTo>
                  <a:close/>
                  <a:moveTo>
                    <a:pt x="451469" y="78948"/>
                  </a:moveTo>
                  <a:lnTo>
                    <a:pt x="500837" y="78948"/>
                  </a:lnTo>
                  <a:lnTo>
                    <a:pt x="500837" y="315299"/>
                  </a:lnTo>
                  <a:lnTo>
                    <a:pt x="451469" y="315299"/>
                  </a:lnTo>
                  <a:close/>
                  <a:moveTo>
                    <a:pt x="4937" y="78948"/>
                  </a:moveTo>
                  <a:lnTo>
                    <a:pt x="54305" y="78948"/>
                  </a:lnTo>
                  <a:lnTo>
                    <a:pt x="54305" y="315299"/>
                  </a:lnTo>
                  <a:lnTo>
                    <a:pt x="4937" y="315299"/>
                  </a:lnTo>
                  <a:close/>
                  <a:moveTo>
                    <a:pt x="775815" y="0"/>
                  </a:moveTo>
                  <a:lnTo>
                    <a:pt x="775815" y="315299"/>
                  </a:lnTo>
                  <a:lnTo>
                    <a:pt x="726448" y="315299"/>
                  </a:lnTo>
                  <a:lnTo>
                    <a:pt x="726448" y="293095"/>
                  </a:lnTo>
                  <a:cubicBezTo>
                    <a:pt x="706947" y="307157"/>
                    <a:pt x="683004" y="315299"/>
                    <a:pt x="657333" y="315299"/>
                  </a:cubicBezTo>
                  <a:cubicBezTo>
                    <a:pt x="591920" y="315299"/>
                    <a:pt x="538850" y="262255"/>
                    <a:pt x="538850" y="197123"/>
                  </a:cubicBezTo>
                  <a:cubicBezTo>
                    <a:pt x="538850" y="131991"/>
                    <a:pt x="591920" y="78948"/>
                    <a:pt x="657333" y="78948"/>
                  </a:cubicBezTo>
                  <a:cubicBezTo>
                    <a:pt x="683004" y="78948"/>
                    <a:pt x="706947" y="87090"/>
                    <a:pt x="726448" y="101152"/>
                  </a:cubicBezTo>
                  <a:lnTo>
                    <a:pt x="726448" y="247"/>
                  </a:lnTo>
                  <a:close/>
                  <a:moveTo>
                    <a:pt x="476153" y="0"/>
                  </a:moveTo>
                  <a:cubicBezTo>
                    <a:pt x="492444" y="0"/>
                    <a:pt x="505773" y="13322"/>
                    <a:pt x="505773" y="29606"/>
                  </a:cubicBezTo>
                  <a:cubicBezTo>
                    <a:pt x="505773" y="45889"/>
                    <a:pt x="492444" y="59211"/>
                    <a:pt x="476153" y="59211"/>
                  </a:cubicBezTo>
                  <a:cubicBezTo>
                    <a:pt x="459861" y="59211"/>
                    <a:pt x="446532" y="45889"/>
                    <a:pt x="446532" y="29606"/>
                  </a:cubicBezTo>
                  <a:cubicBezTo>
                    <a:pt x="446532" y="13322"/>
                    <a:pt x="459861" y="0"/>
                    <a:pt x="476153" y="0"/>
                  </a:cubicBezTo>
                  <a:close/>
                  <a:moveTo>
                    <a:pt x="352733" y="0"/>
                  </a:moveTo>
                  <a:lnTo>
                    <a:pt x="402101" y="0"/>
                  </a:lnTo>
                  <a:lnTo>
                    <a:pt x="402101" y="315299"/>
                  </a:lnTo>
                  <a:lnTo>
                    <a:pt x="352733" y="315299"/>
                  </a:lnTo>
                  <a:close/>
                  <a:moveTo>
                    <a:pt x="205370" y="0"/>
                  </a:moveTo>
                  <a:cubicBezTo>
                    <a:pt x="245111" y="0"/>
                    <a:pt x="273004" y="8882"/>
                    <a:pt x="297194" y="29112"/>
                  </a:cubicBezTo>
                  <a:lnTo>
                    <a:pt x="300897" y="32319"/>
                  </a:lnTo>
                  <a:lnTo>
                    <a:pt x="271523" y="67599"/>
                  </a:lnTo>
                  <a:cubicBezTo>
                    <a:pt x="271523" y="67599"/>
                    <a:pt x="269795" y="66119"/>
                    <a:pt x="268808" y="65132"/>
                  </a:cubicBezTo>
                  <a:cubicBezTo>
                    <a:pt x="268314" y="64639"/>
                    <a:pt x="267820" y="63899"/>
                    <a:pt x="267573" y="63899"/>
                  </a:cubicBezTo>
                  <a:cubicBezTo>
                    <a:pt x="246839" y="46875"/>
                    <a:pt x="222402" y="44408"/>
                    <a:pt x="203149" y="44408"/>
                  </a:cubicBezTo>
                  <a:cubicBezTo>
                    <a:pt x="163161" y="44408"/>
                    <a:pt x="148844" y="69080"/>
                    <a:pt x="148844" y="90050"/>
                  </a:cubicBezTo>
                  <a:cubicBezTo>
                    <a:pt x="148844" y="100412"/>
                    <a:pt x="152793" y="110034"/>
                    <a:pt x="159952" y="116942"/>
                  </a:cubicBezTo>
                  <a:cubicBezTo>
                    <a:pt x="167604" y="124096"/>
                    <a:pt x="179205" y="129031"/>
                    <a:pt x="192288" y="130758"/>
                  </a:cubicBezTo>
                  <a:lnTo>
                    <a:pt x="230054" y="136185"/>
                  </a:lnTo>
                  <a:cubicBezTo>
                    <a:pt x="256466" y="139886"/>
                    <a:pt x="274485" y="147041"/>
                    <a:pt x="288308" y="159376"/>
                  </a:cubicBezTo>
                  <a:cubicBezTo>
                    <a:pt x="303612" y="173932"/>
                    <a:pt x="311264" y="195396"/>
                    <a:pt x="311511" y="223275"/>
                  </a:cubicBezTo>
                  <a:cubicBezTo>
                    <a:pt x="311511" y="251153"/>
                    <a:pt x="300403" y="274591"/>
                    <a:pt x="279422" y="291121"/>
                  </a:cubicBezTo>
                  <a:cubicBezTo>
                    <a:pt x="259428" y="306664"/>
                    <a:pt x="230548" y="315299"/>
                    <a:pt x="198459" y="315299"/>
                  </a:cubicBezTo>
                  <a:cubicBezTo>
                    <a:pt x="151066" y="315299"/>
                    <a:pt x="118730" y="304690"/>
                    <a:pt x="92071" y="280512"/>
                  </a:cubicBezTo>
                  <a:lnTo>
                    <a:pt x="122432" y="244739"/>
                  </a:lnTo>
                  <a:cubicBezTo>
                    <a:pt x="141192" y="261515"/>
                    <a:pt x="166369" y="269657"/>
                    <a:pt x="199199" y="269657"/>
                  </a:cubicBezTo>
                  <a:cubicBezTo>
                    <a:pt x="252763" y="269657"/>
                    <a:pt x="260909" y="241778"/>
                    <a:pt x="260909" y="225002"/>
                  </a:cubicBezTo>
                  <a:cubicBezTo>
                    <a:pt x="260909" y="212173"/>
                    <a:pt x="256959" y="201811"/>
                    <a:pt x="249307" y="194410"/>
                  </a:cubicBezTo>
                  <a:cubicBezTo>
                    <a:pt x="241902" y="187502"/>
                    <a:pt x="233757" y="184294"/>
                    <a:pt x="218206" y="181827"/>
                  </a:cubicBezTo>
                  <a:lnTo>
                    <a:pt x="179699" y="176399"/>
                  </a:lnTo>
                  <a:cubicBezTo>
                    <a:pt x="153534" y="172452"/>
                    <a:pt x="134034" y="164311"/>
                    <a:pt x="120704" y="151235"/>
                  </a:cubicBezTo>
                  <a:cubicBezTo>
                    <a:pt x="106388" y="136679"/>
                    <a:pt x="99229" y="117188"/>
                    <a:pt x="99229" y="91777"/>
                  </a:cubicBezTo>
                  <a:cubicBezTo>
                    <a:pt x="99476" y="36020"/>
                    <a:pt x="140945" y="0"/>
                    <a:pt x="205370" y="0"/>
                  </a:cubicBezTo>
                  <a:close/>
                  <a:moveTo>
                    <a:pt x="29621" y="0"/>
                  </a:moveTo>
                  <a:cubicBezTo>
                    <a:pt x="45980" y="0"/>
                    <a:pt x="59241" y="13255"/>
                    <a:pt x="59241" y="29606"/>
                  </a:cubicBezTo>
                  <a:cubicBezTo>
                    <a:pt x="59241" y="45956"/>
                    <a:pt x="45980" y="59211"/>
                    <a:pt x="29621" y="59211"/>
                  </a:cubicBezTo>
                  <a:cubicBezTo>
                    <a:pt x="13262" y="59211"/>
                    <a:pt x="0" y="45956"/>
                    <a:pt x="0" y="29606"/>
                  </a:cubicBezTo>
                  <a:cubicBezTo>
                    <a:pt x="0" y="13255"/>
                    <a:pt x="13262" y="0"/>
                    <a:pt x="29621" y="0"/>
                  </a:cubicBezTo>
                  <a:close/>
                </a:path>
              </a:pathLst>
            </a:custGeom>
            <a:solidFill>
              <a:srgbClr val="2F2F2F"/>
            </a:solidFill>
            <a:ln w="2462" cap="flat">
              <a:noFill/>
              <a:prstDash val="solid"/>
              <a:miter/>
            </a:ln>
          </p:spPr>
          <p:txBody>
            <a:bodyPr rtlCol="0" anchor="ctr"/>
            <a:lstStyle/>
            <a:p>
              <a:endParaRPr lang="zh-CN" altLang="en-US"/>
            </a:p>
          </p:txBody>
        </p:sp>
      </p:grpSp>
    </p:spTree>
    <p:custDataLst>
      <p:tags r:id="rId1"/>
    </p:custDataLst>
    <p:extLst>
      <p:ext uri="{BB962C8B-B14F-4D97-AF65-F5344CB8AC3E}">
        <p14:creationId xmlns:p14="http://schemas.microsoft.com/office/powerpoint/2010/main" val="12371926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4" name="ïṩḷidê">
            <a:extLst>
              <a:ext uri="{FF2B5EF4-FFF2-40B4-BE49-F238E27FC236}">
                <a16:creationId xmlns="" xmlns:p14="http://schemas.microsoft.com/office/powerpoint/2010/main" xmlns:a16="http://schemas.microsoft.com/office/drawing/2014/main" id="{625D0406-0787-4EE6-9393-820D5CE03187}"/>
              </a:ext>
            </a:extLst>
          </p:cNvPr>
          <p:cNvSpPr>
            <a:spLocks noGrp="1"/>
          </p:cNvSpPr>
          <p:nvPr>
            <p:ph type="sldNum" sz="quarter" idx="12"/>
          </p:nvPr>
        </p:nvSpPr>
        <p:spPr/>
        <p:txBody>
          <a:bodyPr/>
          <a:lstStyle/>
          <a:p>
            <a:fld id="{5DD3DB80-B894-403A-B48E-6FDC1A72010E}" type="slidenum">
              <a:rPr lang="zh-CN" altLang="en-US" smtClean="0"/>
              <a:pPr/>
              <a:t>5</a:t>
            </a:fld>
            <a:endParaRPr lang="zh-CN" altLang="en-US"/>
          </a:p>
        </p:txBody>
      </p:sp>
      <p:sp>
        <p:nvSpPr>
          <p:cNvPr id="2" name="íṣľiḑe">
            <a:extLst>
              <a:ext uri="{FF2B5EF4-FFF2-40B4-BE49-F238E27FC236}">
                <a16:creationId xmlns="" xmlns:p14="http://schemas.microsoft.com/office/powerpoint/2010/main" xmlns:a16="http://schemas.microsoft.com/office/drawing/2014/main" id="{8AC4395B-A0A0-4D81-B628-E4F9AB374736}"/>
              </a:ext>
            </a:extLst>
          </p:cNvPr>
          <p:cNvSpPr>
            <a:spLocks noGrp="1"/>
          </p:cNvSpPr>
          <p:nvPr>
            <p:ph type="title"/>
          </p:nvPr>
        </p:nvSpPr>
        <p:spPr/>
        <p:txBody>
          <a:bodyPr/>
          <a:lstStyle/>
          <a:p>
            <a:r>
              <a:rPr lang="en-US" altLang="zh-TW" dirty="0" err="1" smtClean="0"/>
              <a:t>rnn</a:t>
            </a:r>
            <a:r>
              <a:rPr lang="en-US" altLang="zh-TW" dirty="0" smtClean="0"/>
              <a:t>/seq2seq</a:t>
            </a:r>
            <a:r>
              <a:rPr lang="zh-TW" altLang="en-US" dirty="0"/>
              <a:t>的問題</a:t>
            </a:r>
            <a:endParaRPr lang="zh-CN" altLang="en-US" dirty="0"/>
          </a:p>
        </p:txBody>
      </p:sp>
      <p:sp>
        <p:nvSpPr>
          <p:cNvPr id="5" name="內容版面配置區 4"/>
          <p:cNvSpPr>
            <a:spLocks noGrp="1"/>
          </p:cNvSpPr>
          <p:nvPr>
            <p:ph sz="quarter" idx="13"/>
          </p:nvPr>
        </p:nvSpPr>
        <p:spPr/>
        <p:txBody>
          <a:bodyPr/>
          <a:lstStyle/>
          <a:p>
            <a:r>
              <a:rPr lang="zh-TW" altLang="en-US" dirty="0"/>
              <a:t>以 </a:t>
            </a:r>
            <a:r>
              <a:rPr lang="en-US" altLang="zh-TW" dirty="0"/>
              <a:t>RNN </a:t>
            </a:r>
            <a:r>
              <a:rPr lang="zh-TW" altLang="en-US" dirty="0"/>
              <a:t>為基礎的 </a:t>
            </a:r>
            <a:r>
              <a:rPr lang="en-US" altLang="zh-TW" dirty="0"/>
              <a:t>Seq2Seq </a:t>
            </a:r>
            <a:r>
              <a:rPr lang="zh-TW" altLang="en-US" dirty="0"/>
              <a:t>模型做 </a:t>
            </a:r>
            <a:r>
              <a:rPr lang="en-US" altLang="zh-TW" dirty="0"/>
              <a:t>NMT </a:t>
            </a:r>
            <a:r>
              <a:rPr lang="zh-TW" altLang="en-US" dirty="0"/>
              <a:t>的</a:t>
            </a:r>
            <a:r>
              <a:rPr lang="zh-TW" altLang="en-US" dirty="0" smtClean="0"/>
              <a:t>流程</a:t>
            </a:r>
            <a:endParaRPr lang="en-US" altLang="zh-TW" dirty="0" smtClean="0"/>
          </a:p>
          <a:p>
            <a:r>
              <a:rPr lang="en-US" altLang="zh-TW" dirty="0"/>
              <a:t>Seq2Seq </a:t>
            </a:r>
            <a:r>
              <a:rPr lang="zh-TW" altLang="en-US" dirty="0"/>
              <a:t>模型裡的一個重要假設是 </a:t>
            </a:r>
            <a:r>
              <a:rPr lang="en-US" altLang="zh-TW" dirty="0"/>
              <a:t>Encoder </a:t>
            </a:r>
            <a:r>
              <a:rPr lang="zh-TW" altLang="en-US" dirty="0"/>
              <a:t>能把輸入句子的語義 </a:t>
            </a:r>
            <a:r>
              <a:rPr lang="en-US" altLang="zh-TW" dirty="0"/>
              <a:t>/ </a:t>
            </a:r>
            <a:r>
              <a:rPr lang="zh-TW" altLang="en-US" dirty="0"/>
              <a:t>文本脈絡全都壓縮</a:t>
            </a:r>
            <a:r>
              <a:rPr lang="zh-TW" altLang="en-US" dirty="0" smtClean="0"/>
              <a:t>成一個固定</a:t>
            </a:r>
            <a:r>
              <a:rPr lang="zh-TW" altLang="en-US" dirty="0"/>
              <a:t>維度的語義向量</a:t>
            </a:r>
            <a:r>
              <a:rPr lang="zh-TW" altLang="en-US" dirty="0" smtClean="0"/>
              <a:t>。</a:t>
            </a:r>
            <a:endParaRPr lang="en-US" altLang="zh-TW" dirty="0" smtClean="0"/>
          </a:p>
          <a:p>
            <a:r>
              <a:rPr lang="zh-TW" altLang="en-US" dirty="0" smtClean="0"/>
              <a:t>之後 </a:t>
            </a:r>
            <a:r>
              <a:rPr lang="en-US" altLang="zh-TW" dirty="0"/>
              <a:t>Decoder </a:t>
            </a:r>
            <a:r>
              <a:rPr lang="zh-TW" altLang="en-US" dirty="0"/>
              <a:t>只要利用該向量裡頭的資訊就能重新生成具有相同意義，但不同語言的句子。但你可以想像當我們只有一個向量的時候，是不太可能把一個很長的句子的所有資訊打包起來的</a:t>
            </a:r>
            <a:endParaRPr lang="en-US" altLang="zh-TW" dirty="0" smtClean="0"/>
          </a:p>
          <a:p>
            <a:endParaRPr lang="en-US" altLang="zh-TW" dirty="0" smtClean="0"/>
          </a:p>
          <a:p>
            <a:endParaRPr lang="zh-TW" altLang="en-US" dirty="0"/>
          </a:p>
        </p:txBody>
      </p:sp>
      <p:pic>
        <p:nvPicPr>
          <p:cNvPr id="9" name="圖片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26117" y="2953746"/>
            <a:ext cx="7010217" cy="3096179"/>
          </a:xfrm>
          <a:prstGeom prst="rect">
            <a:avLst/>
          </a:prstGeom>
        </p:spPr>
      </p:pic>
    </p:spTree>
    <p:custDataLst>
      <p:tags r:id="rId1"/>
    </p:custDataLst>
    <p:extLst>
      <p:ext uri="{BB962C8B-B14F-4D97-AF65-F5344CB8AC3E}">
        <p14:creationId xmlns:p14="http://schemas.microsoft.com/office/powerpoint/2010/main" val="24192579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barn(inVertical)">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4" name="ïṩḷidê">
            <a:extLst>
              <a:ext uri="{FF2B5EF4-FFF2-40B4-BE49-F238E27FC236}">
                <a16:creationId xmlns="" xmlns:p14="http://schemas.microsoft.com/office/powerpoint/2010/main" xmlns:a16="http://schemas.microsoft.com/office/drawing/2014/main" id="{625D0406-0787-4EE6-9393-820D5CE03187}"/>
              </a:ext>
            </a:extLst>
          </p:cNvPr>
          <p:cNvSpPr>
            <a:spLocks noGrp="1"/>
          </p:cNvSpPr>
          <p:nvPr>
            <p:ph type="sldNum" sz="quarter" idx="12"/>
          </p:nvPr>
        </p:nvSpPr>
        <p:spPr/>
        <p:txBody>
          <a:bodyPr/>
          <a:lstStyle/>
          <a:p>
            <a:fld id="{5DD3DB80-B894-403A-B48E-6FDC1A72010E}" type="slidenum">
              <a:rPr lang="zh-CN" altLang="en-US" smtClean="0"/>
              <a:pPr/>
              <a:t>6</a:t>
            </a:fld>
            <a:endParaRPr lang="zh-CN" altLang="en-US"/>
          </a:p>
        </p:txBody>
      </p:sp>
      <p:sp>
        <p:nvSpPr>
          <p:cNvPr id="2" name="íṣľiḑe">
            <a:extLst>
              <a:ext uri="{FF2B5EF4-FFF2-40B4-BE49-F238E27FC236}">
                <a16:creationId xmlns="" xmlns:p14="http://schemas.microsoft.com/office/powerpoint/2010/main" xmlns:a16="http://schemas.microsoft.com/office/drawing/2014/main" id="{8AC4395B-A0A0-4D81-B628-E4F9AB374736}"/>
              </a:ext>
            </a:extLst>
          </p:cNvPr>
          <p:cNvSpPr>
            <a:spLocks noGrp="1"/>
          </p:cNvSpPr>
          <p:nvPr>
            <p:ph type="title"/>
          </p:nvPr>
        </p:nvSpPr>
        <p:spPr/>
        <p:txBody>
          <a:bodyPr/>
          <a:lstStyle/>
          <a:p>
            <a:r>
              <a:rPr lang="en-US" altLang="zh-TW" dirty="0" err="1" smtClean="0"/>
              <a:t>rnn</a:t>
            </a:r>
            <a:r>
              <a:rPr lang="en-US" altLang="zh-TW" dirty="0" smtClean="0"/>
              <a:t>/seq2seq</a:t>
            </a:r>
            <a:r>
              <a:rPr lang="zh-TW" altLang="en-US" dirty="0"/>
              <a:t>的問題</a:t>
            </a:r>
            <a:endParaRPr lang="zh-CN" altLang="en-US" dirty="0"/>
          </a:p>
        </p:txBody>
      </p:sp>
      <p:sp>
        <p:nvSpPr>
          <p:cNvPr id="5" name="內容版面配置區 4"/>
          <p:cNvSpPr>
            <a:spLocks noGrp="1"/>
          </p:cNvSpPr>
          <p:nvPr>
            <p:ph sz="quarter" idx="13"/>
          </p:nvPr>
        </p:nvSpPr>
        <p:spPr/>
        <p:txBody>
          <a:bodyPr/>
          <a:lstStyle/>
          <a:p>
            <a:r>
              <a:rPr lang="zh-TW" altLang="en-US" dirty="0"/>
              <a:t>無法有效的平行運算</a:t>
            </a:r>
            <a:r>
              <a:rPr lang="en-US" altLang="zh-TW" dirty="0"/>
              <a:t>,</a:t>
            </a:r>
            <a:r>
              <a:rPr lang="zh-TW" altLang="en-US" dirty="0"/>
              <a:t>速度慢</a:t>
            </a:r>
            <a:r>
              <a:rPr lang="en-US" altLang="zh-TW" dirty="0"/>
              <a:t>.</a:t>
            </a:r>
          </a:p>
          <a:p>
            <a:r>
              <a:rPr lang="zh-TW" altLang="en-US" dirty="0"/>
              <a:t>一個有 </a:t>
            </a:r>
            <a:r>
              <a:rPr lang="en-US" altLang="zh-TW" dirty="0"/>
              <a:t>4 </a:t>
            </a:r>
            <a:r>
              <a:rPr lang="zh-TW" altLang="en-US" dirty="0"/>
              <a:t>個元素的輸入序列為例：</a:t>
            </a:r>
            <a:r>
              <a:rPr lang="en-US" altLang="zh-TW" dirty="0"/>
              <a:t>[a1, a2, a3, a4] , </a:t>
            </a:r>
            <a:r>
              <a:rPr lang="zh-TW" altLang="en-US" dirty="0"/>
              <a:t>要獲得最後一個時間點的輸出向量 </a:t>
            </a:r>
            <a:r>
              <a:rPr lang="en-US" altLang="zh-TW" dirty="0"/>
              <a:t>b4 </a:t>
            </a:r>
            <a:r>
              <a:rPr lang="zh-TW" altLang="en-US" dirty="0"/>
              <a:t>得把整個輸入序列跑過一遍才行：</a:t>
            </a:r>
          </a:p>
          <a:p>
            <a:endParaRPr lang="en-US" altLang="zh-TW" dirty="0" smtClean="0"/>
          </a:p>
          <a:p>
            <a:endParaRPr lang="zh-TW" altLang="en-US" dirty="0"/>
          </a:p>
        </p:txBody>
      </p:sp>
      <p:pic>
        <p:nvPicPr>
          <p:cNvPr id="6" name="圖片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62297" y="2059748"/>
            <a:ext cx="9280894" cy="4084652"/>
          </a:xfrm>
          <a:prstGeom prst="rect">
            <a:avLst/>
          </a:prstGeom>
        </p:spPr>
      </p:pic>
    </p:spTree>
    <p:custDataLst>
      <p:tags r:id="rId1"/>
    </p:custDataLst>
    <p:extLst>
      <p:ext uri="{BB962C8B-B14F-4D97-AF65-F5344CB8AC3E}">
        <p14:creationId xmlns:p14="http://schemas.microsoft.com/office/powerpoint/2010/main" val="20604415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i$ḷíḑê"/>
        <p:cNvGrpSpPr/>
        <p:nvPr/>
      </p:nvGrpSpPr>
      <p:grpSpPr>
        <a:xfrm>
          <a:off x="0" y="0"/>
          <a:ext cx="0" cy="0"/>
          <a:chOff x="0" y="0"/>
          <a:chExt cx="0" cy="0"/>
        </a:xfrm>
      </p:grpSpPr>
      <p:sp>
        <p:nvSpPr>
          <p:cNvPr id="5" name="íšľîḑê"/>
          <p:cNvSpPr>
            <a:spLocks noGrp="1"/>
          </p:cNvSpPr>
          <p:nvPr>
            <p:ph type="title"/>
          </p:nvPr>
        </p:nvSpPr>
        <p:spPr>
          <a:xfrm>
            <a:off x="4751615" y="3380413"/>
            <a:ext cx="5419185" cy="895350"/>
          </a:xfrm>
        </p:spPr>
        <p:txBody>
          <a:bodyPr/>
          <a:lstStyle/>
          <a:p>
            <a:r>
              <a:rPr lang="en-US" altLang="zh-TW" dirty="0"/>
              <a:t>Attention</a:t>
            </a:r>
            <a:r>
              <a:rPr lang="zh-TW" altLang="en-US" dirty="0"/>
              <a:t>概念 </a:t>
            </a:r>
          </a:p>
        </p:txBody>
      </p:sp>
      <p:sp>
        <p:nvSpPr>
          <p:cNvPr id="6" name="isliḋê"/>
          <p:cNvSpPr>
            <a:spLocks noGrp="1"/>
          </p:cNvSpPr>
          <p:nvPr>
            <p:ph type="body" idx="1"/>
          </p:nvPr>
        </p:nvSpPr>
        <p:spPr>
          <a:xfrm>
            <a:off x="4752731" y="4275763"/>
            <a:ext cx="5419185" cy="1015623"/>
          </a:xfrm>
        </p:spPr>
        <p:txBody>
          <a:bodyPr/>
          <a:lstStyle/>
          <a:p>
            <a:pPr lvl="0"/>
            <a:r>
              <a:rPr lang="en-US" altLang="zh-CN" dirty="0" smtClean="0"/>
              <a:t>All you need is pay attention</a:t>
            </a:r>
            <a:endParaRPr lang="en-US" altLang="zh-CN" dirty="0"/>
          </a:p>
        </p:txBody>
      </p:sp>
      <p:sp>
        <p:nvSpPr>
          <p:cNvPr id="9" name="iṧḻiḑe">
            <a:extLst>
              <a:ext uri="{FF2B5EF4-FFF2-40B4-BE49-F238E27FC236}">
                <a16:creationId xmlns="" xmlns:p14="http://schemas.microsoft.com/office/powerpoint/2010/main" xmlns:a16="http://schemas.microsoft.com/office/drawing/2014/main" id="{04F69230-F3A6-4586-9371-A858F4763E9F}"/>
              </a:ext>
            </a:extLst>
          </p:cNvPr>
          <p:cNvSpPr txBox="1"/>
          <p:nvPr/>
        </p:nvSpPr>
        <p:spPr>
          <a:xfrm>
            <a:off x="4751615" y="1566614"/>
            <a:ext cx="2141996" cy="1862386"/>
          </a:xfrm>
          <a:prstGeom prst="rect">
            <a:avLst/>
          </a:prstGeom>
          <a:noFill/>
          <a:ln w="117475">
            <a:noFill/>
          </a:ln>
        </p:spPr>
        <p:txBody>
          <a:bodyPr wrap="none" rtlCol="0">
            <a:prstTxWarp prst="textPlain">
              <a:avLst/>
            </a:prstTxWarp>
            <a:spAutoFit/>
          </a:bodyPr>
          <a:lstStyle/>
          <a:p>
            <a:r>
              <a:rPr lang="en-US" altLang="zh-CN" spc="100" dirty="0" smtClean="0">
                <a:solidFill>
                  <a:schemeClr val="accent1"/>
                </a:solidFill>
                <a:latin typeface="Impact" panose="020B0806030902050204" pitchFamily="34" charset="0"/>
                <a:cs typeface="Arial" panose="020B0604020202020204" pitchFamily="34" charset="0"/>
              </a:rPr>
              <a:t>/</a:t>
            </a:r>
            <a:r>
              <a:rPr lang="en-US" altLang="zh-CN" sz="100" spc="100" dirty="0" smtClean="0">
                <a:solidFill>
                  <a:schemeClr val="accent1"/>
                </a:solidFill>
                <a:latin typeface="Impact" panose="020B0806030902050204" pitchFamily="34" charset="0"/>
                <a:cs typeface="Arial" panose="020B0604020202020204" pitchFamily="34" charset="0"/>
              </a:rPr>
              <a:t> </a:t>
            </a:r>
            <a:r>
              <a:rPr lang="en-US" altLang="zh-CN" spc="100" dirty="0" smtClean="0">
                <a:solidFill>
                  <a:schemeClr val="accent1"/>
                </a:solidFill>
                <a:latin typeface="Impact" panose="020B0806030902050204" pitchFamily="34" charset="0"/>
                <a:cs typeface="Arial" panose="020B0604020202020204" pitchFamily="34" charset="0"/>
              </a:rPr>
              <a:t>02</a:t>
            </a:r>
            <a:endParaRPr lang="zh-CN" altLang="en-US" spc="100" dirty="0">
              <a:solidFill>
                <a:schemeClr val="accent1"/>
              </a:solidFill>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133918297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4" name="ïṩḷidê">
            <a:extLst>
              <a:ext uri="{FF2B5EF4-FFF2-40B4-BE49-F238E27FC236}">
                <a16:creationId xmlns="" xmlns:p14="http://schemas.microsoft.com/office/powerpoint/2010/main" xmlns:a16="http://schemas.microsoft.com/office/drawing/2014/main" id="{625D0406-0787-4EE6-9393-820D5CE03187}"/>
              </a:ext>
            </a:extLst>
          </p:cNvPr>
          <p:cNvSpPr>
            <a:spLocks noGrp="1"/>
          </p:cNvSpPr>
          <p:nvPr>
            <p:ph type="sldNum" sz="quarter" idx="12"/>
          </p:nvPr>
        </p:nvSpPr>
        <p:spPr/>
        <p:txBody>
          <a:bodyPr/>
          <a:lstStyle/>
          <a:p>
            <a:fld id="{5DD3DB80-B894-403A-B48E-6FDC1A72010E}" type="slidenum">
              <a:rPr lang="zh-CN" altLang="en-US" smtClean="0"/>
              <a:pPr/>
              <a:t>8</a:t>
            </a:fld>
            <a:endParaRPr lang="zh-CN" altLang="en-US"/>
          </a:p>
        </p:txBody>
      </p:sp>
      <p:sp>
        <p:nvSpPr>
          <p:cNvPr id="2" name="íṣľiḑe">
            <a:extLst>
              <a:ext uri="{FF2B5EF4-FFF2-40B4-BE49-F238E27FC236}">
                <a16:creationId xmlns="" xmlns:p14="http://schemas.microsoft.com/office/powerpoint/2010/main" xmlns:a16="http://schemas.microsoft.com/office/drawing/2014/main" id="{8AC4395B-A0A0-4D81-B628-E4F9AB374736}"/>
              </a:ext>
            </a:extLst>
          </p:cNvPr>
          <p:cNvSpPr>
            <a:spLocks noGrp="1"/>
          </p:cNvSpPr>
          <p:nvPr>
            <p:ph type="title"/>
          </p:nvPr>
        </p:nvSpPr>
        <p:spPr/>
        <p:txBody>
          <a:bodyPr/>
          <a:lstStyle/>
          <a:p>
            <a:r>
              <a:rPr lang="zh-CN" altLang="en-US" dirty="0"/>
              <a:t>注意力的概念</a:t>
            </a:r>
          </a:p>
        </p:txBody>
      </p:sp>
      <p:sp>
        <p:nvSpPr>
          <p:cNvPr id="5" name="內容版面配置區 4"/>
          <p:cNvSpPr>
            <a:spLocks noGrp="1"/>
          </p:cNvSpPr>
          <p:nvPr>
            <p:ph sz="quarter" idx="13"/>
          </p:nvPr>
        </p:nvSpPr>
        <p:spPr/>
        <p:txBody>
          <a:bodyPr/>
          <a:lstStyle/>
          <a:p>
            <a:r>
              <a:rPr lang="en-US" altLang="zh-TW" dirty="0"/>
              <a:t>Attention</a:t>
            </a:r>
            <a:r>
              <a:rPr lang="zh-TW" altLang="en-US" dirty="0"/>
              <a:t>機制跟人類翻譯文章時候的思路有些類似，即將注意力關注於我們翻譯部分對應的上下文</a:t>
            </a:r>
            <a:r>
              <a:rPr lang="zh-TW" altLang="en-US" dirty="0" smtClean="0"/>
              <a:t>。</a:t>
            </a:r>
            <a:endParaRPr lang="zh-TW" altLang="en-US" dirty="0"/>
          </a:p>
          <a:p>
            <a:r>
              <a:rPr lang="zh-TW" altLang="en-US" dirty="0"/>
              <a:t>同樣的，</a:t>
            </a:r>
            <a:r>
              <a:rPr lang="en-US" altLang="zh-TW" dirty="0"/>
              <a:t>Attention</a:t>
            </a:r>
            <a:r>
              <a:rPr lang="zh-TW" altLang="en-US" dirty="0"/>
              <a:t>模型中，當我們翻譯當前詞語時，我們會尋找源語句中相對應的幾個詞語，並結合之前的已經翻譯的部分作出相應的</a:t>
            </a:r>
            <a:r>
              <a:rPr lang="zh-TW" altLang="en-US" dirty="0" smtClean="0"/>
              <a:t>翻譯</a:t>
            </a:r>
            <a:endParaRPr lang="en-US" altLang="zh-TW" dirty="0" smtClean="0"/>
          </a:p>
          <a:p>
            <a:endParaRPr lang="en-US" altLang="zh-TW" dirty="0" smtClean="0"/>
          </a:p>
          <a:p>
            <a:endParaRPr lang="zh-TW" altLang="en-US" dirty="0"/>
          </a:p>
        </p:txBody>
      </p:sp>
      <p:pic>
        <p:nvPicPr>
          <p:cNvPr id="10" name="圖片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51421" y="2284782"/>
            <a:ext cx="6863010" cy="3488697"/>
          </a:xfrm>
          <a:prstGeom prst="rect">
            <a:avLst/>
          </a:prstGeom>
        </p:spPr>
      </p:pic>
    </p:spTree>
    <p:custDataLst>
      <p:tags r:id="rId1"/>
    </p:custDataLst>
    <p:extLst>
      <p:ext uri="{BB962C8B-B14F-4D97-AF65-F5344CB8AC3E}">
        <p14:creationId xmlns:p14="http://schemas.microsoft.com/office/powerpoint/2010/main" val="10125507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4" name="ïṩḷidê">
            <a:extLst>
              <a:ext uri="{FF2B5EF4-FFF2-40B4-BE49-F238E27FC236}">
                <a16:creationId xmlns="" xmlns:p14="http://schemas.microsoft.com/office/powerpoint/2010/main" xmlns:a16="http://schemas.microsoft.com/office/drawing/2014/main" id="{625D0406-0787-4EE6-9393-820D5CE03187}"/>
              </a:ext>
            </a:extLst>
          </p:cNvPr>
          <p:cNvSpPr>
            <a:spLocks noGrp="1"/>
          </p:cNvSpPr>
          <p:nvPr>
            <p:ph type="sldNum" sz="quarter" idx="12"/>
          </p:nvPr>
        </p:nvSpPr>
        <p:spPr/>
        <p:txBody>
          <a:bodyPr/>
          <a:lstStyle/>
          <a:p>
            <a:fld id="{5DD3DB80-B894-403A-B48E-6FDC1A72010E}" type="slidenum">
              <a:rPr lang="zh-CN" altLang="en-US" smtClean="0"/>
              <a:pPr/>
              <a:t>9</a:t>
            </a:fld>
            <a:endParaRPr lang="zh-CN" altLang="en-US"/>
          </a:p>
        </p:txBody>
      </p:sp>
      <p:sp>
        <p:nvSpPr>
          <p:cNvPr id="2" name="íṣľiḑe">
            <a:extLst>
              <a:ext uri="{FF2B5EF4-FFF2-40B4-BE49-F238E27FC236}">
                <a16:creationId xmlns="" xmlns:p14="http://schemas.microsoft.com/office/powerpoint/2010/main" xmlns:a16="http://schemas.microsoft.com/office/drawing/2014/main" id="{8AC4395B-A0A0-4D81-B628-E4F9AB374736}"/>
              </a:ext>
            </a:extLst>
          </p:cNvPr>
          <p:cNvSpPr>
            <a:spLocks noGrp="1"/>
          </p:cNvSpPr>
          <p:nvPr>
            <p:ph type="title"/>
          </p:nvPr>
        </p:nvSpPr>
        <p:spPr/>
        <p:txBody>
          <a:bodyPr/>
          <a:lstStyle/>
          <a:p>
            <a:r>
              <a:rPr lang="zh-CN" altLang="en-US" dirty="0"/>
              <a:t>注意力的概念</a:t>
            </a:r>
          </a:p>
        </p:txBody>
      </p:sp>
      <p:sp>
        <p:nvSpPr>
          <p:cNvPr id="5" name="內容版面配置區 4"/>
          <p:cNvSpPr>
            <a:spLocks noGrp="1"/>
          </p:cNvSpPr>
          <p:nvPr>
            <p:ph sz="quarter" idx="13"/>
          </p:nvPr>
        </p:nvSpPr>
        <p:spPr/>
        <p:txBody>
          <a:bodyPr/>
          <a:lstStyle/>
          <a:p>
            <a:r>
              <a:rPr lang="zh-TW" altLang="en-US" dirty="0"/>
              <a:t>注意力機制（</a:t>
            </a:r>
            <a:r>
              <a:rPr lang="en-US" altLang="zh-TW" dirty="0"/>
              <a:t>Attention Mechanism</a:t>
            </a:r>
            <a:r>
              <a:rPr lang="zh-TW" altLang="en-US" dirty="0"/>
              <a:t>）的</a:t>
            </a:r>
            <a:r>
              <a:rPr lang="zh-TW" altLang="en-US" dirty="0" smtClean="0"/>
              <a:t>中心思想</a:t>
            </a:r>
            <a:endParaRPr lang="zh-TW" altLang="en-US" dirty="0"/>
          </a:p>
          <a:p>
            <a:r>
              <a:rPr lang="zh-TW" altLang="en-US" dirty="0"/>
              <a:t>與其只把 </a:t>
            </a:r>
            <a:r>
              <a:rPr lang="en-US" altLang="zh-TW" dirty="0"/>
              <a:t>Encoder </a:t>
            </a:r>
            <a:r>
              <a:rPr lang="zh-TW" altLang="en-US" dirty="0"/>
              <a:t>處理完句子產生的最後「一個」向量交給 </a:t>
            </a:r>
            <a:r>
              <a:rPr lang="en-US" altLang="zh-TW" dirty="0"/>
              <a:t>Decoder </a:t>
            </a:r>
            <a:r>
              <a:rPr lang="zh-TW" altLang="en-US" dirty="0"/>
              <a:t>並要求其從中萃取整句資訊，不如將 </a:t>
            </a:r>
            <a:r>
              <a:rPr lang="en-US" altLang="zh-TW" dirty="0"/>
              <a:t>Encoder  </a:t>
            </a:r>
            <a:r>
              <a:rPr lang="zh-TW" altLang="en-US" dirty="0"/>
              <a:t>在處理每個詞彙後所生成的「所有」輸出向量都交給 </a:t>
            </a:r>
            <a:r>
              <a:rPr lang="en-US" altLang="zh-TW" dirty="0"/>
              <a:t>Decoder</a:t>
            </a:r>
            <a:r>
              <a:rPr lang="zh-TW" altLang="en-US" dirty="0"/>
              <a:t>，讓 </a:t>
            </a:r>
            <a:r>
              <a:rPr lang="en-US" altLang="zh-TW" dirty="0"/>
              <a:t>Decoder </a:t>
            </a:r>
            <a:r>
              <a:rPr lang="zh-TW" altLang="en-US" dirty="0"/>
              <a:t>自己決定在生成新序列的時候要把「注意」放在 </a:t>
            </a:r>
            <a:r>
              <a:rPr lang="en-US" altLang="zh-TW" dirty="0"/>
              <a:t>Encoder  </a:t>
            </a:r>
            <a:r>
              <a:rPr lang="zh-TW" altLang="en-US" dirty="0"/>
              <a:t>的哪些輸出向量</a:t>
            </a:r>
            <a:r>
              <a:rPr lang="zh-TW" altLang="en-US" dirty="0" smtClean="0"/>
              <a:t>上面</a:t>
            </a:r>
            <a:endParaRPr lang="en-US" altLang="zh-TW" dirty="0" smtClean="0"/>
          </a:p>
          <a:p>
            <a:endParaRPr lang="en-US" altLang="zh-TW" dirty="0" smtClean="0"/>
          </a:p>
          <a:p>
            <a:endParaRPr lang="zh-TW" altLang="en-US" dirty="0"/>
          </a:p>
        </p:txBody>
      </p:sp>
      <p:pic>
        <p:nvPicPr>
          <p:cNvPr id="7" name="圖片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19894" y="2506071"/>
            <a:ext cx="7743612" cy="3448161"/>
          </a:xfrm>
          <a:prstGeom prst="rect">
            <a:avLst/>
          </a:prstGeom>
        </p:spPr>
      </p:pic>
    </p:spTree>
    <p:custDataLst>
      <p:tags r:id="rId1"/>
    </p:custDataLst>
    <p:extLst>
      <p:ext uri="{BB962C8B-B14F-4D97-AF65-F5344CB8AC3E}">
        <p14:creationId xmlns:p14="http://schemas.microsoft.com/office/powerpoint/2010/main" val="30221933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arn(inVertical)">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ISLIDE.THEME" val="#382980"/>
</p:tagLst>
</file>

<file path=ppt/tags/tag10.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1.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2.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3.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4.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5.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6.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7.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8.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9.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xml><?xml version="1.0" encoding="utf-8"?>
<p:tagLst xmlns:a="http://schemas.openxmlformats.org/drawingml/2006/main" xmlns:r="http://schemas.openxmlformats.org/officeDocument/2006/relationships" xmlns:p="http://schemas.openxmlformats.org/presentationml/2006/main">
  <p:tag name="ISLIDE.VECTOR" val="dde2c2de-4721-42d5-ad7a-0e7cc1010371"/>
</p:tagLst>
</file>

<file path=ppt/tags/tag20.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1.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2.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3.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4.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5.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6.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7.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8.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9.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0.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1.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2.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3.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4.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5.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6.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7.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8.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9.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4.xml><?xml version="1.0" encoding="utf-8"?>
<p:tagLst xmlns:a="http://schemas.openxmlformats.org/drawingml/2006/main" xmlns:r="http://schemas.openxmlformats.org/officeDocument/2006/relationships" xmlns:p="http://schemas.openxmlformats.org/presentationml/2006/main">
  <p:tag name="ISLIDE.THEME" val="https://www.islide.cc;"/>
  <p:tag name="ISLIDE.VECTOR" val="#431498;#431500;"/>
</p:tagLst>
</file>

<file path=ppt/tags/tag40.xml><?xml version="1.0" encoding="utf-8"?>
<p:tagLst xmlns:a="http://schemas.openxmlformats.org/drawingml/2006/main" xmlns:r="http://schemas.openxmlformats.org/officeDocument/2006/relationships" xmlns:p="http://schemas.openxmlformats.org/presentationml/2006/main">
  <p:tag name="ISLIDE.THEME" val="https://www.islide.cc;"/>
  <p:tag name="ISLIDE.VECTOR" val="#379133;"/>
</p:tagLst>
</file>

<file path=ppt/tags/tag41.xml><?xml version="1.0" encoding="utf-8"?>
<p:tagLst xmlns:a="http://schemas.openxmlformats.org/drawingml/2006/main" xmlns:r="http://schemas.openxmlformats.org/officeDocument/2006/relationships" xmlns:p="http://schemas.openxmlformats.org/presentationml/2006/main">
  <p:tag name="ISLIDE.VECTOR" val="0faae1e5-443b-4bd8-857c-6457c0133495"/>
</p:tagLst>
</file>

<file path=ppt/tags/tag42.xml><?xml version="1.0" encoding="utf-8"?>
<p:tagLst xmlns:a="http://schemas.openxmlformats.org/drawingml/2006/main" xmlns:r="http://schemas.openxmlformats.org/officeDocument/2006/relationships" xmlns:p="http://schemas.openxmlformats.org/presentationml/2006/main">
  <p:tag name="ISLIDE.THEME" val="https://www.islide.cc;"/>
  <p:tag name="ISLIDE.VECTOR" val="#379133;"/>
</p:tagLst>
</file>

<file path=ppt/tags/tag43.xml><?xml version="1.0" encoding="utf-8"?>
<p:tagLst xmlns:a="http://schemas.openxmlformats.org/drawingml/2006/main" xmlns:r="http://schemas.openxmlformats.org/officeDocument/2006/relationships" xmlns:p="http://schemas.openxmlformats.org/presentationml/2006/main">
  <p:tag name="ISLIDE.THEME" val="https://www.islide.cc;"/>
  <p:tag name="ISLIDE.VECTOR" val="#379133;"/>
</p:tagLst>
</file>

<file path=ppt/tags/tag44.xml><?xml version="1.0" encoding="utf-8"?>
<p:tagLst xmlns:a="http://schemas.openxmlformats.org/drawingml/2006/main" xmlns:r="http://schemas.openxmlformats.org/officeDocument/2006/relationships" xmlns:p="http://schemas.openxmlformats.org/presentationml/2006/main">
  <p:tag name="ISLIDE.THEME" val="https://www.islide.cc;"/>
  <p:tag name="ISLIDE.VECTOR" val="#379133;"/>
</p:tagLst>
</file>

<file path=ppt/tags/tag45.xml><?xml version="1.0" encoding="utf-8"?>
<p:tagLst xmlns:a="http://schemas.openxmlformats.org/drawingml/2006/main" xmlns:r="http://schemas.openxmlformats.org/officeDocument/2006/relationships" xmlns:p="http://schemas.openxmlformats.org/presentationml/2006/main">
  <p:tag name="ISLIDE.VECTOR" val="#308566;"/>
</p:tagLst>
</file>

<file path=ppt/tags/tag46.xml><?xml version="1.0" encoding="utf-8"?>
<p:tagLst xmlns:a="http://schemas.openxmlformats.org/drawingml/2006/main" xmlns:r="http://schemas.openxmlformats.org/officeDocument/2006/relationships" xmlns:p="http://schemas.openxmlformats.org/presentationml/2006/main">
  <p:tag name="ISLIDE.VECTOR" val="c1ca4907-58a4-4bf3-8c0c-2509acb70dc3"/>
</p:tagLst>
</file>

<file path=ppt/tags/tag47.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48.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49.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5.xml><?xml version="1.0" encoding="utf-8"?>
<p:tagLst xmlns:a="http://schemas.openxmlformats.org/drawingml/2006/main" xmlns:r="http://schemas.openxmlformats.org/officeDocument/2006/relationships" xmlns:p="http://schemas.openxmlformats.org/presentationml/2006/main">
  <p:tag name="ISLIDE.VECTOR" val="06f6d9a9-ef99-41cd-9334-ef7ede97a841"/>
</p:tagLst>
</file>

<file path=ppt/tags/tag50.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51.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52.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53.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54.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6.xml><?xml version="1.0" encoding="utf-8"?>
<p:tagLst xmlns:a="http://schemas.openxmlformats.org/drawingml/2006/main" xmlns:r="http://schemas.openxmlformats.org/officeDocument/2006/relationships" xmlns:p="http://schemas.openxmlformats.org/presentationml/2006/main">
  <p:tag name="ISLIDE.VECTOR" val="08e7e138-8b4f-426a-adac-f69d349703fd"/>
</p:tagLst>
</file>

<file path=ppt/tags/tag7.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8.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9.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heme/theme1.xml><?xml version="1.0" encoding="utf-8"?>
<a:theme xmlns:a="http://schemas.openxmlformats.org/drawingml/2006/main" name="主题5">
  <a:themeElements>
    <a:clrScheme name="二月资源主题">
      <a:dk1>
        <a:srgbClr val="000000"/>
      </a:dk1>
      <a:lt1>
        <a:srgbClr val="FFFFFF"/>
      </a:lt1>
      <a:dk2>
        <a:srgbClr val="768394"/>
      </a:dk2>
      <a:lt2>
        <a:srgbClr val="F0F0F0"/>
      </a:lt2>
      <a:accent1>
        <a:srgbClr val="0E1B3D"/>
      </a:accent1>
      <a:accent2>
        <a:srgbClr val="3C4D7A"/>
      </a:accent2>
      <a:accent3>
        <a:srgbClr val="FDBE11"/>
      </a:accent3>
      <a:accent4>
        <a:srgbClr val="7F7F7F"/>
      </a:accent4>
      <a:accent5>
        <a:srgbClr val="A5A5A5"/>
      </a:accent5>
      <a:accent6>
        <a:srgbClr val="C9C9C9"/>
      </a:accent6>
      <a:hlink>
        <a:srgbClr val="A40926"/>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二月资源主题">
    <a:dk1>
      <a:srgbClr val="000000"/>
    </a:dk1>
    <a:lt1>
      <a:srgbClr val="FFFFFF"/>
    </a:lt1>
    <a:dk2>
      <a:srgbClr val="768394"/>
    </a:dk2>
    <a:lt2>
      <a:srgbClr val="F0F0F0"/>
    </a:lt2>
    <a:accent1>
      <a:srgbClr val="0E1B3D"/>
    </a:accent1>
    <a:accent2>
      <a:srgbClr val="3C4D7A"/>
    </a:accent2>
    <a:accent3>
      <a:srgbClr val="FDBE11"/>
    </a:accent3>
    <a:accent4>
      <a:srgbClr val="7F7F7F"/>
    </a:accent4>
    <a:accent5>
      <a:srgbClr val="A5A5A5"/>
    </a:accent5>
    <a:accent6>
      <a:srgbClr val="C9C9C9"/>
    </a:accent6>
    <a:hlink>
      <a:srgbClr val="A40926"/>
    </a:hlink>
    <a:folHlink>
      <a:srgbClr val="BFBFBF"/>
    </a:folHlink>
  </a:clrScheme>
</a:themeOverride>
</file>

<file path=ppt/theme/themeOverride2.xml><?xml version="1.0" encoding="utf-8"?>
<a:themeOverride xmlns:a="http://schemas.openxmlformats.org/drawingml/2006/main">
  <a:clrScheme name="二月资源主题">
    <a:dk1>
      <a:srgbClr val="000000"/>
    </a:dk1>
    <a:lt1>
      <a:srgbClr val="FFFFFF"/>
    </a:lt1>
    <a:dk2>
      <a:srgbClr val="768394"/>
    </a:dk2>
    <a:lt2>
      <a:srgbClr val="F0F0F0"/>
    </a:lt2>
    <a:accent1>
      <a:srgbClr val="0E1B3D"/>
    </a:accent1>
    <a:accent2>
      <a:srgbClr val="3C4D7A"/>
    </a:accent2>
    <a:accent3>
      <a:srgbClr val="FDBE11"/>
    </a:accent3>
    <a:accent4>
      <a:srgbClr val="7F7F7F"/>
    </a:accent4>
    <a:accent5>
      <a:srgbClr val="A5A5A5"/>
    </a:accent5>
    <a:accent6>
      <a:srgbClr val="C9C9C9"/>
    </a:accent6>
    <a:hlink>
      <a:srgbClr val="A40926"/>
    </a:hlink>
    <a:folHlink>
      <a:srgbClr val="BFBFBF"/>
    </a:folHlink>
  </a:clrScheme>
</a:themeOverride>
</file>

<file path=ppt/theme/themeOverride3.xml><?xml version="1.0" encoding="utf-8"?>
<a:themeOverride xmlns:a="http://schemas.openxmlformats.org/drawingml/2006/main">
  <a:clrScheme name="二月资源主题">
    <a:dk1>
      <a:srgbClr val="000000"/>
    </a:dk1>
    <a:lt1>
      <a:srgbClr val="FFFFFF"/>
    </a:lt1>
    <a:dk2>
      <a:srgbClr val="768394"/>
    </a:dk2>
    <a:lt2>
      <a:srgbClr val="F0F0F0"/>
    </a:lt2>
    <a:accent1>
      <a:srgbClr val="0E1B3D"/>
    </a:accent1>
    <a:accent2>
      <a:srgbClr val="3C4D7A"/>
    </a:accent2>
    <a:accent3>
      <a:srgbClr val="FDBE11"/>
    </a:accent3>
    <a:accent4>
      <a:srgbClr val="7F7F7F"/>
    </a:accent4>
    <a:accent5>
      <a:srgbClr val="A5A5A5"/>
    </a:accent5>
    <a:accent6>
      <a:srgbClr val="C9C9C9"/>
    </a:accent6>
    <a:hlink>
      <a:srgbClr val="A40926"/>
    </a:hlink>
    <a:folHlink>
      <a:srgbClr val="BFBFBF"/>
    </a:folHlink>
  </a:clrScheme>
</a:themeOverride>
</file>

<file path=ppt/theme/themeOverride4.xml><?xml version="1.0" encoding="utf-8"?>
<a:themeOverride xmlns:a="http://schemas.openxmlformats.org/drawingml/2006/main">
  <a:clrScheme name="二月资源主题">
    <a:dk1>
      <a:srgbClr val="000000"/>
    </a:dk1>
    <a:lt1>
      <a:srgbClr val="FFFFFF"/>
    </a:lt1>
    <a:dk2>
      <a:srgbClr val="768394"/>
    </a:dk2>
    <a:lt2>
      <a:srgbClr val="F0F0F0"/>
    </a:lt2>
    <a:accent1>
      <a:srgbClr val="0E1B3D"/>
    </a:accent1>
    <a:accent2>
      <a:srgbClr val="3C4D7A"/>
    </a:accent2>
    <a:accent3>
      <a:srgbClr val="FDBE11"/>
    </a:accent3>
    <a:accent4>
      <a:srgbClr val="7F7F7F"/>
    </a:accent4>
    <a:accent5>
      <a:srgbClr val="A5A5A5"/>
    </a:accent5>
    <a:accent6>
      <a:srgbClr val="C9C9C9"/>
    </a:accent6>
    <a:hlink>
      <a:srgbClr val="A40926"/>
    </a:hlink>
    <a:folHlink>
      <a:srgbClr val="BFBFBF"/>
    </a:folHlink>
  </a:clrScheme>
</a:themeOverride>
</file>

<file path=ppt/theme/themeOverride5.xml><?xml version="1.0" encoding="utf-8"?>
<a:themeOverride xmlns:a="http://schemas.openxmlformats.org/drawingml/2006/main">
  <a:clrScheme name="二月资源主题">
    <a:dk1>
      <a:srgbClr val="000000"/>
    </a:dk1>
    <a:lt1>
      <a:srgbClr val="FFFFFF"/>
    </a:lt1>
    <a:dk2>
      <a:srgbClr val="768394"/>
    </a:dk2>
    <a:lt2>
      <a:srgbClr val="F0F0F0"/>
    </a:lt2>
    <a:accent1>
      <a:srgbClr val="0E1B3D"/>
    </a:accent1>
    <a:accent2>
      <a:srgbClr val="3C4D7A"/>
    </a:accent2>
    <a:accent3>
      <a:srgbClr val="FDBE11"/>
    </a:accent3>
    <a:accent4>
      <a:srgbClr val="7F7F7F"/>
    </a:accent4>
    <a:accent5>
      <a:srgbClr val="A5A5A5"/>
    </a:accent5>
    <a:accent6>
      <a:srgbClr val="C9C9C9"/>
    </a:accent6>
    <a:hlink>
      <a:srgbClr val="A40926"/>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Yoyo</Template>
  <TotalTime>190</TotalTime>
  <Words>2872</Words>
  <Application>Microsoft Office PowerPoint</Application>
  <PresentationFormat>自訂</PresentationFormat>
  <Paragraphs>281</Paragraphs>
  <Slides>49</Slides>
  <Notes>0</Notes>
  <HiddenSlides>7</HiddenSlides>
  <MMClips>0</MMClips>
  <ScaleCrop>false</ScaleCrop>
  <HeadingPairs>
    <vt:vector size="6" baseType="variant">
      <vt:variant>
        <vt:lpstr>佈景主題</vt:lpstr>
      </vt:variant>
      <vt:variant>
        <vt:i4>1</vt:i4>
      </vt:variant>
      <vt:variant>
        <vt:lpstr>內嵌 OLE 伺服程式</vt:lpstr>
      </vt:variant>
      <vt:variant>
        <vt:i4>1</vt:i4>
      </vt:variant>
      <vt:variant>
        <vt:lpstr>投影片標題</vt:lpstr>
      </vt:variant>
      <vt:variant>
        <vt:i4>49</vt:i4>
      </vt:variant>
    </vt:vector>
  </HeadingPairs>
  <TitlesOfParts>
    <vt:vector size="51" baseType="lpstr">
      <vt:lpstr>主题5</vt:lpstr>
      <vt:lpstr>think-cell Slide</vt:lpstr>
      <vt:lpstr>Transformer 模型 簡介</vt:lpstr>
      <vt:lpstr>PowerPoint 簡報</vt:lpstr>
      <vt:lpstr>rnn/seq2seq的問題</vt:lpstr>
      <vt:lpstr>rnn/seq2seq的問題</vt:lpstr>
      <vt:lpstr>rnn/seq2seq的問題</vt:lpstr>
      <vt:lpstr>rnn/seq2seq的問題</vt:lpstr>
      <vt:lpstr>Attention概念 </vt:lpstr>
      <vt:lpstr>注意力的概念</vt:lpstr>
      <vt:lpstr>注意力的概念</vt:lpstr>
      <vt:lpstr>注意力的概念</vt:lpstr>
      <vt:lpstr>注意力的概念</vt:lpstr>
      <vt:lpstr>注意力的概念</vt:lpstr>
      <vt:lpstr>Transformer Model</vt:lpstr>
      <vt:lpstr>Transformer</vt:lpstr>
      <vt:lpstr>Transformer - 架構</vt:lpstr>
      <vt:lpstr>Transformer - 架構</vt:lpstr>
      <vt:lpstr>Transformer - Encoder 架構</vt:lpstr>
      <vt:lpstr>Transformer - Decoder架構</vt:lpstr>
      <vt:lpstr>Transformer  - 輸入</vt:lpstr>
      <vt:lpstr>Transformer - Self-Attention</vt:lpstr>
      <vt:lpstr>Transformer - Self-Attention</vt:lpstr>
      <vt:lpstr>Transformer - Self-Attention</vt:lpstr>
      <vt:lpstr>Transformer - Self-Attention</vt:lpstr>
      <vt:lpstr>Transformer - Self-Attention</vt:lpstr>
      <vt:lpstr>Transformer - Self-Attention</vt:lpstr>
      <vt:lpstr>Transformer - Self-Attention</vt:lpstr>
      <vt:lpstr>Transformer - Multi-Head Attention</vt:lpstr>
      <vt:lpstr>Transformer - Multi-Head Attention</vt:lpstr>
      <vt:lpstr>Transformer - Multi-Head Attention</vt:lpstr>
      <vt:lpstr>Transformer - Multi-Head Attention</vt:lpstr>
      <vt:lpstr>Transformer - Positional Encoding</vt:lpstr>
      <vt:lpstr>Transformer - Positional Encoding</vt:lpstr>
      <vt:lpstr>Transformer - Decoder</vt:lpstr>
      <vt:lpstr>Transformer - Decoder</vt:lpstr>
      <vt:lpstr>Transformer – Decoder -整體解碼過程</vt:lpstr>
      <vt:lpstr>Transformer- Encoder-Decoder Attention</vt:lpstr>
      <vt:lpstr>Transformer- Masked Self-Attention</vt:lpstr>
      <vt:lpstr>Transformer- The Final Linear and Softmax Layer</vt:lpstr>
      <vt:lpstr>Transformer- The Final Linear and Softmax Layer</vt:lpstr>
      <vt:lpstr>Transformer- Feed Forward</vt:lpstr>
      <vt:lpstr>Demo</vt:lpstr>
      <vt:lpstr>THANKS An d Your Slogan Here</vt:lpstr>
      <vt:lpstr>PowerPoint 簡報</vt:lpstr>
      <vt:lpstr>PowerPoint 簡報</vt:lpstr>
      <vt:lpstr>PowerPoint 簡報</vt:lpstr>
      <vt:lpstr>PowerPoint 簡報</vt:lpstr>
      <vt:lpstr>PowerPoint 簡報</vt:lpstr>
      <vt:lpstr>PowerPoint 簡報</vt:lpstr>
      <vt:lpstr>PowerPoint 簡報</vt:lpstr>
    </vt:vector>
  </TitlesOfParts>
  <Manager>iSlide</Manager>
  <Company>iSlide</Company>
  <LinksUpToDate>false</LinksUpToDate>
  <SharedDoc>false</SharedDoc>
  <HyperlinkBase>https://www.islide.cc</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Yoyo</dc:creator>
  <cp:lastModifiedBy>bihjbhujnujmuiju</cp:lastModifiedBy>
  <cp:revision>45</cp:revision>
  <cp:lastPrinted>2020-03-15T16:00:00Z</cp:lastPrinted>
  <dcterms:created xsi:type="dcterms:W3CDTF">2020-03-15T16:00:00Z</dcterms:created>
  <dcterms:modified xsi:type="dcterms:W3CDTF">2020-12-01T02:32: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